
<file path=[Content_Types].xml><?xml version="1.0" encoding="utf-8"?>
<Types xmlns="http://schemas.openxmlformats.org/package/2006/content-types"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s/slide6.xml" ContentType="application/vnd.openxmlformats-officedocument.presentationml.slide+xml"/>
  <Default Extension="bin" ContentType="application/vnd.openxmlformats-officedocument.oleObject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Default Extension="png" ContentType="image/png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Default Extension="emf" ContentType="image/x-emf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Default Extension="vml" ContentType="application/vnd.openxmlformats-officedocument.vmlDrawing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3" r:id="rId2"/>
  </p:sldMasterIdLst>
  <p:sldIdLst>
    <p:sldId id="260" r:id="rId3"/>
    <p:sldId id="256" r:id="rId4"/>
    <p:sldId id="261" r:id="rId5"/>
    <p:sldId id="262" r:id="rId6"/>
    <p:sldId id="265" r:id="rId7"/>
    <p:sldId id="264" r:id="rId8"/>
    <p:sldId id="263" r:id="rId9"/>
    <p:sldId id="259" r:id="rId10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77187"/>
    <a:srgbClr val="D2E7F6"/>
    <a:srgbClr val="AFDDFF"/>
    <a:srgbClr val="A6A200"/>
    <a:srgbClr val="99FF99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>
    <p:restoredLeft sz="15591" autoAdjust="0"/>
    <p:restoredTop sz="94643" autoAdjust="0"/>
  </p:normalViewPr>
  <p:slideViewPr>
    <p:cSldViewPr>
      <p:cViewPr>
        <p:scale>
          <a:sx n="66" d="100"/>
          <a:sy n="66" d="100"/>
        </p:scale>
        <p:origin x="-2298" y="-96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presProps" Target="presProps.xml"/><Relationship Id="rId5" Type="http://schemas.openxmlformats.org/officeDocument/2006/relationships/slide" Target="slides/slide3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3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pn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6.jpe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7.png"/><Relationship Id="rId4" Type="http://schemas.openxmlformats.org/officeDocument/2006/relationships/oleObject" Target="../embeddings/oleObject5.bin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6.vml"/><Relationship Id="rId5" Type="http://schemas.openxmlformats.org/officeDocument/2006/relationships/oleObject" Target="../embeddings/oleObject7.bin"/><Relationship Id="rId4" Type="http://schemas.openxmlformats.org/officeDocument/2006/relationships/image" Target="../media/image10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1489" y="244982"/>
            <a:ext cx="8794113" cy="276999"/>
          </a:xfr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lang="ru-RU" sz="1800">
                <a:latin typeface="RussianRail G Pro Extended" pitchFamily="34" charset="-52"/>
              </a:defRPr>
            </a:lvl1pPr>
          </a:lstStyle>
          <a:p>
            <a:pPr lvl="0"/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9416381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5B106E36-FD25-4E2D-B0AA-010F637433A0}" type="datetimeFigureOut">
              <a:rPr lang="ru-RU" smtClean="0"/>
              <a:pPr/>
              <a:t>25.06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0" name="Рисунок 339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t="20321" b="30346"/>
          <a:stretch/>
        </p:blipFill>
        <p:spPr>
          <a:xfrm>
            <a:off x="0" y="-13547"/>
            <a:ext cx="9144000" cy="4511040"/>
          </a:xfrm>
          <a:prstGeom prst="rect">
            <a:avLst/>
          </a:prstGeom>
        </p:spPr>
      </p:pic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61925" cy="162984"/>
        </p:xfrm>
        <a:graphic>
          <a:graphicData uri="http://schemas.openxmlformats.org/presentationml/2006/ole">
            <p:oleObj spid="_x0000_s3074" name="think-cell Slide" r:id="rId5" imgW="360" imgH="360" progId="">
              <p:embed/>
            </p:oleObj>
          </a:graphicData>
        </a:graphic>
      </p:graphicFrame>
      <p:sp>
        <p:nvSpPr>
          <p:cNvPr id="3" name="Working Draft Text" hidden="1"/>
          <p:cNvSpPr txBox="1">
            <a:spLocks noChangeArrowheads="1"/>
          </p:cNvSpPr>
          <p:nvPr/>
        </p:nvSpPr>
        <p:spPr bwMode="auto">
          <a:xfrm>
            <a:off x="2693988" y="349256"/>
            <a:ext cx="993862" cy="13849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8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 smtClean="0"/>
              <a:t>WORKING DRAFT</a:t>
            </a:r>
          </a:p>
        </p:txBody>
      </p:sp>
      <p:sp>
        <p:nvSpPr>
          <p:cNvPr id="4" name="Working Draft" hidden="1"/>
          <p:cNvSpPr txBox="1">
            <a:spLocks noChangeArrowheads="1"/>
          </p:cNvSpPr>
          <p:nvPr/>
        </p:nvSpPr>
        <p:spPr bwMode="auto">
          <a:xfrm>
            <a:off x="2693994" y="508006"/>
            <a:ext cx="2994409" cy="13849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8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/>
              <a:t>Last Modified 25.05.2015 9:51 Russia TZ 2 Standard Time</a:t>
            </a:r>
            <a:endParaRPr lang="ru-RU" sz="900" dirty="0" smtClean="0"/>
          </a:p>
        </p:txBody>
      </p:sp>
      <p:sp>
        <p:nvSpPr>
          <p:cNvPr id="5" name="Printed" hidden="1"/>
          <p:cNvSpPr txBox="1">
            <a:spLocks noChangeArrowheads="1"/>
          </p:cNvSpPr>
          <p:nvPr/>
        </p:nvSpPr>
        <p:spPr bwMode="auto">
          <a:xfrm>
            <a:off x="2693995" y="668872"/>
            <a:ext cx="2737929" cy="13849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8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/>
              <a:t>Printed 22.05.2015 15:05 Russia TZ 2 Standard Time</a:t>
            </a:r>
            <a:endParaRPr lang="ru-RU" sz="900" dirty="0" smtClean="0"/>
          </a:p>
        </p:txBody>
      </p:sp>
      <p:sp>
        <p:nvSpPr>
          <p:cNvPr id="6" name="McK Document type" hidden="1"/>
          <p:cNvSpPr txBox="1">
            <a:spLocks noChangeArrowheads="1"/>
          </p:cNvSpPr>
          <p:nvPr/>
        </p:nvSpPr>
        <p:spPr bwMode="auto">
          <a:xfrm>
            <a:off x="3627438" y="5073651"/>
            <a:ext cx="5035550" cy="21544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38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 smtClean="0"/>
              <a:t>Тип документа</a:t>
            </a:r>
          </a:p>
        </p:txBody>
      </p:sp>
      <p:sp>
        <p:nvSpPr>
          <p:cNvPr id="7" name="McK Date" hidden="1"/>
          <p:cNvSpPr txBox="1">
            <a:spLocks noChangeArrowheads="1"/>
          </p:cNvSpPr>
          <p:nvPr/>
        </p:nvSpPr>
        <p:spPr bwMode="auto">
          <a:xfrm>
            <a:off x="3627438" y="5408084"/>
            <a:ext cx="5035550" cy="21544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38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 smtClean="0"/>
              <a:t>Дата</a:t>
            </a:r>
          </a:p>
        </p:txBody>
      </p:sp>
      <p:sp>
        <p:nvSpPr>
          <p:cNvPr id="8" name="McK Disclaimer" hidden="1"/>
          <p:cNvSpPr>
            <a:spLocks noChangeArrowheads="1"/>
          </p:cNvSpPr>
          <p:nvPr/>
        </p:nvSpPr>
        <p:spPr bwMode="auto">
          <a:xfrm>
            <a:off x="2693988" y="5888567"/>
            <a:ext cx="5226050" cy="36933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/>
          <a:p>
            <a:pPr defTabSz="820736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dirty="0">
                <a:latin typeface="+mn-lt"/>
              </a:rPr>
              <a:t>КОНФИДЕНЦИАЛЬНАЯ ИНФОРМАЦИЯ, СОБСТВЕННОСТЬ McKINSEY &amp; COMPANY</a:t>
            </a:r>
          </a:p>
          <a:p>
            <a:pPr defTabSz="820736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dirty="0">
                <a:latin typeface="+mn-lt"/>
              </a:rPr>
              <a:t>Любое использование этого документа без специального разрешения McKinsey &amp; Company строго запрещено</a:t>
            </a:r>
          </a:p>
        </p:txBody>
      </p:sp>
      <p:sp>
        <p:nvSpPr>
          <p:cNvPr id="10" name="TitleBottomPlaceholder" hidden="1"/>
          <p:cNvSpPr>
            <a:spLocks noChangeArrowheads="1"/>
          </p:cNvSpPr>
          <p:nvPr/>
        </p:nvSpPr>
        <p:spPr bwMode="auto">
          <a:xfrm>
            <a:off x="1" y="2283889"/>
            <a:ext cx="2238375" cy="4576233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/>
        </p:spPr>
        <p:txBody>
          <a:bodyPr wrap="none" lIns="93242" tIns="46620" rIns="93242" bIns="46620" anchor="ctr"/>
          <a:lstStyle/>
          <a:p>
            <a:pPr defTabSz="91388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latin typeface="+mn-lt"/>
            </a:endParaRPr>
          </a:p>
        </p:txBody>
      </p:sp>
      <p:sp>
        <p:nvSpPr>
          <p:cNvPr id="11" name="TitleTopPlaceholder" hidden="1"/>
          <p:cNvSpPr>
            <a:spLocks noChangeArrowheads="1"/>
          </p:cNvSpPr>
          <p:nvPr/>
        </p:nvSpPr>
        <p:spPr bwMode="auto">
          <a:xfrm>
            <a:off x="1" y="2"/>
            <a:ext cx="2238375" cy="2283884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/>
        </p:spPr>
        <p:txBody>
          <a:bodyPr wrap="none" lIns="93242" tIns="46620" rIns="93242" bIns="46620" anchor="ctr"/>
          <a:lstStyle/>
          <a:p>
            <a:pPr defTabSz="91388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latin typeface="+mn-lt"/>
            </a:endParaRPr>
          </a:p>
        </p:txBody>
      </p:sp>
      <p:sp>
        <p:nvSpPr>
          <p:cNvPr id="12" name="Rectangle 1189" hidden="1"/>
          <p:cNvSpPr>
            <a:spLocks noChangeArrowheads="1"/>
          </p:cNvSpPr>
          <p:nvPr/>
        </p:nvSpPr>
        <p:spPr bwMode="auto">
          <a:xfrm>
            <a:off x="0" y="0"/>
            <a:ext cx="9140825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/>
        </p:spPr>
        <p:txBody>
          <a:bodyPr wrap="none" lIns="93242" tIns="46620" rIns="93242" bIns="46620" anchor="ctr"/>
          <a:lstStyle/>
          <a:p>
            <a:pPr defTabSz="91388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latin typeface="+mn-lt"/>
            </a:endParaRPr>
          </a:p>
        </p:txBody>
      </p:sp>
      <p:pic>
        <p:nvPicPr>
          <p:cNvPr id="13" name="TitleBottomBarBW" hidden="1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19963" y="6574369"/>
            <a:ext cx="1670050" cy="1968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7"/>
          <p:cNvPicPr>
            <a:picLocks noChangeAspect="1" noChangeArrowheads="1"/>
          </p:cNvPicPr>
          <p:nvPr userDrawn="1"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 l="-400"/>
          <a:stretch>
            <a:fillRect/>
          </a:stretch>
        </p:blipFill>
        <p:spPr bwMode="auto">
          <a:xfrm>
            <a:off x="-38100" y="2632161"/>
            <a:ext cx="9182101" cy="22246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9" name="Group 122"/>
          <p:cNvGrpSpPr>
            <a:grpSpLocks noChangeAspect="1"/>
          </p:cNvGrpSpPr>
          <p:nvPr userDrawn="1"/>
        </p:nvGrpSpPr>
        <p:grpSpPr bwMode="auto">
          <a:xfrm>
            <a:off x="2668229" y="4180262"/>
            <a:ext cx="2106799" cy="204601"/>
            <a:chOff x="2787" y="1035"/>
            <a:chExt cx="1167" cy="85"/>
          </a:xfrm>
          <a:solidFill>
            <a:schemeClr val="bg1"/>
          </a:solidFill>
        </p:grpSpPr>
        <p:sp>
          <p:nvSpPr>
            <p:cNvPr id="138" name="Oval 123"/>
            <p:cNvSpPr>
              <a:spLocks noChangeArrowheads="1"/>
            </p:cNvSpPr>
            <p:nvPr userDrawn="1"/>
          </p:nvSpPr>
          <p:spPr bwMode="auto">
            <a:xfrm>
              <a:off x="3917" y="1104"/>
              <a:ext cx="15" cy="1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9" name="Oval 124"/>
            <p:cNvSpPr>
              <a:spLocks noChangeArrowheads="1"/>
            </p:cNvSpPr>
            <p:nvPr userDrawn="1"/>
          </p:nvSpPr>
          <p:spPr bwMode="auto">
            <a:xfrm>
              <a:off x="3883" y="1104"/>
              <a:ext cx="16" cy="1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40" name="Oval 125"/>
            <p:cNvSpPr>
              <a:spLocks noChangeArrowheads="1"/>
            </p:cNvSpPr>
            <p:nvPr userDrawn="1"/>
          </p:nvSpPr>
          <p:spPr bwMode="auto">
            <a:xfrm>
              <a:off x="3849" y="1104"/>
              <a:ext cx="16" cy="1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41" name="Oval 126"/>
            <p:cNvSpPr>
              <a:spLocks noChangeArrowheads="1"/>
            </p:cNvSpPr>
            <p:nvPr userDrawn="1"/>
          </p:nvSpPr>
          <p:spPr bwMode="auto">
            <a:xfrm>
              <a:off x="3696" y="1104"/>
              <a:ext cx="15" cy="1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42" name="Oval 127"/>
            <p:cNvSpPr>
              <a:spLocks noChangeArrowheads="1"/>
            </p:cNvSpPr>
            <p:nvPr userDrawn="1"/>
          </p:nvSpPr>
          <p:spPr bwMode="auto">
            <a:xfrm>
              <a:off x="3662" y="1104"/>
              <a:ext cx="15" cy="1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43" name="Oval 128"/>
            <p:cNvSpPr>
              <a:spLocks noChangeArrowheads="1"/>
            </p:cNvSpPr>
            <p:nvPr userDrawn="1"/>
          </p:nvSpPr>
          <p:spPr bwMode="auto">
            <a:xfrm>
              <a:off x="3628" y="1104"/>
              <a:ext cx="16" cy="1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44" name="Rectangle 129"/>
            <p:cNvSpPr>
              <a:spLocks noChangeArrowheads="1"/>
            </p:cNvSpPr>
            <p:nvPr userDrawn="1"/>
          </p:nvSpPr>
          <p:spPr bwMode="auto">
            <a:xfrm>
              <a:off x="3655" y="1053"/>
              <a:ext cx="70" cy="1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45" name="Rectangle 130"/>
            <p:cNvSpPr>
              <a:spLocks noChangeArrowheads="1"/>
            </p:cNvSpPr>
            <p:nvPr userDrawn="1"/>
          </p:nvSpPr>
          <p:spPr bwMode="auto">
            <a:xfrm>
              <a:off x="3728" y="1107"/>
              <a:ext cx="104" cy="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46" name="Freeform 131"/>
            <p:cNvSpPr>
              <a:spLocks noEditPoints="1"/>
            </p:cNvSpPr>
            <p:nvPr userDrawn="1"/>
          </p:nvSpPr>
          <p:spPr bwMode="auto">
            <a:xfrm>
              <a:off x="3602" y="1044"/>
              <a:ext cx="352" cy="68"/>
            </a:xfrm>
            <a:custGeom>
              <a:avLst/>
              <a:gdLst>
                <a:gd name="T0" fmla="*/ 2231 w 2285"/>
                <a:gd name="T1" fmla="*/ 366 h 436"/>
                <a:gd name="T2" fmla="*/ 2213 w 2285"/>
                <a:gd name="T3" fmla="*/ 325 h 436"/>
                <a:gd name="T4" fmla="*/ 2196 w 2285"/>
                <a:gd name="T5" fmla="*/ 325 h 436"/>
                <a:gd name="T6" fmla="*/ 2127 w 2285"/>
                <a:gd name="T7" fmla="*/ 218 h 436"/>
                <a:gd name="T8" fmla="*/ 2093 w 2285"/>
                <a:gd name="T9" fmla="*/ 152 h 436"/>
                <a:gd name="T10" fmla="*/ 1863 w 2285"/>
                <a:gd name="T11" fmla="*/ 86 h 436"/>
                <a:gd name="T12" fmla="*/ 1589 w 2285"/>
                <a:gd name="T13" fmla="*/ 23 h 436"/>
                <a:gd name="T14" fmla="*/ 1354 w 2285"/>
                <a:gd name="T15" fmla="*/ 23 h 436"/>
                <a:gd name="T16" fmla="*/ 1254 w 2285"/>
                <a:gd name="T17" fmla="*/ 0 h 436"/>
                <a:gd name="T18" fmla="*/ 1182 w 2285"/>
                <a:gd name="T19" fmla="*/ 0 h 436"/>
                <a:gd name="T20" fmla="*/ 1021 w 2285"/>
                <a:gd name="T21" fmla="*/ 23 h 436"/>
                <a:gd name="T22" fmla="*/ 880 w 2285"/>
                <a:gd name="T23" fmla="*/ 23 h 436"/>
                <a:gd name="T24" fmla="*/ 651 w 2285"/>
                <a:gd name="T25" fmla="*/ 0 h 436"/>
                <a:gd name="T26" fmla="*/ 633 w 2285"/>
                <a:gd name="T27" fmla="*/ 0 h 436"/>
                <a:gd name="T28" fmla="*/ 460 w 2285"/>
                <a:gd name="T29" fmla="*/ 23 h 436"/>
                <a:gd name="T30" fmla="*/ 318 w 2285"/>
                <a:gd name="T31" fmla="*/ 23 h 436"/>
                <a:gd name="T32" fmla="*/ 222 w 2285"/>
                <a:gd name="T33" fmla="*/ 325 h 436"/>
                <a:gd name="T34" fmla="*/ 206 w 2285"/>
                <a:gd name="T35" fmla="*/ 325 h 436"/>
                <a:gd name="T36" fmla="*/ 88 w 2285"/>
                <a:gd name="T37" fmla="*/ 218 h 436"/>
                <a:gd name="T38" fmla="*/ 72 w 2285"/>
                <a:gd name="T39" fmla="*/ 334 h 436"/>
                <a:gd name="T40" fmla="*/ 8 w 2285"/>
                <a:gd name="T41" fmla="*/ 327 h 436"/>
                <a:gd name="T42" fmla="*/ 8 w 2285"/>
                <a:gd name="T43" fmla="*/ 392 h 436"/>
                <a:gd name="T44" fmla="*/ 79 w 2285"/>
                <a:gd name="T45" fmla="*/ 385 h 436"/>
                <a:gd name="T46" fmla="*/ 222 w 2285"/>
                <a:gd name="T47" fmla="*/ 369 h 436"/>
                <a:gd name="T48" fmla="*/ 440 w 2285"/>
                <a:gd name="T49" fmla="*/ 369 h 436"/>
                <a:gd name="T50" fmla="*/ 659 w 2285"/>
                <a:gd name="T51" fmla="*/ 369 h 436"/>
                <a:gd name="T52" fmla="*/ 816 w 2285"/>
                <a:gd name="T53" fmla="*/ 385 h 436"/>
                <a:gd name="T54" fmla="*/ 1656 w 2285"/>
                <a:gd name="T55" fmla="*/ 369 h 436"/>
                <a:gd name="T56" fmla="*/ 1875 w 2285"/>
                <a:gd name="T57" fmla="*/ 369 h 436"/>
                <a:gd name="T58" fmla="*/ 2093 w 2285"/>
                <a:gd name="T59" fmla="*/ 369 h 436"/>
                <a:gd name="T60" fmla="*/ 2213 w 2285"/>
                <a:gd name="T61" fmla="*/ 436 h 436"/>
                <a:gd name="T62" fmla="*/ 2239 w 2285"/>
                <a:gd name="T63" fmla="*/ 425 h 436"/>
                <a:gd name="T64" fmla="*/ 2285 w 2285"/>
                <a:gd name="T65" fmla="*/ 367 h 436"/>
                <a:gd name="T66" fmla="*/ 345 w 2285"/>
                <a:gd name="T67" fmla="*/ 337 h 436"/>
                <a:gd name="T68" fmla="*/ 353 w 2285"/>
                <a:gd name="T69" fmla="*/ 337 h 436"/>
                <a:gd name="T70" fmla="*/ 479 w 2285"/>
                <a:gd name="T71" fmla="*/ 211 h 436"/>
                <a:gd name="T72" fmla="*/ 621 w 2285"/>
                <a:gd name="T73" fmla="*/ 337 h 436"/>
                <a:gd name="T74" fmla="*/ 621 w 2285"/>
                <a:gd name="T75" fmla="*/ 211 h 436"/>
                <a:gd name="T76" fmla="*/ 747 w 2285"/>
                <a:gd name="T77" fmla="*/ 337 h 436"/>
                <a:gd name="T78" fmla="*/ 755 w 2285"/>
                <a:gd name="T79" fmla="*/ 337 h 436"/>
                <a:gd name="T80" fmla="*/ 329 w 2285"/>
                <a:gd name="T81" fmla="*/ 42 h 436"/>
                <a:gd name="T82" fmla="*/ 889 w 2285"/>
                <a:gd name="T83" fmla="*/ 337 h 436"/>
                <a:gd name="T84" fmla="*/ 889 w 2285"/>
                <a:gd name="T85" fmla="*/ 211 h 436"/>
                <a:gd name="T86" fmla="*/ 1014 w 2285"/>
                <a:gd name="T87" fmla="*/ 337 h 436"/>
                <a:gd name="T88" fmla="*/ 1022 w 2285"/>
                <a:gd name="T89" fmla="*/ 337 h 436"/>
                <a:gd name="T90" fmla="*/ 1148 w 2285"/>
                <a:gd name="T91" fmla="*/ 211 h 436"/>
                <a:gd name="T92" fmla="*/ 1290 w 2285"/>
                <a:gd name="T93" fmla="*/ 337 h 436"/>
                <a:gd name="T94" fmla="*/ 1290 w 2285"/>
                <a:gd name="T95" fmla="*/ 211 h 436"/>
                <a:gd name="T96" fmla="*/ 1416 w 2285"/>
                <a:gd name="T97" fmla="*/ 337 h 436"/>
                <a:gd name="T98" fmla="*/ 1424 w 2285"/>
                <a:gd name="T99" fmla="*/ 337 h 436"/>
                <a:gd name="T100" fmla="*/ 1550 w 2285"/>
                <a:gd name="T101" fmla="*/ 211 h 436"/>
                <a:gd name="T102" fmla="*/ 1649 w 2285"/>
                <a:gd name="T103" fmla="*/ 300 h 436"/>
                <a:gd name="T104" fmla="*/ 1649 w 2285"/>
                <a:gd name="T105" fmla="*/ 36 h 436"/>
                <a:gd name="T106" fmla="*/ 1710 w 2285"/>
                <a:gd name="T107" fmla="*/ 179 h 436"/>
                <a:gd name="T108" fmla="*/ 1751 w 2285"/>
                <a:gd name="T109" fmla="*/ 179 h 436"/>
                <a:gd name="T110" fmla="*/ 1763 w 2285"/>
                <a:gd name="T111" fmla="*/ 101 h 436"/>
                <a:gd name="T112" fmla="*/ 1866 w 2285"/>
                <a:gd name="T113" fmla="*/ 272 h 436"/>
                <a:gd name="T114" fmla="*/ 1866 w 2285"/>
                <a:gd name="T115" fmla="*/ 156 h 436"/>
                <a:gd name="T116" fmla="*/ 1974 w 2285"/>
                <a:gd name="T117" fmla="*/ 272 h 436"/>
                <a:gd name="T118" fmla="*/ 1982 w 2285"/>
                <a:gd name="T119" fmla="*/ 272 h 4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85" h="436">
                  <a:moveTo>
                    <a:pt x="2277" y="359"/>
                  </a:moveTo>
                  <a:cubicBezTo>
                    <a:pt x="2239" y="359"/>
                    <a:pt x="2239" y="359"/>
                    <a:pt x="2239" y="359"/>
                  </a:cubicBezTo>
                  <a:cubicBezTo>
                    <a:pt x="2235" y="359"/>
                    <a:pt x="2232" y="362"/>
                    <a:pt x="2231" y="366"/>
                  </a:cubicBezTo>
                  <a:cubicBezTo>
                    <a:pt x="2213" y="366"/>
                    <a:pt x="2213" y="366"/>
                    <a:pt x="2213" y="366"/>
                  </a:cubicBezTo>
                  <a:cubicBezTo>
                    <a:pt x="2213" y="339"/>
                    <a:pt x="2213" y="339"/>
                    <a:pt x="2213" y="339"/>
                  </a:cubicBezTo>
                  <a:cubicBezTo>
                    <a:pt x="2213" y="325"/>
                    <a:pt x="2213" y="325"/>
                    <a:pt x="2213" y="325"/>
                  </a:cubicBezTo>
                  <a:cubicBezTo>
                    <a:pt x="2213" y="218"/>
                    <a:pt x="2213" y="218"/>
                    <a:pt x="2213" y="218"/>
                  </a:cubicBezTo>
                  <a:cubicBezTo>
                    <a:pt x="2196" y="218"/>
                    <a:pt x="2196" y="218"/>
                    <a:pt x="2196" y="218"/>
                  </a:cubicBezTo>
                  <a:cubicBezTo>
                    <a:pt x="2196" y="325"/>
                    <a:pt x="2196" y="325"/>
                    <a:pt x="2196" y="325"/>
                  </a:cubicBezTo>
                  <a:cubicBezTo>
                    <a:pt x="2144" y="325"/>
                    <a:pt x="2144" y="325"/>
                    <a:pt x="2144" y="325"/>
                  </a:cubicBezTo>
                  <a:cubicBezTo>
                    <a:pt x="2144" y="218"/>
                    <a:pt x="2144" y="218"/>
                    <a:pt x="2144" y="218"/>
                  </a:cubicBezTo>
                  <a:cubicBezTo>
                    <a:pt x="2127" y="218"/>
                    <a:pt x="2127" y="218"/>
                    <a:pt x="2127" y="218"/>
                  </a:cubicBezTo>
                  <a:cubicBezTo>
                    <a:pt x="2127" y="325"/>
                    <a:pt x="2127" y="325"/>
                    <a:pt x="2127" y="325"/>
                  </a:cubicBezTo>
                  <a:cubicBezTo>
                    <a:pt x="2093" y="325"/>
                    <a:pt x="2093" y="325"/>
                    <a:pt x="2093" y="325"/>
                  </a:cubicBezTo>
                  <a:cubicBezTo>
                    <a:pt x="2093" y="152"/>
                    <a:pt x="2093" y="152"/>
                    <a:pt x="2093" y="152"/>
                  </a:cubicBezTo>
                  <a:cubicBezTo>
                    <a:pt x="2093" y="152"/>
                    <a:pt x="2093" y="140"/>
                    <a:pt x="2066" y="137"/>
                  </a:cubicBezTo>
                  <a:cubicBezTo>
                    <a:pt x="1863" y="137"/>
                    <a:pt x="1863" y="137"/>
                    <a:pt x="1863" y="137"/>
                  </a:cubicBezTo>
                  <a:cubicBezTo>
                    <a:pt x="1863" y="86"/>
                    <a:pt x="1863" y="86"/>
                    <a:pt x="1863" y="86"/>
                  </a:cubicBezTo>
                  <a:cubicBezTo>
                    <a:pt x="1926" y="86"/>
                    <a:pt x="1926" y="86"/>
                    <a:pt x="1926" y="86"/>
                  </a:cubicBezTo>
                  <a:cubicBezTo>
                    <a:pt x="1926" y="86"/>
                    <a:pt x="1914" y="23"/>
                    <a:pt x="1863" y="23"/>
                  </a:cubicBezTo>
                  <a:cubicBezTo>
                    <a:pt x="1589" y="23"/>
                    <a:pt x="1589" y="23"/>
                    <a:pt x="1589" y="23"/>
                  </a:cubicBezTo>
                  <a:cubicBezTo>
                    <a:pt x="1589" y="0"/>
                    <a:pt x="1589" y="0"/>
                    <a:pt x="1589" y="0"/>
                  </a:cubicBezTo>
                  <a:cubicBezTo>
                    <a:pt x="1354" y="0"/>
                    <a:pt x="1354" y="0"/>
                    <a:pt x="1354" y="0"/>
                  </a:cubicBezTo>
                  <a:cubicBezTo>
                    <a:pt x="1354" y="23"/>
                    <a:pt x="1354" y="23"/>
                    <a:pt x="1354" y="23"/>
                  </a:cubicBezTo>
                  <a:cubicBezTo>
                    <a:pt x="1311" y="23"/>
                    <a:pt x="1311" y="23"/>
                    <a:pt x="1311" y="23"/>
                  </a:cubicBezTo>
                  <a:cubicBezTo>
                    <a:pt x="1311" y="0"/>
                    <a:pt x="1311" y="0"/>
                    <a:pt x="1311" y="0"/>
                  </a:cubicBezTo>
                  <a:cubicBezTo>
                    <a:pt x="1254" y="0"/>
                    <a:pt x="1254" y="0"/>
                    <a:pt x="1254" y="0"/>
                  </a:cubicBezTo>
                  <a:cubicBezTo>
                    <a:pt x="1254" y="23"/>
                    <a:pt x="1254" y="23"/>
                    <a:pt x="1254" y="23"/>
                  </a:cubicBezTo>
                  <a:cubicBezTo>
                    <a:pt x="1182" y="23"/>
                    <a:pt x="1182" y="23"/>
                    <a:pt x="1182" y="23"/>
                  </a:cubicBezTo>
                  <a:cubicBezTo>
                    <a:pt x="1182" y="0"/>
                    <a:pt x="1182" y="0"/>
                    <a:pt x="1182" y="0"/>
                  </a:cubicBezTo>
                  <a:cubicBezTo>
                    <a:pt x="1040" y="0"/>
                    <a:pt x="1040" y="0"/>
                    <a:pt x="1040" y="0"/>
                  </a:cubicBezTo>
                  <a:cubicBezTo>
                    <a:pt x="1040" y="23"/>
                    <a:pt x="1040" y="23"/>
                    <a:pt x="1040" y="23"/>
                  </a:cubicBezTo>
                  <a:cubicBezTo>
                    <a:pt x="1021" y="23"/>
                    <a:pt x="1021" y="23"/>
                    <a:pt x="1021" y="23"/>
                  </a:cubicBezTo>
                  <a:cubicBezTo>
                    <a:pt x="1021" y="0"/>
                    <a:pt x="1021" y="0"/>
                    <a:pt x="1021" y="0"/>
                  </a:cubicBezTo>
                  <a:cubicBezTo>
                    <a:pt x="880" y="0"/>
                    <a:pt x="880" y="0"/>
                    <a:pt x="880" y="0"/>
                  </a:cubicBezTo>
                  <a:cubicBezTo>
                    <a:pt x="880" y="23"/>
                    <a:pt x="880" y="23"/>
                    <a:pt x="880" y="23"/>
                  </a:cubicBezTo>
                  <a:cubicBezTo>
                    <a:pt x="793" y="23"/>
                    <a:pt x="793" y="23"/>
                    <a:pt x="793" y="23"/>
                  </a:cubicBezTo>
                  <a:cubicBezTo>
                    <a:pt x="793" y="0"/>
                    <a:pt x="793" y="0"/>
                    <a:pt x="793" y="0"/>
                  </a:cubicBezTo>
                  <a:cubicBezTo>
                    <a:pt x="651" y="0"/>
                    <a:pt x="651" y="0"/>
                    <a:pt x="651" y="0"/>
                  </a:cubicBezTo>
                  <a:cubicBezTo>
                    <a:pt x="651" y="23"/>
                    <a:pt x="651" y="23"/>
                    <a:pt x="651" y="23"/>
                  </a:cubicBezTo>
                  <a:cubicBezTo>
                    <a:pt x="633" y="23"/>
                    <a:pt x="633" y="23"/>
                    <a:pt x="633" y="23"/>
                  </a:cubicBezTo>
                  <a:cubicBezTo>
                    <a:pt x="633" y="0"/>
                    <a:pt x="633" y="0"/>
                    <a:pt x="633" y="0"/>
                  </a:cubicBezTo>
                  <a:cubicBezTo>
                    <a:pt x="491" y="0"/>
                    <a:pt x="491" y="0"/>
                    <a:pt x="491" y="0"/>
                  </a:cubicBezTo>
                  <a:cubicBezTo>
                    <a:pt x="491" y="23"/>
                    <a:pt x="491" y="23"/>
                    <a:pt x="491" y="23"/>
                  </a:cubicBezTo>
                  <a:cubicBezTo>
                    <a:pt x="460" y="23"/>
                    <a:pt x="460" y="23"/>
                    <a:pt x="460" y="23"/>
                  </a:cubicBezTo>
                  <a:cubicBezTo>
                    <a:pt x="460" y="0"/>
                    <a:pt x="460" y="0"/>
                    <a:pt x="460" y="0"/>
                  </a:cubicBezTo>
                  <a:cubicBezTo>
                    <a:pt x="318" y="0"/>
                    <a:pt x="318" y="0"/>
                    <a:pt x="318" y="0"/>
                  </a:cubicBezTo>
                  <a:cubicBezTo>
                    <a:pt x="318" y="23"/>
                    <a:pt x="318" y="23"/>
                    <a:pt x="318" y="23"/>
                  </a:cubicBezTo>
                  <a:cubicBezTo>
                    <a:pt x="273" y="23"/>
                    <a:pt x="273" y="23"/>
                    <a:pt x="273" y="23"/>
                  </a:cubicBezTo>
                  <a:cubicBezTo>
                    <a:pt x="273" y="325"/>
                    <a:pt x="273" y="325"/>
                    <a:pt x="273" y="325"/>
                  </a:cubicBezTo>
                  <a:cubicBezTo>
                    <a:pt x="222" y="325"/>
                    <a:pt x="222" y="325"/>
                    <a:pt x="222" y="325"/>
                  </a:cubicBezTo>
                  <a:cubicBezTo>
                    <a:pt x="222" y="218"/>
                    <a:pt x="222" y="218"/>
                    <a:pt x="222" y="218"/>
                  </a:cubicBezTo>
                  <a:cubicBezTo>
                    <a:pt x="206" y="218"/>
                    <a:pt x="206" y="218"/>
                    <a:pt x="206" y="218"/>
                  </a:cubicBezTo>
                  <a:cubicBezTo>
                    <a:pt x="206" y="325"/>
                    <a:pt x="206" y="325"/>
                    <a:pt x="206" y="325"/>
                  </a:cubicBezTo>
                  <a:cubicBezTo>
                    <a:pt x="104" y="325"/>
                    <a:pt x="104" y="325"/>
                    <a:pt x="104" y="325"/>
                  </a:cubicBezTo>
                  <a:cubicBezTo>
                    <a:pt x="104" y="218"/>
                    <a:pt x="104" y="218"/>
                    <a:pt x="104" y="218"/>
                  </a:cubicBezTo>
                  <a:cubicBezTo>
                    <a:pt x="88" y="218"/>
                    <a:pt x="88" y="218"/>
                    <a:pt x="88" y="218"/>
                  </a:cubicBezTo>
                  <a:cubicBezTo>
                    <a:pt x="88" y="325"/>
                    <a:pt x="88" y="325"/>
                    <a:pt x="88" y="325"/>
                  </a:cubicBezTo>
                  <a:cubicBezTo>
                    <a:pt x="74" y="325"/>
                    <a:pt x="74" y="325"/>
                    <a:pt x="74" y="325"/>
                  </a:cubicBezTo>
                  <a:cubicBezTo>
                    <a:pt x="72" y="334"/>
                    <a:pt x="72" y="334"/>
                    <a:pt x="72" y="334"/>
                  </a:cubicBezTo>
                  <a:cubicBezTo>
                    <a:pt x="53" y="334"/>
                    <a:pt x="53" y="334"/>
                    <a:pt x="53" y="334"/>
                  </a:cubicBezTo>
                  <a:cubicBezTo>
                    <a:pt x="53" y="330"/>
                    <a:pt x="50" y="327"/>
                    <a:pt x="45" y="327"/>
                  </a:cubicBezTo>
                  <a:cubicBezTo>
                    <a:pt x="8" y="327"/>
                    <a:pt x="8" y="327"/>
                    <a:pt x="8" y="327"/>
                  </a:cubicBezTo>
                  <a:cubicBezTo>
                    <a:pt x="3" y="327"/>
                    <a:pt x="0" y="330"/>
                    <a:pt x="0" y="335"/>
                  </a:cubicBezTo>
                  <a:cubicBezTo>
                    <a:pt x="0" y="384"/>
                    <a:pt x="0" y="384"/>
                    <a:pt x="0" y="384"/>
                  </a:cubicBezTo>
                  <a:cubicBezTo>
                    <a:pt x="0" y="389"/>
                    <a:pt x="3" y="392"/>
                    <a:pt x="8" y="392"/>
                  </a:cubicBezTo>
                  <a:cubicBezTo>
                    <a:pt x="45" y="392"/>
                    <a:pt x="45" y="392"/>
                    <a:pt x="45" y="392"/>
                  </a:cubicBezTo>
                  <a:cubicBezTo>
                    <a:pt x="50" y="392"/>
                    <a:pt x="53" y="389"/>
                    <a:pt x="53" y="385"/>
                  </a:cubicBezTo>
                  <a:cubicBezTo>
                    <a:pt x="79" y="385"/>
                    <a:pt x="79" y="385"/>
                    <a:pt x="79" y="385"/>
                  </a:cubicBezTo>
                  <a:cubicBezTo>
                    <a:pt x="82" y="427"/>
                    <a:pt x="82" y="427"/>
                    <a:pt x="82" y="427"/>
                  </a:cubicBezTo>
                  <a:cubicBezTo>
                    <a:pt x="155" y="433"/>
                    <a:pt x="155" y="433"/>
                    <a:pt x="155" y="433"/>
                  </a:cubicBezTo>
                  <a:cubicBezTo>
                    <a:pt x="156" y="398"/>
                    <a:pt x="186" y="369"/>
                    <a:pt x="222" y="369"/>
                  </a:cubicBezTo>
                  <a:cubicBezTo>
                    <a:pt x="252" y="369"/>
                    <a:pt x="278" y="390"/>
                    <a:pt x="286" y="417"/>
                  </a:cubicBezTo>
                  <a:cubicBezTo>
                    <a:pt x="376" y="417"/>
                    <a:pt x="376" y="417"/>
                    <a:pt x="376" y="417"/>
                  </a:cubicBezTo>
                  <a:cubicBezTo>
                    <a:pt x="384" y="390"/>
                    <a:pt x="410" y="369"/>
                    <a:pt x="440" y="369"/>
                  </a:cubicBezTo>
                  <a:cubicBezTo>
                    <a:pt x="471" y="369"/>
                    <a:pt x="496" y="390"/>
                    <a:pt x="504" y="417"/>
                  </a:cubicBezTo>
                  <a:cubicBezTo>
                    <a:pt x="595" y="417"/>
                    <a:pt x="595" y="417"/>
                    <a:pt x="595" y="417"/>
                  </a:cubicBezTo>
                  <a:cubicBezTo>
                    <a:pt x="603" y="390"/>
                    <a:pt x="629" y="369"/>
                    <a:pt x="659" y="369"/>
                  </a:cubicBezTo>
                  <a:cubicBezTo>
                    <a:pt x="676" y="369"/>
                    <a:pt x="691" y="375"/>
                    <a:pt x="702" y="385"/>
                  </a:cubicBezTo>
                  <a:cubicBezTo>
                    <a:pt x="780" y="385"/>
                    <a:pt x="780" y="385"/>
                    <a:pt x="780" y="385"/>
                  </a:cubicBezTo>
                  <a:cubicBezTo>
                    <a:pt x="816" y="385"/>
                    <a:pt x="816" y="385"/>
                    <a:pt x="816" y="385"/>
                  </a:cubicBezTo>
                  <a:cubicBezTo>
                    <a:pt x="1495" y="385"/>
                    <a:pt x="1495" y="385"/>
                    <a:pt x="1495" y="385"/>
                  </a:cubicBezTo>
                  <a:cubicBezTo>
                    <a:pt x="1613" y="385"/>
                    <a:pt x="1613" y="385"/>
                    <a:pt x="1613" y="385"/>
                  </a:cubicBezTo>
                  <a:cubicBezTo>
                    <a:pt x="1624" y="375"/>
                    <a:pt x="1640" y="369"/>
                    <a:pt x="1656" y="369"/>
                  </a:cubicBezTo>
                  <a:cubicBezTo>
                    <a:pt x="1686" y="369"/>
                    <a:pt x="1712" y="390"/>
                    <a:pt x="1720" y="417"/>
                  </a:cubicBezTo>
                  <a:cubicBezTo>
                    <a:pt x="1811" y="417"/>
                    <a:pt x="1811" y="417"/>
                    <a:pt x="1811" y="417"/>
                  </a:cubicBezTo>
                  <a:cubicBezTo>
                    <a:pt x="1819" y="390"/>
                    <a:pt x="1844" y="369"/>
                    <a:pt x="1875" y="369"/>
                  </a:cubicBezTo>
                  <a:cubicBezTo>
                    <a:pt x="1905" y="369"/>
                    <a:pt x="1931" y="390"/>
                    <a:pt x="1939" y="417"/>
                  </a:cubicBezTo>
                  <a:cubicBezTo>
                    <a:pt x="2029" y="417"/>
                    <a:pt x="2029" y="417"/>
                    <a:pt x="2029" y="417"/>
                  </a:cubicBezTo>
                  <a:cubicBezTo>
                    <a:pt x="2037" y="390"/>
                    <a:pt x="2063" y="369"/>
                    <a:pt x="2093" y="369"/>
                  </a:cubicBezTo>
                  <a:cubicBezTo>
                    <a:pt x="2130" y="369"/>
                    <a:pt x="2160" y="399"/>
                    <a:pt x="2160" y="435"/>
                  </a:cubicBezTo>
                  <a:cubicBezTo>
                    <a:pt x="2162" y="436"/>
                    <a:pt x="2162" y="436"/>
                    <a:pt x="2162" y="436"/>
                  </a:cubicBezTo>
                  <a:cubicBezTo>
                    <a:pt x="2213" y="436"/>
                    <a:pt x="2213" y="436"/>
                    <a:pt x="2213" y="436"/>
                  </a:cubicBezTo>
                  <a:cubicBezTo>
                    <a:pt x="2213" y="417"/>
                    <a:pt x="2213" y="417"/>
                    <a:pt x="2213" y="417"/>
                  </a:cubicBezTo>
                  <a:cubicBezTo>
                    <a:pt x="2231" y="417"/>
                    <a:pt x="2231" y="417"/>
                    <a:pt x="2231" y="417"/>
                  </a:cubicBezTo>
                  <a:cubicBezTo>
                    <a:pt x="2232" y="421"/>
                    <a:pt x="2235" y="425"/>
                    <a:pt x="2239" y="425"/>
                  </a:cubicBezTo>
                  <a:cubicBezTo>
                    <a:pt x="2277" y="425"/>
                    <a:pt x="2277" y="425"/>
                    <a:pt x="2277" y="425"/>
                  </a:cubicBezTo>
                  <a:cubicBezTo>
                    <a:pt x="2281" y="425"/>
                    <a:pt x="2285" y="421"/>
                    <a:pt x="2285" y="417"/>
                  </a:cubicBezTo>
                  <a:cubicBezTo>
                    <a:pt x="2285" y="367"/>
                    <a:pt x="2285" y="367"/>
                    <a:pt x="2285" y="367"/>
                  </a:cubicBezTo>
                  <a:cubicBezTo>
                    <a:pt x="2285" y="362"/>
                    <a:pt x="2281" y="359"/>
                    <a:pt x="2277" y="359"/>
                  </a:cubicBezTo>
                  <a:close/>
                  <a:moveTo>
                    <a:pt x="353" y="337"/>
                  </a:moveTo>
                  <a:cubicBezTo>
                    <a:pt x="345" y="337"/>
                    <a:pt x="345" y="337"/>
                    <a:pt x="345" y="337"/>
                  </a:cubicBezTo>
                  <a:cubicBezTo>
                    <a:pt x="345" y="211"/>
                    <a:pt x="345" y="211"/>
                    <a:pt x="345" y="211"/>
                  </a:cubicBezTo>
                  <a:cubicBezTo>
                    <a:pt x="353" y="211"/>
                    <a:pt x="353" y="211"/>
                    <a:pt x="353" y="211"/>
                  </a:cubicBezTo>
                  <a:lnTo>
                    <a:pt x="353" y="337"/>
                  </a:lnTo>
                  <a:close/>
                  <a:moveTo>
                    <a:pt x="487" y="337"/>
                  </a:moveTo>
                  <a:cubicBezTo>
                    <a:pt x="479" y="337"/>
                    <a:pt x="479" y="337"/>
                    <a:pt x="479" y="337"/>
                  </a:cubicBezTo>
                  <a:cubicBezTo>
                    <a:pt x="479" y="211"/>
                    <a:pt x="479" y="211"/>
                    <a:pt x="479" y="211"/>
                  </a:cubicBezTo>
                  <a:cubicBezTo>
                    <a:pt x="487" y="211"/>
                    <a:pt x="487" y="211"/>
                    <a:pt x="487" y="211"/>
                  </a:cubicBezTo>
                  <a:lnTo>
                    <a:pt x="487" y="337"/>
                  </a:lnTo>
                  <a:close/>
                  <a:moveTo>
                    <a:pt x="621" y="337"/>
                  </a:moveTo>
                  <a:cubicBezTo>
                    <a:pt x="613" y="337"/>
                    <a:pt x="613" y="337"/>
                    <a:pt x="613" y="337"/>
                  </a:cubicBezTo>
                  <a:cubicBezTo>
                    <a:pt x="613" y="211"/>
                    <a:pt x="613" y="211"/>
                    <a:pt x="613" y="211"/>
                  </a:cubicBezTo>
                  <a:cubicBezTo>
                    <a:pt x="621" y="211"/>
                    <a:pt x="621" y="211"/>
                    <a:pt x="621" y="211"/>
                  </a:cubicBezTo>
                  <a:lnTo>
                    <a:pt x="621" y="337"/>
                  </a:lnTo>
                  <a:close/>
                  <a:moveTo>
                    <a:pt x="755" y="337"/>
                  </a:moveTo>
                  <a:cubicBezTo>
                    <a:pt x="747" y="337"/>
                    <a:pt x="747" y="337"/>
                    <a:pt x="747" y="337"/>
                  </a:cubicBezTo>
                  <a:cubicBezTo>
                    <a:pt x="747" y="211"/>
                    <a:pt x="747" y="211"/>
                    <a:pt x="747" y="211"/>
                  </a:cubicBezTo>
                  <a:cubicBezTo>
                    <a:pt x="755" y="211"/>
                    <a:pt x="755" y="211"/>
                    <a:pt x="755" y="211"/>
                  </a:cubicBezTo>
                  <a:lnTo>
                    <a:pt x="755" y="337"/>
                  </a:lnTo>
                  <a:close/>
                  <a:moveTo>
                    <a:pt x="817" y="192"/>
                  </a:moveTo>
                  <a:cubicBezTo>
                    <a:pt x="329" y="192"/>
                    <a:pt x="329" y="192"/>
                    <a:pt x="329" y="192"/>
                  </a:cubicBezTo>
                  <a:cubicBezTo>
                    <a:pt x="329" y="42"/>
                    <a:pt x="329" y="42"/>
                    <a:pt x="329" y="42"/>
                  </a:cubicBezTo>
                  <a:cubicBezTo>
                    <a:pt x="817" y="42"/>
                    <a:pt x="817" y="42"/>
                    <a:pt x="817" y="42"/>
                  </a:cubicBezTo>
                  <a:lnTo>
                    <a:pt x="817" y="192"/>
                  </a:lnTo>
                  <a:close/>
                  <a:moveTo>
                    <a:pt x="889" y="337"/>
                  </a:moveTo>
                  <a:cubicBezTo>
                    <a:pt x="880" y="337"/>
                    <a:pt x="880" y="337"/>
                    <a:pt x="880" y="337"/>
                  </a:cubicBezTo>
                  <a:cubicBezTo>
                    <a:pt x="880" y="211"/>
                    <a:pt x="880" y="211"/>
                    <a:pt x="880" y="211"/>
                  </a:cubicBezTo>
                  <a:cubicBezTo>
                    <a:pt x="889" y="211"/>
                    <a:pt x="889" y="211"/>
                    <a:pt x="889" y="211"/>
                  </a:cubicBezTo>
                  <a:lnTo>
                    <a:pt x="889" y="337"/>
                  </a:lnTo>
                  <a:close/>
                  <a:moveTo>
                    <a:pt x="1022" y="337"/>
                  </a:moveTo>
                  <a:cubicBezTo>
                    <a:pt x="1014" y="337"/>
                    <a:pt x="1014" y="337"/>
                    <a:pt x="1014" y="337"/>
                  </a:cubicBezTo>
                  <a:cubicBezTo>
                    <a:pt x="1014" y="211"/>
                    <a:pt x="1014" y="211"/>
                    <a:pt x="1014" y="211"/>
                  </a:cubicBezTo>
                  <a:cubicBezTo>
                    <a:pt x="1022" y="211"/>
                    <a:pt x="1022" y="211"/>
                    <a:pt x="1022" y="211"/>
                  </a:cubicBezTo>
                  <a:lnTo>
                    <a:pt x="1022" y="337"/>
                  </a:lnTo>
                  <a:close/>
                  <a:moveTo>
                    <a:pt x="1156" y="337"/>
                  </a:moveTo>
                  <a:cubicBezTo>
                    <a:pt x="1148" y="337"/>
                    <a:pt x="1148" y="337"/>
                    <a:pt x="1148" y="337"/>
                  </a:cubicBezTo>
                  <a:cubicBezTo>
                    <a:pt x="1148" y="211"/>
                    <a:pt x="1148" y="211"/>
                    <a:pt x="1148" y="211"/>
                  </a:cubicBezTo>
                  <a:cubicBezTo>
                    <a:pt x="1156" y="211"/>
                    <a:pt x="1156" y="211"/>
                    <a:pt x="1156" y="211"/>
                  </a:cubicBezTo>
                  <a:lnTo>
                    <a:pt x="1156" y="337"/>
                  </a:lnTo>
                  <a:close/>
                  <a:moveTo>
                    <a:pt x="1290" y="337"/>
                  </a:moveTo>
                  <a:cubicBezTo>
                    <a:pt x="1282" y="337"/>
                    <a:pt x="1282" y="337"/>
                    <a:pt x="1282" y="337"/>
                  </a:cubicBezTo>
                  <a:cubicBezTo>
                    <a:pt x="1282" y="211"/>
                    <a:pt x="1282" y="211"/>
                    <a:pt x="1282" y="211"/>
                  </a:cubicBezTo>
                  <a:cubicBezTo>
                    <a:pt x="1290" y="211"/>
                    <a:pt x="1290" y="211"/>
                    <a:pt x="1290" y="211"/>
                  </a:cubicBezTo>
                  <a:lnTo>
                    <a:pt x="1290" y="337"/>
                  </a:lnTo>
                  <a:close/>
                  <a:moveTo>
                    <a:pt x="1424" y="337"/>
                  </a:moveTo>
                  <a:cubicBezTo>
                    <a:pt x="1416" y="337"/>
                    <a:pt x="1416" y="337"/>
                    <a:pt x="1416" y="337"/>
                  </a:cubicBezTo>
                  <a:cubicBezTo>
                    <a:pt x="1416" y="211"/>
                    <a:pt x="1416" y="211"/>
                    <a:pt x="1416" y="211"/>
                  </a:cubicBezTo>
                  <a:cubicBezTo>
                    <a:pt x="1424" y="211"/>
                    <a:pt x="1424" y="211"/>
                    <a:pt x="1424" y="211"/>
                  </a:cubicBezTo>
                  <a:lnTo>
                    <a:pt x="1424" y="337"/>
                  </a:lnTo>
                  <a:close/>
                  <a:moveTo>
                    <a:pt x="1558" y="337"/>
                  </a:moveTo>
                  <a:cubicBezTo>
                    <a:pt x="1550" y="337"/>
                    <a:pt x="1550" y="337"/>
                    <a:pt x="1550" y="337"/>
                  </a:cubicBezTo>
                  <a:cubicBezTo>
                    <a:pt x="1550" y="211"/>
                    <a:pt x="1550" y="211"/>
                    <a:pt x="1550" y="211"/>
                  </a:cubicBezTo>
                  <a:cubicBezTo>
                    <a:pt x="1558" y="211"/>
                    <a:pt x="1558" y="211"/>
                    <a:pt x="1558" y="211"/>
                  </a:cubicBezTo>
                  <a:lnTo>
                    <a:pt x="1558" y="337"/>
                  </a:lnTo>
                  <a:close/>
                  <a:moveTo>
                    <a:pt x="1649" y="300"/>
                  </a:moveTo>
                  <a:cubicBezTo>
                    <a:pt x="1641" y="300"/>
                    <a:pt x="1641" y="300"/>
                    <a:pt x="1641" y="300"/>
                  </a:cubicBezTo>
                  <a:cubicBezTo>
                    <a:pt x="1641" y="36"/>
                    <a:pt x="1641" y="36"/>
                    <a:pt x="1641" y="36"/>
                  </a:cubicBezTo>
                  <a:cubicBezTo>
                    <a:pt x="1649" y="36"/>
                    <a:pt x="1649" y="36"/>
                    <a:pt x="1649" y="36"/>
                  </a:cubicBezTo>
                  <a:lnTo>
                    <a:pt x="1649" y="300"/>
                  </a:lnTo>
                  <a:close/>
                  <a:moveTo>
                    <a:pt x="1751" y="179"/>
                  </a:moveTo>
                  <a:cubicBezTo>
                    <a:pt x="1710" y="179"/>
                    <a:pt x="1710" y="179"/>
                    <a:pt x="1710" y="179"/>
                  </a:cubicBezTo>
                  <a:cubicBezTo>
                    <a:pt x="1710" y="101"/>
                    <a:pt x="1710" y="101"/>
                    <a:pt x="1710" y="101"/>
                  </a:cubicBezTo>
                  <a:cubicBezTo>
                    <a:pt x="1751" y="101"/>
                    <a:pt x="1751" y="101"/>
                    <a:pt x="1751" y="101"/>
                  </a:cubicBezTo>
                  <a:lnTo>
                    <a:pt x="1751" y="179"/>
                  </a:lnTo>
                  <a:close/>
                  <a:moveTo>
                    <a:pt x="1804" y="179"/>
                  </a:moveTo>
                  <a:cubicBezTo>
                    <a:pt x="1763" y="179"/>
                    <a:pt x="1763" y="179"/>
                    <a:pt x="1763" y="179"/>
                  </a:cubicBezTo>
                  <a:cubicBezTo>
                    <a:pt x="1763" y="101"/>
                    <a:pt x="1763" y="101"/>
                    <a:pt x="1763" y="101"/>
                  </a:cubicBezTo>
                  <a:cubicBezTo>
                    <a:pt x="1804" y="101"/>
                    <a:pt x="1804" y="101"/>
                    <a:pt x="1804" y="101"/>
                  </a:cubicBezTo>
                  <a:lnTo>
                    <a:pt x="1804" y="179"/>
                  </a:lnTo>
                  <a:close/>
                  <a:moveTo>
                    <a:pt x="1866" y="272"/>
                  </a:moveTo>
                  <a:cubicBezTo>
                    <a:pt x="1858" y="272"/>
                    <a:pt x="1858" y="272"/>
                    <a:pt x="1858" y="272"/>
                  </a:cubicBezTo>
                  <a:cubicBezTo>
                    <a:pt x="1858" y="156"/>
                    <a:pt x="1858" y="156"/>
                    <a:pt x="1858" y="156"/>
                  </a:cubicBezTo>
                  <a:cubicBezTo>
                    <a:pt x="1866" y="156"/>
                    <a:pt x="1866" y="156"/>
                    <a:pt x="1866" y="156"/>
                  </a:cubicBezTo>
                  <a:lnTo>
                    <a:pt x="1866" y="272"/>
                  </a:lnTo>
                  <a:close/>
                  <a:moveTo>
                    <a:pt x="1982" y="272"/>
                  </a:moveTo>
                  <a:cubicBezTo>
                    <a:pt x="1974" y="272"/>
                    <a:pt x="1974" y="272"/>
                    <a:pt x="1974" y="272"/>
                  </a:cubicBezTo>
                  <a:cubicBezTo>
                    <a:pt x="1974" y="156"/>
                    <a:pt x="1974" y="156"/>
                    <a:pt x="1974" y="156"/>
                  </a:cubicBezTo>
                  <a:cubicBezTo>
                    <a:pt x="1982" y="156"/>
                    <a:pt x="1982" y="156"/>
                    <a:pt x="1982" y="156"/>
                  </a:cubicBezTo>
                  <a:lnTo>
                    <a:pt x="1982" y="2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47" name="Oval 132"/>
            <p:cNvSpPr>
              <a:spLocks noChangeArrowheads="1"/>
            </p:cNvSpPr>
            <p:nvPr userDrawn="1"/>
          </p:nvSpPr>
          <p:spPr bwMode="auto">
            <a:xfrm>
              <a:off x="3525" y="1104"/>
              <a:ext cx="16" cy="1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48" name="Oval 133"/>
            <p:cNvSpPr>
              <a:spLocks noChangeArrowheads="1"/>
            </p:cNvSpPr>
            <p:nvPr userDrawn="1"/>
          </p:nvSpPr>
          <p:spPr bwMode="auto">
            <a:xfrm>
              <a:off x="3551" y="1104"/>
              <a:ext cx="16" cy="1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49" name="Oval 134"/>
            <p:cNvSpPr>
              <a:spLocks noChangeArrowheads="1"/>
            </p:cNvSpPr>
            <p:nvPr userDrawn="1"/>
          </p:nvSpPr>
          <p:spPr bwMode="auto">
            <a:xfrm>
              <a:off x="3352" y="1104"/>
              <a:ext cx="16" cy="1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0" name="Oval 135"/>
            <p:cNvSpPr>
              <a:spLocks noChangeArrowheads="1"/>
            </p:cNvSpPr>
            <p:nvPr userDrawn="1"/>
          </p:nvSpPr>
          <p:spPr bwMode="auto">
            <a:xfrm>
              <a:off x="3327" y="1104"/>
              <a:ext cx="15" cy="1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1" name="Freeform 136"/>
            <p:cNvSpPr>
              <a:spLocks noEditPoints="1"/>
            </p:cNvSpPr>
            <p:nvPr userDrawn="1"/>
          </p:nvSpPr>
          <p:spPr bwMode="auto">
            <a:xfrm>
              <a:off x="3293" y="1047"/>
              <a:ext cx="307" cy="66"/>
            </a:xfrm>
            <a:custGeom>
              <a:avLst/>
              <a:gdLst>
                <a:gd name="T0" fmla="*/ 1960 w 1993"/>
                <a:gd name="T1" fmla="*/ 313 h 428"/>
                <a:gd name="T2" fmla="*/ 1922 w 1993"/>
                <a:gd name="T3" fmla="*/ 312 h 428"/>
                <a:gd name="T4" fmla="*/ 1922 w 1993"/>
                <a:gd name="T5" fmla="*/ 0 h 428"/>
                <a:gd name="T6" fmla="*/ 71 w 1993"/>
                <a:gd name="T7" fmla="*/ 31 h 428"/>
                <a:gd name="T8" fmla="*/ 41 w 1993"/>
                <a:gd name="T9" fmla="*/ 312 h 428"/>
                <a:gd name="T10" fmla="*/ 17 w 1993"/>
                <a:gd name="T11" fmla="*/ 290 h 428"/>
                <a:gd name="T12" fmla="*/ 17 w 1993"/>
                <a:gd name="T13" fmla="*/ 381 h 428"/>
                <a:gd name="T14" fmla="*/ 41 w 1993"/>
                <a:gd name="T15" fmla="*/ 358 h 428"/>
                <a:gd name="T16" fmla="*/ 71 w 1993"/>
                <a:gd name="T17" fmla="*/ 366 h 428"/>
                <a:gd name="T18" fmla="*/ 206 w 1993"/>
                <a:gd name="T19" fmla="*/ 398 h 428"/>
                <a:gd name="T20" fmla="*/ 336 w 1993"/>
                <a:gd name="T21" fmla="*/ 416 h 428"/>
                <a:gd name="T22" fmla="*/ 353 w 1993"/>
                <a:gd name="T23" fmla="*/ 428 h 428"/>
                <a:gd name="T24" fmla="*/ 370 w 1993"/>
                <a:gd name="T25" fmla="*/ 416 h 428"/>
                <a:gd name="T26" fmla="*/ 500 w 1993"/>
                <a:gd name="T27" fmla="*/ 398 h 428"/>
                <a:gd name="T28" fmla="*/ 1445 w 1993"/>
                <a:gd name="T29" fmla="*/ 366 h 428"/>
                <a:gd name="T30" fmla="*/ 1556 w 1993"/>
                <a:gd name="T31" fmla="*/ 352 h 428"/>
                <a:gd name="T32" fmla="*/ 1626 w 1993"/>
                <a:gd name="T33" fmla="*/ 428 h 428"/>
                <a:gd name="T34" fmla="*/ 1654 w 1993"/>
                <a:gd name="T35" fmla="*/ 428 h 428"/>
                <a:gd name="T36" fmla="*/ 1724 w 1993"/>
                <a:gd name="T37" fmla="*/ 352 h 428"/>
                <a:gd name="T38" fmla="*/ 1836 w 1993"/>
                <a:gd name="T39" fmla="*/ 366 h 428"/>
                <a:gd name="T40" fmla="*/ 1922 w 1993"/>
                <a:gd name="T41" fmla="*/ 358 h 428"/>
                <a:gd name="T42" fmla="*/ 1960 w 1993"/>
                <a:gd name="T43" fmla="*/ 357 h 428"/>
                <a:gd name="T44" fmla="*/ 1993 w 1993"/>
                <a:gd name="T45" fmla="*/ 335 h 428"/>
                <a:gd name="T46" fmla="*/ 247 w 1993"/>
                <a:gd name="T47" fmla="*/ 312 h 428"/>
                <a:gd name="T48" fmla="*/ 232 w 1993"/>
                <a:gd name="T49" fmla="*/ 31 h 428"/>
                <a:gd name="T50" fmla="*/ 247 w 1993"/>
                <a:gd name="T51" fmla="*/ 312 h 428"/>
                <a:gd name="T52" fmla="*/ 448 w 1993"/>
                <a:gd name="T53" fmla="*/ 312 h 428"/>
                <a:gd name="T54" fmla="*/ 463 w 1993"/>
                <a:gd name="T55" fmla="*/ 31 h 428"/>
                <a:gd name="T56" fmla="*/ 679 w 1993"/>
                <a:gd name="T57" fmla="*/ 312 h 428"/>
                <a:gd name="T58" fmla="*/ 665 w 1993"/>
                <a:gd name="T59" fmla="*/ 31 h 428"/>
                <a:gd name="T60" fmla="*/ 679 w 1993"/>
                <a:gd name="T61" fmla="*/ 312 h 428"/>
                <a:gd name="T62" fmla="*/ 881 w 1993"/>
                <a:gd name="T63" fmla="*/ 312 h 428"/>
                <a:gd name="T64" fmla="*/ 896 w 1993"/>
                <a:gd name="T65" fmla="*/ 31 h 428"/>
                <a:gd name="T66" fmla="*/ 1112 w 1993"/>
                <a:gd name="T67" fmla="*/ 312 h 428"/>
                <a:gd name="T68" fmla="*/ 1097 w 1993"/>
                <a:gd name="T69" fmla="*/ 31 h 428"/>
                <a:gd name="T70" fmla="*/ 1112 w 1993"/>
                <a:gd name="T71" fmla="*/ 312 h 428"/>
                <a:gd name="T72" fmla="*/ 1314 w 1993"/>
                <a:gd name="T73" fmla="*/ 312 h 428"/>
                <a:gd name="T74" fmla="*/ 1328 w 1993"/>
                <a:gd name="T75" fmla="*/ 31 h 428"/>
                <a:gd name="T76" fmla="*/ 1545 w 1993"/>
                <a:gd name="T77" fmla="*/ 312 h 428"/>
                <a:gd name="T78" fmla="*/ 1530 w 1993"/>
                <a:gd name="T79" fmla="*/ 31 h 428"/>
                <a:gd name="T80" fmla="*/ 1545 w 1993"/>
                <a:gd name="T81" fmla="*/ 312 h 428"/>
                <a:gd name="T82" fmla="*/ 1746 w 1993"/>
                <a:gd name="T83" fmla="*/ 312 h 428"/>
                <a:gd name="T84" fmla="*/ 1761 w 1993"/>
                <a:gd name="T85" fmla="*/ 31 h 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993" h="428">
                  <a:moveTo>
                    <a:pt x="1976" y="290"/>
                  </a:moveTo>
                  <a:cubicBezTo>
                    <a:pt x="1969" y="290"/>
                    <a:pt x="1963" y="299"/>
                    <a:pt x="1960" y="313"/>
                  </a:cubicBezTo>
                  <a:cubicBezTo>
                    <a:pt x="1958" y="313"/>
                    <a:pt x="1955" y="312"/>
                    <a:pt x="1953" y="312"/>
                  </a:cubicBezTo>
                  <a:cubicBezTo>
                    <a:pt x="1922" y="312"/>
                    <a:pt x="1922" y="312"/>
                    <a:pt x="1922" y="312"/>
                  </a:cubicBezTo>
                  <a:cubicBezTo>
                    <a:pt x="1922" y="31"/>
                    <a:pt x="1922" y="31"/>
                    <a:pt x="1922" y="31"/>
                  </a:cubicBezTo>
                  <a:cubicBezTo>
                    <a:pt x="1922" y="0"/>
                    <a:pt x="1922" y="0"/>
                    <a:pt x="1922" y="0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71" y="31"/>
                    <a:pt x="71" y="31"/>
                    <a:pt x="71" y="31"/>
                  </a:cubicBezTo>
                  <a:cubicBezTo>
                    <a:pt x="71" y="312"/>
                    <a:pt x="71" y="312"/>
                    <a:pt x="71" y="312"/>
                  </a:cubicBezTo>
                  <a:cubicBezTo>
                    <a:pt x="41" y="312"/>
                    <a:pt x="41" y="312"/>
                    <a:pt x="41" y="312"/>
                  </a:cubicBezTo>
                  <a:cubicBezTo>
                    <a:pt x="38" y="312"/>
                    <a:pt x="35" y="313"/>
                    <a:pt x="33" y="313"/>
                  </a:cubicBezTo>
                  <a:cubicBezTo>
                    <a:pt x="30" y="299"/>
                    <a:pt x="24" y="290"/>
                    <a:pt x="17" y="290"/>
                  </a:cubicBezTo>
                  <a:cubicBezTo>
                    <a:pt x="8" y="290"/>
                    <a:pt x="0" y="310"/>
                    <a:pt x="0" y="335"/>
                  </a:cubicBezTo>
                  <a:cubicBezTo>
                    <a:pt x="0" y="360"/>
                    <a:pt x="8" y="381"/>
                    <a:pt x="17" y="381"/>
                  </a:cubicBezTo>
                  <a:cubicBezTo>
                    <a:pt x="24" y="381"/>
                    <a:pt x="30" y="371"/>
                    <a:pt x="33" y="357"/>
                  </a:cubicBezTo>
                  <a:cubicBezTo>
                    <a:pt x="35" y="358"/>
                    <a:pt x="38" y="358"/>
                    <a:pt x="41" y="358"/>
                  </a:cubicBezTo>
                  <a:cubicBezTo>
                    <a:pt x="71" y="358"/>
                    <a:pt x="71" y="358"/>
                    <a:pt x="71" y="358"/>
                  </a:cubicBezTo>
                  <a:cubicBezTo>
                    <a:pt x="71" y="366"/>
                    <a:pt x="71" y="366"/>
                    <a:pt x="71" y="366"/>
                  </a:cubicBezTo>
                  <a:cubicBezTo>
                    <a:pt x="157" y="366"/>
                    <a:pt x="157" y="366"/>
                    <a:pt x="157" y="366"/>
                  </a:cubicBezTo>
                  <a:cubicBezTo>
                    <a:pt x="206" y="398"/>
                    <a:pt x="206" y="398"/>
                    <a:pt x="206" y="398"/>
                  </a:cubicBezTo>
                  <a:cubicBezTo>
                    <a:pt x="215" y="371"/>
                    <a:pt x="240" y="352"/>
                    <a:pt x="269" y="352"/>
                  </a:cubicBezTo>
                  <a:cubicBezTo>
                    <a:pt x="304" y="352"/>
                    <a:pt x="334" y="380"/>
                    <a:pt x="336" y="416"/>
                  </a:cubicBezTo>
                  <a:cubicBezTo>
                    <a:pt x="337" y="419"/>
                    <a:pt x="338" y="424"/>
                    <a:pt x="339" y="428"/>
                  </a:cubicBezTo>
                  <a:cubicBezTo>
                    <a:pt x="353" y="428"/>
                    <a:pt x="353" y="428"/>
                    <a:pt x="353" y="428"/>
                  </a:cubicBezTo>
                  <a:cubicBezTo>
                    <a:pt x="367" y="428"/>
                    <a:pt x="367" y="428"/>
                    <a:pt x="367" y="428"/>
                  </a:cubicBezTo>
                  <a:cubicBezTo>
                    <a:pt x="367" y="424"/>
                    <a:pt x="368" y="419"/>
                    <a:pt x="370" y="416"/>
                  </a:cubicBezTo>
                  <a:cubicBezTo>
                    <a:pt x="372" y="380"/>
                    <a:pt x="401" y="352"/>
                    <a:pt x="437" y="352"/>
                  </a:cubicBezTo>
                  <a:cubicBezTo>
                    <a:pt x="466" y="352"/>
                    <a:pt x="491" y="371"/>
                    <a:pt x="500" y="398"/>
                  </a:cubicBezTo>
                  <a:cubicBezTo>
                    <a:pt x="548" y="366"/>
                    <a:pt x="548" y="366"/>
                    <a:pt x="548" y="366"/>
                  </a:cubicBezTo>
                  <a:cubicBezTo>
                    <a:pt x="1445" y="366"/>
                    <a:pt x="1445" y="366"/>
                    <a:pt x="1445" y="366"/>
                  </a:cubicBezTo>
                  <a:cubicBezTo>
                    <a:pt x="1493" y="398"/>
                    <a:pt x="1493" y="398"/>
                    <a:pt x="1493" y="398"/>
                  </a:cubicBezTo>
                  <a:cubicBezTo>
                    <a:pt x="1502" y="371"/>
                    <a:pt x="1527" y="352"/>
                    <a:pt x="1556" y="352"/>
                  </a:cubicBezTo>
                  <a:cubicBezTo>
                    <a:pt x="1592" y="352"/>
                    <a:pt x="1621" y="380"/>
                    <a:pt x="1623" y="416"/>
                  </a:cubicBezTo>
                  <a:cubicBezTo>
                    <a:pt x="1625" y="419"/>
                    <a:pt x="1626" y="424"/>
                    <a:pt x="1626" y="428"/>
                  </a:cubicBezTo>
                  <a:cubicBezTo>
                    <a:pt x="1640" y="428"/>
                    <a:pt x="1640" y="428"/>
                    <a:pt x="1640" y="428"/>
                  </a:cubicBezTo>
                  <a:cubicBezTo>
                    <a:pt x="1654" y="428"/>
                    <a:pt x="1654" y="428"/>
                    <a:pt x="1654" y="428"/>
                  </a:cubicBezTo>
                  <a:cubicBezTo>
                    <a:pt x="1655" y="424"/>
                    <a:pt x="1656" y="419"/>
                    <a:pt x="1658" y="416"/>
                  </a:cubicBezTo>
                  <a:cubicBezTo>
                    <a:pt x="1660" y="380"/>
                    <a:pt x="1689" y="352"/>
                    <a:pt x="1724" y="352"/>
                  </a:cubicBezTo>
                  <a:cubicBezTo>
                    <a:pt x="1754" y="352"/>
                    <a:pt x="1778" y="371"/>
                    <a:pt x="1787" y="398"/>
                  </a:cubicBezTo>
                  <a:cubicBezTo>
                    <a:pt x="1836" y="366"/>
                    <a:pt x="1836" y="366"/>
                    <a:pt x="1836" y="366"/>
                  </a:cubicBezTo>
                  <a:cubicBezTo>
                    <a:pt x="1922" y="366"/>
                    <a:pt x="1922" y="366"/>
                    <a:pt x="1922" y="366"/>
                  </a:cubicBezTo>
                  <a:cubicBezTo>
                    <a:pt x="1922" y="358"/>
                    <a:pt x="1922" y="358"/>
                    <a:pt x="1922" y="358"/>
                  </a:cubicBezTo>
                  <a:cubicBezTo>
                    <a:pt x="1953" y="358"/>
                    <a:pt x="1953" y="358"/>
                    <a:pt x="1953" y="358"/>
                  </a:cubicBezTo>
                  <a:cubicBezTo>
                    <a:pt x="1955" y="358"/>
                    <a:pt x="1958" y="358"/>
                    <a:pt x="1960" y="357"/>
                  </a:cubicBezTo>
                  <a:cubicBezTo>
                    <a:pt x="1963" y="371"/>
                    <a:pt x="1969" y="381"/>
                    <a:pt x="1976" y="381"/>
                  </a:cubicBezTo>
                  <a:cubicBezTo>
                    <a:pt x="1985" y="381"/>
                    <a:pt x="1993" y="360"/>
                    <a:pt x="1993" y="335"/>
                  </a:cubicBezTo>
                  <a:cubicBezTo>
                    <a:pt x="1993" y="310"/>
                    <a:pt x="1985" y="290"/>
                    <a:pt x="1976" y="290"/>
                  </a:cubicBezTo>
                  <a:close/>
                  <a:moveTo>
                    <a:pt x="247" y="312"/>
                  </a:moveTo>
                  <a:cubicBezTo>
                    <a:pt x="232" y="312"/>
                    <a:pt x="232" y="312"/>
                    <a:pt x="232" y="312"/>
                  </a:cubicBezTo>
                  <a:cubicBezTo>
                    <a:pt x="232" y="31"/>
                    <a:pt x="232" y="31"/>
                    <a:pt x="232" y="31"/>
                  </a:cubicBezTo>
                  <a:cubicBezTo>
                    <a:pt x="247" y="31"/>
                    <a:pt x="247" y="31"/>
                    <a:pt x="247" y="31"/>
                  </a:cubicBezTo>
                  <a:lnTo>
                    <a:pt x="247" y="312"/>
                  </a:lnTo>
                  <a:close/>
                  <a:moveTo>
                    <a:pt x="463" y="312"/>
                  </a:moveTo>
                  <a:cubicBezTo>
                    <a:pt x="448" y="312"/>
                    <a:pt x="448" y="312"/>
                    <a:pt x="448" y="312"/>
                  </a:cubicBezTo>
                  <a:cubicBezTo>
                    <a:pt x="448" y="31"/>
                    <a:pt x="448" y="31"/>
                    <a:pt x="448" y="31"/>
                  </a:cubicBezTo>
                  <a:cubicBezTo>
                    <a:pt x="463" y="31"/>
                    <a:pt x="463" y="31"/>
                    <a:pt x="463" y="31"/>
                  </a:cubicBezTo>
                  <a:lnTo>
                    <a:pt x="463" y="312"/>
                  </a:lnTo>
                  <a:close/>
                  <a:moveTo>
                    <a:pt x="679" y="312"/>
                  </a:moveTo>
                  <a:cubicBezTo>
                    <a:pt x="665" y="312"/>
                    <a:pt x="665" y="312"/>
                    <a:pt x="665" y="312"/>
                  </a:cubicBezTo>
                  <a:cubicBezTo>
                    <a:pt x="665" y="31"/>
                    <a:pt x="665" y="31"/>
                    <a:pt x="665" y="31"/>
                  </a:cubicBezTo>
                  <a:cubicBezTo>
                    <a:pt x="679" y="31"/>
                    <a:pt x="679" y="31"/>
                    <a:pt x="679" y="31"/>
                  </a:cubicBezTo>
                  <a:lnTo>
                    <a:pt x="679" y="312"/>
                  </a:lnTo>
                  <a:close/>
                  <a:moveTo>
                    <a:pt x="896" y="312"/>
                  </a:moveTo>
                  <a:cubicBezTo>
                    <a:pt x="881" y="312"/>
                    <a:pt x="881" y="312"/>
                    <a:pt x="881" y="312"/>
                  </a:cubicBezTo>
                  <a:cubicBezTo>
                    <a:pt x="881" y="31"/>
                    <a:pt x="881" y="31"/>
                    <a:pt x="881" y="31"/>
                  </a:cubicBezTo>
                  <a:cubicBezTo>
                    <a:pt x="896" y="31"/>
                    <a:pt x="896" y="31"/>
                    <a:pt x="896" y="31"/>
                  </a:cubicBezTo>
                  <a:lnTo>
                    <a:pt x="896" y="312"/>
                  </a:lnTo>
                  <a:close/>
                  <a:moveTo>
                    <a:pt x="1112" y="312"/>
                  </a:moveTo>
                  <a:cubicBezTo>
                    <a:pt x="1097" y="312"/>
                    <a:pt x="1097" y="312"/>
                    <a:pt x="1097" y="312"/>
                  </a:cubicBezTo>
                  <a:cubicBezTo>
                    <a:pt x="1097" y="31"/>
                    <a:pt x="1097" y="31"/>
                    <a:pt x="1097" y="31"/>
                  </a:cubicBezTo>
                  <a:cubicBezTo>
                    <a:pt x="1112" y="31"/>
                    <a:pt x="1112" y="31"/>
                    <a:pt x="1112" y="31"/>
                  </a:cubicBezTo>
                  <a:lnTo>
                    <a:pt x="1112" y="312"/>
                  </a:lnTo>
                  <a:close/>
                  <a:moveTo>
                    <a:pt x="1328" y="312"/>
                  </a:moveTo>
                  <a:cubicBezTo>
                    <a:pt x="1314" y="312"/>
                    <a:pt x="1314" y="312"/>
                    <a:pt x="1314" y="312"/>
                  </a:cubicBezTo>
                  <a:cubicBezTo>
                    <a:pt x="1314" y="31"/>
                    <a:pt x="1314" y="31"/>
                    <a:pt x="1314" y="31"/>
                  </a:cubicBezTo>
                  <a:cubicBezTo>
                    <a:pt x="1328" y="31"/>
                    <a:pt x="1328" y="31"/>
                    <a:pt x="1328" y="31"/>
                  </a:cubicBezTo>
                  <a:lnTo>
                    <a:pt x="1328" y="312"/>
                  </a:lnTo>
                  <a:close/>
                  <a:moveTo>
                    <a:pt x="1545" y="312"/>
                  </a:moveTo>
                  <a:cubicBezTo>
                    <a:pt x="1530" y="312"/>
                    <a:pt x="1530" y="312"/>
                    <a:pt x="1530" y="312"/>
                  </a:cubicBezTo>
                  <a:cubicBezTo>
                    <a:pt x="1530" y="31"/>
                    <a:pt x="1530" y="31"/>
                    <a:pt x="1530" y="31"/>
                  </a:cubicBezTo>
                  <a:cubicBezTo>
                    <a:pt x="1545" y="31"/>
                    <a:pt x="1545" y="31"/>
                    <a:pt x="1545" y="31"/>
                  </a:cubicBezTo>
                  <a:lnTo>
                    <a:pt x="1545" y="312"/>
                  </a:lnTo>
                  <a:close/>
                  <a:moveTo>
                    <a:pt x="1761" y="312"/>
                  </a:moveTo>
                  <a:cubicBezTo>
                    <a:pt x="1746" y="312"/>
                    <a:pt x="1746" y="312"/>
                    <a:pt x="1746" y="312"/>
                  </a:cubicBezTo>
                  <a:cubicBezTo>
                    <a:pt x="1746" y="31"/>
                    <a:pt x="1746" y="31"/>
                    <a:pt x="1746" y="31"/>
                  </a:cubicBezTo>
                  <a:cubicBezTo>
                    <a:pt x="1761" y="31"/>
                    <a:pt x="1761" y="31"/>
                    <a:pt x="1761" y="31"/>
                  </a:cubicBezTo>
                  <a:lnTo>
                    <a:pt x="1761" y="3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2" name="Oval 137"/>
            <p:cNvSpPr>
              <a:spLocks noChangeArrowheads="1"/>
            </p:cNvSpPr>
            <p:nvPr userDrawn="1"/>
          </p:nvSpPr>
          <p:spPr bwMode="auto">
            <a:xfrm>
              <a:off x="3216" y="1104"/>
              <a:ext cx="16" cy="1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3" name="Oval 138"/>
            <p:cNvSpPr>
              <a:spLocks noChangeArrowheads="1"/>
            </p:cNvSpPr>
            <p:nvPr userDrawn="1"/>
          </p:nvSpPr>
          <p:spPr bwMode="auto">
            <a:xfrm>
              <a:off x="3242" y="1104"/>
              <a:ext cx="16" cy="1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4" name="Oval 139"/>
            <p:cNvSpPr>
              <a:spLocks noChangeArrowheads="1"/>
            </p:cNvSpPr>
            <p:nvPr userDrawn="1"/>
          </p:nvSpPr>
          <p:spPr bwMode="auto">
            <a:xfrm>
              <a:off x="3043" y="1104"/>
              <a:ext cx="16" cy="1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5" name="Oval 140"/>
            <p:cNvSpPr>
              <a:spLocks noChangeArrowheads="1"/>
            </p:cNvSpPr>
            <p:nvPr userDrawn="1"/>
          </p:nvSpPr>
          <p:spPr bwMode="auto">
            <a:xfrm>
              <a:off x="3017" y="1104"/>
              <a:ext cx="16" cy="1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6" name="Freeform 141"/>
            <p:cNvSpPr>
              <a:spLocks noEditPoints="1"/>
            </p:cNvSpPr>
            <p:nvPr userDrawn="1"/>
          </p:nvSpPr>
          <p:spPr bwMode="auto">
            <a:xfrm>
              <a:off x="2984" y="1047"/>
              <a:ext cx="307" cy="66"/>
            </a:xfrm>
            <a:custGeom>
              <a:avLst/>
              <a:gdLst>
                <a:gd name="T0" fmla="*/ 1961 w 1993"/>
                <a:gd name="T1" fmla="*/ 313 h 428"/>
                <a:gd name="T2" fmla="*/ 1922 w 1993"/>
                <a:gd name="T3" fmla="*/ 312 h 428"/>
                <a:gd name="T4" fmla="*/ 1922 w 1993"/>
                <a:gd name="T5" fmla="*/ 0 h 428"/>
                <a:gd name="T6" fmla="*/ 71 w 1993"/>
                <a:gd name="T7" fmla="*/ 31 h 428"/>
                <a:gd name="T8" fmla="*/ 41 w 1993"/>
                <a:gd name="T9" fmla="*/ 312 h 428"/>
                <a:gd name="T10" fmla="*/ 18 w 1993"/>
                <a:gd name="T11" fmla="*/ 290 h 428"/>
                <a:gd name="T12" fmla="*/ 18 w 1993"/>
                <a:gd name="T13" fmla="*/ 381 h 428"/>
                <a:gd name="T14" fmla="*/ 41 w 1993"/>
                <a:gd name="T15" fmla="*/ 358 h 428"/>
                <a:gd name="T16" fmla="*/ 71 w 1993"/>
                <a:gd name="T17" fmla="*/ 366 h 428"/>
                <a:gd name="T18" fmla="*/ 206 w 1993"/>
                <a:gd name="T19" fmla="*/ 398 h 428"/>
                <a:gd name="T20" fmla="*/ 336 w 1993"/>
                <a:gd name="T21" fmla="*/ 416 h 428"/>
                <a:gd name="T22" fmla="*/ 353 w 1993"/>
                <a:gd name="T23" fmla="*/ 428 h 428"/>
                <a:gd name="T24" fmla="*/ 370 w 1993"/>
                <a:gd name="T25" fmla="*/ 416 h 428"/>
                <a:gd name="T26" fmla="*/ 500 w 1993"/>
                <a:gd name="T27" fmla="*/ 398 h 428"/>
                <a:gd name="T28" fmla="*/ 1445 w 1993"/>
                <a:gd name="T29" fmla="*/ 366 h 428"/>
                <a:gd name="T30" fmla="*/ 1557 w 1993"/>
                <a:gd name="T31" fmla="*/ 352 h 428"/>
                <a:gd name="T32" fmla="*/ 1627 w 1993"/>
                <a:gd name="T33" fmla="*/ 428 h 428"/>
                <a:gd name="T34" fmla="*/ 1655 w 1993"/>
                <a:gd name="T35" fmla="*/ 428 h 428"/>
                <a:gd name="T36" fmla="*/ 1725 w 1993"/>
                <a:gd name="T37" fmla="*/ 352 h 428"/>
                <a:gd name="T38" fmla="*/ 1836 w 1993"/>
                <a:gd name="T39" fmla="*/ 366 h 428"/>
                <a:gd name="T40" fmla="*/ 1922 w 1993"/>
                <a:gd name="T41" fmla="*/ 358 h 428"/>
                <a:gd name="T42" fmla="*/ 1961 w 1993"/>
                <a:gd name="T43" fmla="*/ 357 h 428"/>
                <a:gd name="T44" fmla="*/ 1993 w 1993"/>
                <a:gd name="T45" fmla="*/ 335 h 428"/>
                <a:gd name="T46" fmla="*/ 1557 w 1993"/>
                <a:gd name="T47" fmla="*/ 84 h 428"/>
                <a:gd name="T48" fmla="*/ 1573 w 1993"/>
                <a:gd name="T49" fmla="*/ 241 h 428"/>
                <a:gd name="T50" fmla="*/ 1709 w 1993"/>
                <a:gd name="T51" fmla="*/ 84 h 428"/>
                <a:gd name="T52" fmla="*/ 1725 w 1993"/>
                <a:gd name="T53" fmla="*/ 277 h 428"/>
                <a:gd name="T54" fmla="*/ 1557 w 1993"/>
                <a:gd name="T55" fmla="*/ 84 h 428"/>
                <a:gd name="T56" fmla="*/ 285 w 1993"/>
                <a:gd name="T57" fmla="*/ 84 h 428"/>
                <a:gd name="T58" fmla="*/ 421 w 1993"/>
                <a:gd name="T59" fmla="*/ 241 h 428"/>
                <a:gd name="T60" fmla="*/ 437 w 1993"/>
                <a:gd name="T61" fmla="*/ 84 h 428"/>
                <a:gd name="T62" fmla="*/ 269 w 1993"/>
                <a:gd name="T63" fmla="*/ 277 h 428"/>
                <a:gd name="T64" fmla="*/ 232 w 1993"/>
                <a:gd name="T65" fmla="*/ 324 h 428"/>
                <a:gd name="T66" fmla="*/ 232 w 1993"/>
                <a:gd name="T67" fmla="*/ 31 h 428"/>
                <a:gd name="T68" fmla="*/ 247 w 1993"/>
                <a:gd name="T69" fmla="*/ 312 h 428"/>
                <a:gd name="T70" fmla="*/ 448 w 1993"/>
                <a:gd name="T71" fmla="*/ 31 h 428"/>
                <a:gd name="T72" fmla="*/ 463 w 1993"/>
                <a:gd name="T73" fmla="*/ 312 h 428"/>
                <a:gd name="T74" fmla="*/ 665 w 1993"/>
                <a:gd name="T75" fmla="*/ 31 h 428"/>
                <a:gd name="T76" fmla="*/ 680 w 1993"/>
                <a:gd name="T77" fmla="*/ 312 h 428"/>
                <a:gd name="T78" fmla="*/ 881 w 1993"/>
                <a:gd name="T79" fmla="*/ 31 h 428"/>
                <a:gd name="T80" fmla="*/ 896 w 1993"/>
                <a:gd name="T81" fmla="*/ 312 h 428"/>
                <a:gd name="T82" fmla="*/ 1098 w 1993"/>
                <a:gd name="T83" fmla="*/ 31 h 428"/>
                <a:gd name="T84" fmla="*/ 1112 w 1993"/>
                <a:gd name="T85" fmla="*/ 312 h 428"/>
                <a:gd name="T86" fmla="*/ 1314 w 1993"/>
                <a:gd name="T87" fmla="*/ 31 h 428"/>
                <a:gd name="T88" fmla="*/ 1329 w 1993"/>
                <a:gd name="T89" fmla="*/ 312 h 428"/>
                <a:gd name="T90" fmla="*/ 1530 w 1993"/>
                <a:gd name="T91" fmla="*/ 31 h 428"/>
                <a:gd name="T92" fmla="*/ 1545 w 1993"/>
                <a:gd name="T93" fmla="*/ 312 h 428"/>
                <a:gd name="T94" fmla="*/ 1747 w 1993"/>
                <a:gd name="T95" fmla="*/ 31 h 428"/>
                <a:gd name="T96" fmla="*/ 1761 w 1993"/>
                <a:gd name="T97" fmla="*/ 312 h 428"/>
                <a:gd name="T98" fmla="*/ 232 w 1993"/>
                <a:gd name="T99" fmla="*/ 324 h 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993" h="428">
                  <a:moveTo>
                    <a:pt x="1976" y="290"/>
                  </a:moveTo>
                  <a:cubicBezTo>
                    <a:pt x="1969" y="290"/>
                    <a:pt x="1964" y="299"/>
                    <a:pt x="1961" y="313"/>
                  </a:cubicBezTo>
                  <a:cubicBezTo>
                    <a:pt x="1958" y="313"/>
                    <a:pt x="1955" y="312"/>
                    <a:pt x="1953" y="312"/>
                  </a:cubicBezTo>
                  <a:cubicBezTo>
                    <a:pt x="1922" y="312"/>
                    <a:pt x="1922" y="312"/>
                    <a:pt x="1922" y="312"/>
                  </a:cubicBezTo>
                  <a:cubicBezTo>
                    <a:pt x="1922" y="31"/>
                    <a:pt x="1922" y="31"/>
                    <a:pt x="1922" y="31"/>
                  </a:cubicBezTo>
                  <a:cubicBezTo>
                    <a:pt x="1922" y="0"/>
                    <a:pt x="1922" y="0"/>
                    <a:pt x="1922" y="0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71" y="31"/>
                    <a:pt x="71" y="31"/>
                    <a:pt x="71" y="31"/>
                  </a:cubicBezTo>
                  <a:cubicBezTo>
                    <a:pt x="71" y="312"/>
                    <a:pt x="71" y="312"/>
                    <a:pt x="71" y="312"/>
                  </a:cubicBezTo>
                  <a:cubicBezTo>
                    <a:pt x="41" y="312"/>
                    <a:pt x="41" y="312"/>
                    <a:pt x="41" y="312"/>
                  </a:cubicBezTo>
                  <a:cubicBezTo>
                    <a:pt x="38" y="312"/>
                    <a:pt x="35" y="313"/>
                    <a:pt x="33" y="313"/>
                  </a:cubicBezTo>
                  <a:cubicBezTo>
                    <a:pt x="30" y="299"/>
                    <a:pt x="24" y="290"/>
                    <a:pt x="18" y="290"/>
                  </a:cubicBezTo>
                  <a:cubicBezTo>
                    <a:pt x="8" y="290"/>
                    <a:pt x="0" y="310"/>
                    <a:pt x="0" y="335"/>
                  </a:cubicBezTo>
                  <a:cubicBezTo>
                    <a:pt x="0" y="360"/>
                    <a:pt x="8" y="381"/>
                    <a:pt x="18" y="381"/>
                  </a:cubicBezTo>
                  <a:cubicBezTo>
                    <a:pt x="24" y="381"/>
                    <a:pt x="30" y="371"/>
                    <a:pt x="33" y="357"/>
                  </a:cubicBezTo>
                  <a:cubicBezTo>
                    <a:pt x="35" y="358"/>
                    <a:pt x="38" y="358"/>
                    <a:pt x="41" y="358"/>
                  </a:cubicBezTo>
                  <a:cubicBezTo>
                    <a:pt x="71" y="358"/>
                    <a:pt x="71" y="358"/>
                    <a:pt x="71" y="358"/>
                  </a:cubicBezTo>
                  <a:cubicBezTo>
                    <a:pt x="71" y="366"/>
                    <a:pt x="71" y="366"/>
                    <a:pt x="71" y="366"/>
                  </a:cubicBezTo>
                  <a:cubicBezTo>
                    <a:pt x="158" y="366"/>
                    <a:pt x="158" y="366"/>
                    <a:pt x="158" y="366"/>
                  </a:cubicBezTo>
                  <a:cubicBezTo>
                    <a:pt x="206" y="398"/>
                    <a:pt x="206" y="398"/>
                    <a:pt x="206" y="398"/>
                  </a:cubicBezTo>
                  <a:cubicBezTo>
                    <a:pt x="215" y="371"/>
                    <a:pt x="240" y="352"/>
                    <a:pt x="269" y="352"/>
                  </a:cubicBezTo>
                  <a:cubicBezTo>
                    <a:pt x="305" y="352"/>
                    <a:pt x="334" y="380"/>
                    <a:pt x="336" y="416"/>
                  </a:cubicBezTo>
                  <a:cubicBezTo>
                    <a:pt x="337" y="419"/>
                    <a:pt x="338" y="424"/>
                    <a:pt x="339" y="428"/>
                  </a:cubicBezTo>
                  <a:cubicBezTo>
                    <a:pt x="353" y="428"/>
                    <a:pt x="353" y="428"/>
                    <a:pt x="353" y="428"/>
                  </a:cubicBezTo>
                  <a:cubicBezTo>
                    <a:pt x="367" y="428"/>
                    <a:pt x="367" y="428"/>
                    <a:pt x="367" y="428"/>
                  </a:cubicBezTo>
                  <a:cubicBezTo>
                    <a:pt x="368" y="424"/>
                    <a:pt x="369" y="419"/>
                    <a:pt x="370" y="416"/>
                  </a:cubicBezTo>
                  <a:cubicBezTo>
                    <a:pt x="372" y="380"/>
                    <a:pt x="401" y="352"/>
                    <a:pt x="437" y="352"/>
                  </a:cubicBezTo>
                  <a:cubicBezTo>
                    <a:pt x="466" y="352"/>
                    <a:pt x="491" y="371"/>
                    <a:pt x="500" y="398"/>
                  </a:cubicBezTo>
                  <a:cubicBezTo>
                    <a:pt x="548" y="366"/>
                    <a:pt x="548" y="366"/>
                    <a:pt x="548" y="366"/>
                  </a:cubicBezTo>
                  <a:cubicBezTo>
                    <a:pt x="1445" y="366"/>
                    <a:pt x="1445" y="366"/>
                    <a:pt x="1445" y="366"/>
                  </a:cubicBezTo>
                  <a:cubicBezTo>
                    <a:pt x="1493" y="398"/>
                    <a:pt x="1493" y="398"/>
                    <a:pt x="1493" y="398"/>
                  </a:cubicBezTo>
                  <a:cubicBezTo>
                    <a:pt x="1503" y="371"/>
                    <a:pt x="1527" y="352"/>
                    <a:pt x="1557" y="352"/>
                  </a:cubicBezTo>
                  <a:cubicBezTo>
                    <a:pt x="1592" y="352"/>
                    <a:pt x="1621" y="380"/>
                    <a:pt x="1623" y="416"/>
                  </a:cubicBezTo>
                  <a:cubicBezTo>
                    <a:pt x="1625" y="419"/>
                    <a:pt x="1626" y="424"/>
                    <a:pt x="1627" y="428"/>
                  </a:cubicBezTo>
                  <a:cubicBezTo>
                    <a:pt x="1641" y="428"/>
                    <a:pt x="1641" y="428"/>
                    <a:pt x="1641" y="428"/>
                  </a:cubicBezTo>
                  <a:cubicBezTo>
                    <a:pt x="1655" y="428"/>
                    <a:pt x="1655" y="428"/>
                    <a:pt x="1655" y="428"/>
                  </a:cubicBezTo>
                  <a:cubicBezTo>
                    <a:pt x="1655" y="424"/>
                    <a:pt x="1656" y="419"/>
                    <a:pt x="1658" y="416"/>
                  </a:cubicBezTo>
                  <a:cubicBezTo>
                    <a:pt x="1660" y="380"/>
                    <a:pt x="1689" y="352"/>
                    <a:pt x="1725" y="352"/>
                  </a:cubicBezTo>
                  <a:cubicBezTo>
                    <a:pt x="1754" y="352"/>
                    <a:pt x="1779" y="371"/>
                    <a:pt x="1788" y="398"/>
                  </a:cubicBezTo>
                  <a:cubicBezTo>
                    <a:pt x="1836" y="366"/>
                    <a:pt x="1836" y="366"/>
                    <a:pt x="1836" y="366"/>
                  </a:cubicBezTo>
                  <a:cubicBezTo>
                    <a:pt x="1922" y="366"/>
                    <a:pt x="1922" y="366"/>
                    <a:pt x="1922" y="366"/>
                  </a:cubicBezTo>
                  <a:cubicBezTo>
                    <a:pt x="1922" y="358"/>
                    <a:pt x="1922" y="358"/>
                    <a:pt x="1922" y="358"/>
                  </a:cubicBezTo>
                  <a:cubicBezTo>
                    <a:pt x="1953" y="358"/>
                    <a:pt x="1953" y="358"/>
                    <a:pt x="1953" y="358"/>
                  </a:cubicBezTo>
                  <a:cubicBezTo>
                    <a:pt x="1955" y="358"/>
                    <a:pt x="1958" y="358"/>
                    <a:pt x="1961" y="357"/>
                  </a:cubicBezTo>
                  <a:cubicBezTo>
                    <a:pt x="1964" y="371"/>
                    <a:pt x="1969" y="381"/>
                    <a:pt x="1976" y="381"/>
                  </a:cubicBezTo>
                  <a:cubicBezTo>
                    <a:pt x="1985" y="381"/>
                    <a:pt x="1993" y="360"/>
                    <a:pt x="1993" y="335"/>
                  </a:cubicBezTo>
                  <a:cubicBezTo>
                    <a:pt x="1993" y="310"/>
                    <a:pt x="1985" y="290"/>
                    <a:pt x="1976" y="290"/>
                  </a:cubicBezTo>
                  <a:close/>
                  <a:moveTo>
                    <a:pt x="1557" y="84"/>
                  </a:moveTo>
                  <a:cubicBezTo>
                    <a:pt x="1573" y="84"/>
                    <a:pt x="1573" y="84"/>
                    <a:pt x="1573" y="84"/>
                  </a:cubicBezTo>
                  <a:cubicBezTo>
                    <a:pt x="1573" y="241"/>
                    <a:pt x="1573" y="241"/>
                    <a:pt x="1573" y="241"/>
                  </a:cubicBezTo>
                  <a:cubicBezTo>
                    <a:pt x="1709" y="241"/>
                    <a:pt x="1709" y="241"/>
                    <a:pt x="1709" y="241"/>
                  </a:cubicBezTo>
                  <a:cubicBezTo>
                    <a:pt x="1709" y="84"/>
                    <a:pt x="1709" y="84"/>
                    <a:pt x="1709" y="84"/>
                  </a:cubicBezTo>
                  <a:cubicBezTo>
                    <a:pt x="1725" y="84"/>
                    <a:pt x="1725" y="84"/>
                    <a:pt x="1725" y="84"/>
                  </a:cubicBezTo>
                  <a:cubicBezTo>
                    <a:pt x="1725" y="277"/>
                    <a:pt x="1725" y="277"/>
                    <a:pt x="1725" y="277"/>
                  </a:cubicBezTo>
                  <a:cubicBezTo>
                    <a:pt x="1557" y="277"/>
                    <a:pt x="1557" y="277"/>
                    <a:pt x="1557" y="277"/>
                  </a:cubicBezTo>
                  <a:lnTo>
                    <a:pt x="1557" y="84"/>
                  </a:lnTo>
                  <a:close/>
                  <a:moveTo>
                    <a:pt x="269" y="84"/>
                  </a:moveTo>
                  <a:cubicBezTo>
                    <a:pt x="285" y="84"/>
                    <a:pt x="285" y="84"/>
                    <a:pt x="285" y="84"/>
                  </a:cubicBezTo>
                  <a:cubicBezTo>
                    <a:pt x="285" y="241"/>
                    <a:pt x="285" y="241"/>
                    <a:pt x="285" y="241"/>
                  </a:cubicBezTo>
                  <a:cubicBezTo>
                    <a:pt x="421" y="241"/>
                    <a:pt x="421" y="241"/>
                    <a:pt x="421" y="241"/>
                  </a:cubicBezTo>
                  <a:cubicBezTo>
                    <a:pt x="421" y="84"/>
                    <a:pt x="421" y="84"/>
                    <a:pt x="421" y="84"/>
                  </a:cubicBezTo>
                  <a:cubicBezTo>
                    <a:pt x="437" y="84"/>
                    <a:pt x="437" y="84"/>
                    <a:pt x="437" y="84"/>
                  </a:cubicBezTo>
                  <a:cubicBezTo>
                    <a:pt x="437" y="277"/>
                    <a:pt x="437" y="277"/>
                    <a:pt x="437" y="277"/>
                  </a:cubicBezTo>
                  <a:cubicBezTo>
                    <a:pt x="269" y="277"/>
                    <a:pt x="269" y="277"/>
                    <a:pt x="269" y="277"/>
                  </a:cubicBezTo>
                  <a:lnTo>
                    <a:pt x="269" y="84"/>
                  </a:lnTo>
                  <a:close/>
                  <a:moveTo>
                    <a:pt x="232" y="324"/>
                  </a:moveTo>
                  <a:cubicBezTo>
                    <a:pt x="232" y="312"/>
                    <a:pt x="232" y="312"/>
                    <a:pt x="232" y="312"/>
                  </a:cubicBezTo>
                  <a:cubicBezTo>
                    <a:pt x="232" y="31"/>
                    <a:pt x="232" y="31"/>
                    <a:pt x="232" y="31"/>
                  </a:cubicBezTo>
                  <a:cubicBezTo>
                    <a:pt x="247" y="31"/>
                    <a:pt x="247" y="31"/>
                    <a:pt x="247" y="31"/>
                  </a:cubicBezTo>
                  <a:cubicBezTo>
                    <a:pt x="247" y="312"/>
                    <a:pt x="247" y="312"/>
                    <a:pt x="247" y="312"/>
                  </a:cubicBezTo>
                  <a:cubicBezTo>
                    <a:pt x="448" y="312"/>
                    <a:pt x="448" y="312"/>
                    <a:pt x="448" y="312"/>
                  </a:cubicBezTo>
                  <a:cubicBezTo>
                    <a:pt x="448" y="31"/>
                    <a:pt x="448" y="31"/>
                    <a:pt x="448" y="31"/>
                  </a:cubicBezTo>
                  <a:cubicBezTo>
                    <a:pt x="463" y="31"/>
                    <a:pt x="463" y="31"/>
                    <a:pt x="463" y="31"/>
                  </a:cubicBezTo>
                  <a:cubicBezTo>
                    <a:pt x="463" y="312"/>
                    <a:pt x="463" y="312"/>
                    <a:pt x="463" y="312"/>
                  </a:cubicBezTo>
                  <a:cubicBezTo>
                    <a:pt x="665" y="312"/>
                    <a:pt x="665" y="312"/>
                    <a:pt x="665" y="312"/>
                  </a:cubicBezTo>
                  <a:cubicBezTo>
                    <a:pt x="665" y="31"/>
                    <a:pt x="665" y="31"/>
                    <a:pt x="665" y="31"/>
                  </a:cubicBezTo>
                  <a:cubicBezTo>
                    <a:pt x="680" y="31"/>
                    <a:pt x="680" y="31"/>
                    <a:pt x="680" y="31"/>
                  </a:cubicBezTo>
                  <a:cubicBezTo>
                    <a:pt x="680" y="312"/>
                    <a:pt x="680" y="312"/>
                    <a:pt x="680" y="312"/>
                  </a:cubicBezTo>
                  <a:cubicBezTo>
                    <a:pt x="881" y="312"/>
                    <a:pt x="881" y="312"/>
                    <a:pt x="881" y="312"/>
                  </a:cubicBezTo>
                  <a:cubicBezTo>
                    <a:pt x="881" y="31"/>
                    <a:pt x="881" y="31"/>
                    <a:pt x="881" y="31"/>
                  </a:cubicBezTo>
                  <a:cubicBezTo>
                    <a:pt x="896" y="31"/>
                    <a:pt x="896" y="31"/>
                    <a:pt x="896" y="31"/>
                  </a:cubicBezTo>
                  <a:cubicBezTo>
                    <a:pt x="896" y="312"/>
                    <a:pt x="896" y="312"/>
                    <a:pt x="896" y="312"/>
                  </a:cubicBezTo>
                  <a:cubicBezTo>
                    <a:pt x="1098" y="312"/>
                    <a:pt x="1098" y="312"/>
                    <a:pt x="1098" y="312"/>
                  </a:cubicBezTo>
                  <a:cubicBezTo>
                    <a:pt x="1098" y="31"/>
                    <a:pt x="1098" y="31"/>
                    <a:pt x="1098" y="31"/>
                  </a:cubicBezTo>
                  <a:cubicBezTo>
                    <a:pt x="1112" y="31"/>
                    <a:pt x="1112" y="31"/>
                    <a:pt x="1112" y="31"/>
                  </a:cubicBezTo>
                  <a:cubicBezTo>
                    <a:pt x="1112" y="312"/>
                    <a:pt x="1112" y="312"/>
                    <a:pt x="1112" y="312"/>
                  </a:cubicBezTo>
                  <a:cubicBezTo>
                    <a:pt x="1314" y="312"/>
                    <a:pt x="1314" y="312"/>
                    <a:pt x="1314" y="312"/>
                  </a:cubicBezTo>
                  <a:cubicBezTo>
                    <a:pt x="1314" y="31"/>
                    <a:pt x="1314" y="31"/>
                    <a:pt x="1314" y="31"/>
                  </a:cubicBezTo>
                  <a:cubicBezTo>
                    <a:pt x="1329" y="31"/>
                    <a:pt x="1329" y="31"/>
                    <a:pt x="1329" y="31"/>
                  </a:cubicBezTo>
                  <a:cubicBezTo>
                    <a:pt x="1329" y="312"/>
                    <a:pt x="1329" y="312"/>
                    <a:pt x="1329" y="312"/>
                  </a:cubicBezTo>
                  <a:cubicBezTo>
                    <a:pt x="1530" y="312"/>
                    <a:pt x="1530" y="312"/>
                    <a:pt x="1530" y="312"/>
                  </a:cubicBezTo>
                  <a:cubicBezTo>
                    <a:pt x="1530" y="31"/>
                    <a:pt x="1530" y="31"/>
                    <a:pt x="1530" y="31"/>
                  </a:cubicBezTo>
                  <a:cubicBezTo>
                    <a:pt x="1545" y="31"/>
                    <a:pt x="1545" y="31"/>
                    <a:pt x="1545" y="31"/>
                  </a:cubicBezTo>
                  <a:cubicBezTo>
                    <a:pt x="1545" y="312"/>
                    <a:pt x="1545" y="312"/>
                    <a:pt x="1545" y="312"/>
                  </a:cubicBezTo>
                  <a:cubicBezTo>
                    <a:pt x="1747" y="312"/>
                    <a:pt x="1747" y="312"/>
                    <a:pt x="1747" y="312"/>
                  </a:cubicBezTo>
                  <a:cubicBezTo>
                    <a:pt x="1747" y="31"/>
                    <a:pt x="1747" y="31"/>
                    <a:pt x="1747" y="31"/>
                  </a:cubicBezTo>
                  <a:cubicBezTo>
                    <a:pt x="1761" y="31"/>
                    <a:pt x="1761" y="31"/>
                    <a:pt x="1761" y="31"/>
                  </a:cubicBezTo>
                  <a:cubicBezTo>
                    <a:pt x="1761" y="312"/>
                    <a:pt x="1761" y="312"/>
                    <a:pt x="1761" y="312"/>
                  </a:cubicBezTo>
                  <a:cubicBezTo>
                    <a:pt x="1762" y="324"/>
                    <a:pt x="1762" y="324"/>
                    <a:pt x="1762" y="324"/>
                  </a:cubicBezTo>
                  <a:lnTo>
                    <a:pt x="232" y="3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7" name="Freeform 142"/>
            <p:cNvSpPr>
              <a:spLocks noEditPoints="1"/>
            </p:cNvSpPr>
            <p:nvPr userDrawn="1"/>
          </p:nvSpPr>
          <p:spPr bwMode="auto">
            <a:xfrm>
              <a:off x="2938" y="1105"/>
              <a:ext cx="14" cy="15"/>
            </a:xfrm>
            <a:custGeom>
              <a:avLst/>
              <a:gdLst>
                <a:gd name="T0" fmla="*/ 47 w 94"/>
                <a:gd name="T1" fmla="*/ 0 h 93"/>
                <a:gd name="T2" fmla="*/ 0 w 94"/>
                <a:gd name="T3" fmla="*/ 46 h 93"/>
                <a:gd name="T4" fmla="*/ 47 w 94"/>
                <a:gd name="T5" fmla="*/ 93 h 93"/>
                <a:gd name="T6" fmla="*/ 94 w 94"/>
                <a:gd name="T7" fmla="*/ 46 h 93"/>
                <a:gd name="T8" fmla="*/ 47 w 94"/>
                <a:gd name="T9" fmla="*/ 0 h 93"/>
                <a:gd name="T10" fmla="*/ 47 w 94"/>
                <a:gd name="T11" fmla="*/ 79 h 93"/>
                <a:gd name="T12" fmla="*/ 14 w 94"/>
                <a:gd name="T13" fmla="*/ 46 h 93"/>
                <a:gd name="T14" fmla="*/ 47 w 94"/>
                <a:gd name="T15" fmla="*/ 13 h 93"/>
                <a:gd name="T16" fmla="*/ 80 w 94"/>
                <a:gd name="T17" fmla="*/ 46 h 93"/>
                <a:gd name="T18" fmla="*/ 47 w 94"/>
                <a:gd name="T19" fmla="*/ 79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4" h="93">
                  <a:moveTo>
                    <a:pt x="47" y="0"/>
                  </a:moveTo>
                  <a:cubicBezTo>
                    <a:pt x="21" y="0"/>
                    <a:pt x="0" y="21"/>
                    <a:pt x="0" y="46"/>
                  </a:cubicBezTo>
                  <a:cubicBezTo>
                    <a:pt x="0" y="72"/>
                    <a:pt x="21" y="93"/>
                    <a:pt x="47" y="93"/>
                  </a:cubicBezTo>
                  <a:cubicBezTo>
                    <a:pt x="73" y="93"/>
                    <a:pt x="94" y="72"/>
                    <a:pt x="94" y="46"/>
                  </a:cubicBezTo>
                  <a:cubicBezTo>
                    <a:pt x="94" y="21"/>
                    <a:pt x="73" y="0"/>
                    <a:pt x="47" y="0"/>
                  </a:cubicBezTo>
                  <a:close/>
                  <a:moveTo>
                    <a:pt x="47" y="79"/>
                  </a:moveTo>
                  <a:cubicBezTo>
                    <a:pt x="29" y="79"/>
                    <a:pt x="14" y="65"/>
                    <a:pt x="14" y="46"/>
                  </a:cubicBezTo>
                  <a:cubicBezTo>
                    <a:pt x="14" y="28"/>
                    <a:pt x="29" y="13"/>
                    <a:pt x="47" y="13"/>
                  </a:cubicBezTo>
                  <a:cubicBezTo>
                    <a:pt x="65" y="13"/>
                    <a:pt x="80" y="28"/>
                    <a:pt x="80" y="46"/>
                  </a:cubicBezTo>
                  <a:cubicBezTo>
                    <a:pt x="80" y="65"/>
                    <a:pt x="65" y="79"/>
                    <a:pt x="47" y="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8" name="Oval 143"/>
            <p:cNvSpPr>
              <a:spLocks noChangeArrowheads="1"/>
            </p:cNvSpPr>
            <p:nvPr userDrawn="1"/>
          </p:nvSpPr>
          <p:spPr bwMode="auto">
            <a:xfrm>
              <a:off x="2941" y="1109"/>
              <a:ext cx="8" cy="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9" name="Freeform 144"/>
            <p:cNvSpPr>
              <a:spLocks noEditPoints="1"/>
            </p:cNvSpPr>
            <p:nvPr userDrawn="1"/>
          </p:nvSpPr>
          <p:spPr bwMode="auto">
            <a:xfrm>
              <a:off x="2921" y="1105"/>
              <a:ext cx="14" cy="15"/>
            </a:xfrm>
            <a:custGeom>
              <a:avLst/>
              <a:gdLst>
                <a:gd name="T0" fmla="*/ 47 w 94"/>
                <a:gd name="T1" fmla="*/ 0 h 93"/>
                <a:gd name="T2" fmla="*/ 0 w 94"/>
                <a:gd name="T3" fmla="*/ 46 h 93"/>
                <a:gd name="T4" fmla="*/ 47 w 94"/>
                <a:gd name="T5" fmla="*/ 93 h 93"/>
                <a:gd name="T6" fmla="*/ 94 w 94"/>
                <a:gd name="T7" fmla="*/ 46 h 93"/>
                <a:gd name="T8" fmla="*/ 47 w 94"/>
                <a:gd name="T9" fmla="*/ 0 h 93"/>
                <a:gd name="T10" fmla="*/ 47 w 94"/>
                <a:gd name="T11" fmla="*/ 79 h 93"/>
                <a:gd name="T12" fmla="*/ 14 w 94"/>
                <a:gd name="T13" fmla="*/ 46 h 93"/>
                <a:gd name="T14" fmla="*/ 47 w 94"/>
                <a:gd name="T15" fmla="*/ 13 h 93"/>
                <a:gd name="T16" fmla="*/ 80 w 94"/>
                <a:gd name="T17" fmla="*/ 46 h 93"/>
                <a:gd name="T18" fmla="*/ 47 w 94"/>
                <a:gd name="T19" fmla="*/ 79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4" h="93">
                  <a:moveTo>
                    <a:pt x="47" y="0"/>
                  </a:moveTo>
                  <a:cubicBezTo>
                    <a:pt x="21" y="0"/>
                    <a:pt x="0" y="21"/>
                    <a:pt x="0" y="46"/>
                  </a:cubicBezTo>
                  <a:cubicBezTo>
                    <a:pt x="0" y="72"/>
                    <a:pt x="21" y="93"/>
                    <a:pt x="47" y="93"/>
                  </a:cubicBezTo>
                  <a:cubicBezTo>
                    <a:pt x="73" y="93"/>
                    <a:pt x="94" y="72"/>
                    <a:pt x="94" y="46"/>
                  </a:cubicBezTo>
                  <a:cubicBezTo>
                    <a:pt x="94" y="21"/>
                    <a:pt x="73" y="0"/>
                    <a:pt x="47" y="0"/>
                  </a:cubicBezTo>
                  <a:close/>
                  <a:moveTo>
                    <a:pt x="47" y="79"/>
                  </a:moveTo>
                  <a:cubicBezTo>
                    <a:pt x="29" y="79"/>
                    <a:pt x="14" y="65"/>
                    <a:pt x="14" y="46"/>
                  </a:cubicBezTo>
                  <a:cubicBezTo>
                    <a:pt x="14" y="28"/>
                    <a:pt x="29" y="13"/>
                    <a:pt x="47" y="13"/>
                  </a:cubicBezTo>
                  <a:cubicBezTo>
                    <a:pt x="65" y="13"/>
                    <a:pt x="80" y="28"/>
                    <a:pt x="80" y="46"/>
                  </a:cubicBezTo>
                  <a:cubicBezTo>
                    <a:pt x="80" y="65"/>
                    <a:pt x="65" y="79"/>
                    <a:pt x="47" y="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0" name="Oval 145"/>
            <p:cNvSpPr>
              <a:spLocks noChangeArrowheads="1"/>
            </p:cNvSpPr>
            <p:nvPr userDrawn="1"/>
          </p:nvSpPr>
          <p:spPr bwMode="auto">
            <a:xfrm>
              <a:off x="2924" y="1109"/>
              <a:ext cx="8" cy="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1" name="Freeform 146"/>
            <p:cNvSpPr>
              <a:spLocks noEditPoints="1"/>
            </p:cNvSpPr>
            <p:nvPr userDrawn="1"/>
          </p:nvSpPr>
          <p:spPr bwMode="auto">
            <a:xfrm>
              <a:off x="2904" y="1105"/>
              <a:ext cx="14" cy="15"/>
            </a:xfrm>
            <a:custGeom>
              <a:avLst/>
              <a:gdLst>
                <a:gd name="T0" fmla="*/ 46 w 93"/>
                <a:gd name="T1" fmla="*/ 0 h 93"/>
                <a:gd name="T2" fmla="*/ 0 w 93"/>
                <a:gd name="T3" fmla="*/ 46 h 93"/>
                <a:gd name="T4" fmla="*/ 46 w 93"/>
                <a:gd name="T5" fmla="*/ 93 h 93"/>
                <a:gd name="T6" fmla="*/ 93 w 93"/>
                <a:gd name="T7" fmla="*/ 46 h 93"/>
                <a:gd name="T8" fmla="*/ 46 w 93"/>
                <a:gd name="T9" fmla="*/ 0 h 93"/>
                <a:gd name="T10" fmla="*/ 46 w 93"/>
                <a:gd name="T11" fmla="*/ 79 h 93"/>
                <a:gd name="T12" fmla="*/ 13 w 93"/>
                <a:gd name="T13" fmla="*/ 46 h 93"/>
                <a:gd name="T14" fmla="*/ 46 w 93"/>
                <a:gd name="T15" fmla="*/ 13 h 93"/>
                <a:gd name="T16" fmla="*/ 80 w 93"/>
                <a:gd name="T17" fmla="*/ 46 h 93"/>
                <a:gd name="T18" fmla="*/ 46 w 93"/>
                <a:gd name="T19" fmla="*/ 79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3" h="93">
                  <a:moveTo>
                    <a:pt x="46" y="0"/>
                  </a:moveTo>
                  <a:cubicBezTo>
                    <a:pt x="21" y="0"/>
                    <a:pt x="0" y="21"/>
                    <a:pt x="0" y="46"/>
                  </a:cubicBezTo>
                  <a:cubicBezTo>
                    <a:pt x="0" y="72"/>
                    <a:pt x="21" y="93"/>
                    <a:pt x="46" y="93"/>
                  </a:cubicBezTo>
                  <a:cubicBezTo>
                    <a:pt x="72" y="93"/>
                    <a:pt x="93" y="72"/>
                    <a:pt x="93" y="46"/>
                  </a:cubicBezTo>
                  <a:cubicBezTo>
                    <a:pt x="93" y="21"/>
                    <a:pt x="72" y="0"/>
                    <a:pt x="46" y="0"/>
                  </a:cubicBezTo>
                  <a:close/>
                  <a:moveTo>
                    <a:pt x="46" y="79"/>
                  </a:moveTo>
                  <a:cubicBezTo>
                    <a:pt x="28" y="79"/>
                    <a:pt x="13" y="65"/>
                    <a:pt x="13" y="46"/>
                  </a:cubicBezTo>
                  <a:cubicBezTo>
                    <a:pt x="13" y="28"/>
                    <a:pt x="28" y="13"/>
                    <a:pt x="46" y="13"/>
                  </a:cubicBezTo>
                  <a:cubicBezTo>
                    <a:pt x="65" y="13"/>
                    <a:pt x="80" y="28"/>
                    <a:pt x="80" y="46"/>
                  </a:cubicBezTo>
                  <a:cubicBezTo>
                    <a:pt x="80" y="65"/>
                    <a:pt x="65" y="79"/>
                    <a:pt x="46" y="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2" name="Oval 147"/>
            <p:cNvSpPr>
              <a:spLocks noChangeArrowheads="1"/>
            </p:cNvSpPr>
            <p:nvPr userDrawn="1"/>
          </p:nvSpPr>
          <p:spPr bwMode="auto">
            <a:xfrm>
              <a:off x="2907" y="1109"/>
              <a:ext cx="8" cy="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3" name="Freeform 148"/>
            <p:cNvSpPr>
              <a:spLocks noEditPoints="1"/>
            </p:cNvSpPr>
            <p:nvPr userDrawn="1"/>
          </p:nvSpPr>
          <p:spPr bwMode="auto">
            <a:xfrm>
              <a:off x="2852" y="1105"/>
              <a:ext cx="14" cy="15"/>
            </a:xfrm>
            <a:custGeom>
              <a:avLst/>
              <a:gdLst>
                <a:gd name="T0" fmla="*/ 47 w 94"/>
                <a:gd name="T1" fmla="*/ 0 h 93"/>
                <a:gd name="T2" fmla="*/ 0 w 94"/>
                <a:gd name="T3" fmla="*/ 46 h 93"/>
                <a:gd name="T4" fmla="*/ 47 w 94"/>
                <a:gd name="T5" fmla="*/ 93 h 93"/>
                <a:gd name="T6" fmla="*/ 94 w 94"/>
                <a:gd name="T7" fmla="*/ 46 h 93"/>
                <a:gd name="T8" fmla="*/ 47 w 94"/>
                <a:gd name="T9" fmla="*/ 0 h 93"/>
                <a:gd name="T10" fmla="*/ 47 w 94"/>
                <a:gd name="T11" fmla="*/ 79 h 93"/>
                <a:gd name="T12" fmla="*/ 14 w 94"/>
                <a:gd name="T13" fmla="*/ 46 h 93"/>
                <a:gd name="T14" fmla="*/ 47 w 94"/>
                <a:gd name="T15" fmla="*/ 13 h 93"/>
                <a:gd name="T16" fmla="*/ 80 w 94"/>
                <a:gd name="T17" fmla="*/ 46 h 93"/>
                <a:gd name="T18" fmla="*/ 47 w 94"/>
                <a:gd name="T19" fmla="*/ 79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4" h="93">
                  <a:moveTo>
                    <a:pt x="47" y="0"/>
                  </a:moveTo>
                  <a:cubicBezTo>
                    <a:pt x="21" y="0"/>
                    <a:pt x="0" y="21"/>
                    <a:pt x="0" y="46"/>
                  </a:cubicBezTo>
                  <a:cubicBezTo>
                    <a:pt x="0" y="72"/>
                    <a:pt x="21" y="93"/>
                    <a:pt x="47" y="93"/>
                  </a:cubicBezTo>
                  <a:cubicBezTo>
                    <a:pt x="72" y="93"/>
                    <a:pt x="94" y="72"/>
                    <a:pt x="94" y="46"/>
                  </a:cubicBezTo>
                  <a:cubicBezTo>
                    <a:pt x="94" y="21"/>
                    <a:pt x="72" y="0"/>
                    <a:pt x="47" y="0"/>
                  </a:cubicBezTo>
                  <a:close/>
                  <a:moveTo>
                    <a:pt x="47" y="79"/>
                  </a:moveTo>
                  <a:cubicBezTo>
                    <a:pt x="28" y="79"/>
                    <a:pt x="14" y="65"/>
                    <a:pt x="14" y="46"/>
                  </a:cubicBezTo>
                  <a:cubicBezTo>
                    <a:pt x="14" y="28"/>
                    <a:pt x="28" y="13"/>
                    <a:pt x="47" y="13"/>
                  </a:cubicBezTo>
                  <a:cubicBezTo>
                    <a:pt x="65" y="13"/>
                    <a:pt x="80" y="28"/>
                    <a:pt x="80" y="46"/>
                  </a:cubicBezTo>
                  <a:cubicBezTo>
                    <a:pt x="80" y="65"/>
                    <a:pt x="65" y="79"/>
                    <a:pt x="47" y="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4" name="Oval 149"/>
            <p:cNvSpPr>
              <a:spLocks noChangeArrowheads="1"/>
            </p:cNvSpPr>
            <p:nvPr userDrawn="1"/>
          </p:nvSpPr>
          <p:spPr bwMode="auto">
            <a:xfrm>
              <a:off x="2855" y="1109"/>
              <a:ext cx="8" cy="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5" name="Freeform 150"/>
            <p:cNvSpPr>
              <a:spLocks noEditPoints="1"/>
            </p:cNvSpPr>
            <p:nvPr userDrawn="1"/>
          </p:nvSpPr>
          <p:spPr bwMode="auto">
            <a:xfrm>
              <a:off x="2835" y="1105"/>
              <a:ext cx="14" cy="15"/>
            </a:xfrm>
            <a:custGeom>
              <a:avLst/>
              <a:gdLst>
                <a:gd name="T0" fmla="*/ 47 w 94"/>
                <a:gd name="T1" fmla="*/ 0 h 93"/>
                <a:gd name="T2" fmla="*/ 0 w 94"/>
                <a:gd name="T3" fmla="*/ 46 h 93"/>
                <a:gd name="T4" fmla="*/ 47 w 94"/>
                <a:gd name="T5" fmla="*/ 93 h 93"/>
                <a:gd name="T6" fmla="*/ 94 w 94"/>
                <a:gd name="T7" fmla="*/ 46 h 93"/>
                <a:gd name="T8" fmla="*/ 47 w 94"/>
                <a:gd name="T9" fmla="*/ 0 h 93"/>
                <a:gd name="T10" fmla="*/ 47 w 94"/>
                <a:gd name="T11" fmla="*/ 79 h 93"/>
                <a:gd name="T12" fmla="*/ 14 w 94"/>
                <a:gd name="T13" fmla="*/ 46 h 93"/>
                <a:gd name="T14" fmla="*/ 47 w 94"/>
                <a:gd name="T15" fmla="*/ 13 h 93"/>
                <a:gd name="T16" fmla="*/ 80 w 94"/>
                <a:gd name="T17" fmla="*/ 46 h 93"/>
                <a:gd name="T18" fmla="*/ 47 w 94"/>
                <a:gd name="T19" fmla="*/ 79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4" h="93">
                  <a:moveTo>
                    <a:pt x="47" y="0"/>
                  </a:moveTo>
                  <a:cubicBezTo>
                    <a:pt x="22" y="0"/>
                    <a:pt x="0" y="21"/>
                    <a:pt x="0" y="46"/>
                  </a:cubicBezTo>
                  <a:cubicBezTo>
                    <a:pt x="0" y="72"/>
                    <a:pt x="22" y="93"/>
                    <a:pt x="47" y="93"/>
                  </a:cubicBezTo>
                  <a:cubicBezTo>
                    <a:pt x="73" y="93"/>
                    <a:pt x="94" y="72"/>
                    <a:pt x="94" y="46"/>
                  </a:cubicBezTo>
                  <a:cubicBezTo>
                    <a:pt x="94" y="21"/>
                    <a:pt x="73" y="0"/>
                    <a:pt x="47" y="0"/>
                  </a:cubicBezTo>
                  <a:close/>
                  <a:moveTo>
                    <a:pt x="47" y="79"/>
                  </a:moveTo>
                  <a:cubicBezTo>
                    <a:pt x="29" y="79"/>
                    <a:pt x="14" y="65"/>
                    <a:pt x="14" y="46"/>
                  </a:cubicBezTo>
                  <a:cubicBezTo>
                    <a:pt x="14" y="28"/>
                    <a:pt x="29" y="13"/>
                    <a:pt x="47" y="13"/>
                  </a:cubicBezTo>
                  <a:cubicBezTo>
                    <a:pt x="66" y="13"/>
                    <a:pt x="80" y="28"/>
                    <a:pt x="80" y="46"/>
                  </a:cubicBezTo>
                  <a:cubicBezTo>
                    <a:pt x="80" y="65"/>
                    <a:pt x="66" y="79"/>
                    <a:pt x="47" y="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6" name="Oval 151"/>
            <p:cNvSpPr>
              <a:spLocks noChangeArrowheads="1"/>
            </p:cNvSpPr>
            <p:nvPr userDrawn="1"/>
          </p:nvSpPr>
          <p:spPr bwMode="auto">
            <a:xfrm>
              <a:off x="2838" y="1109"/>
              <a:ext cx="8" cy="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7" name="Freeform 152"/>
            <p:cNvSpPr>
              <a:spLocks noEditPoints="1"/>
            </p:cNvSpPr>
            <p:nvPr userDrawn="1"/>
          </p:nvSpPr>
          <p:spPr bwMode="auto">
            <a:xfrm>
              <a:off x="2818" y="1105"/>
              <a:ext cx="14" cy="15"/>
            </a:xfrm>
            <a:custGeom>
              <a:avLst/>
              <a:gdLst>
                <a:gd name="T0" fmla="*/ 47 w 94"/>
                <a:gd name="T1" fmla="*/ 0 h 93"/>
                <a:gd name="T2" fmla="*/ 0 w 94"/>
                <a:gd name="T3" fmla="*/ 46 h 93"/>
                <a:gd name="T4" fmla="*/ 47 w 94"/>
                <a:gd name="T5" fmla="*/ 93 h 93"/>
                <a:gd name="T6" fmla="*/ 94 w 94"/>
                <a:gd name="T7" fmla="*/ 46 h 93"/>
                <a:gd name="T8" fmla="*/ 47 w 94"/>
                <a:gd name="T9" fmla="*/ 0 h 93"/>
                <a:gd name="T10" fmla="*/ 47 w 94"/>
                <a:gd name="T11" fmla="*/ 79 h 93"/>
                <a:gd name="T12" fmla="*/ 14 w 94"/>
                <a:gd name="T13" fmla="*/ 46 h 93"/>
                <a:gd name="T14" fmla="*/ 47 w 94"/>
                <a:gd name="T15" fmla="*/ 13 h 93"/>
                <a:gd name="T16" fmla="*/ 80 w 94"/>
                <a:gd name="T17" fmla="*/ 46 h 93"/>
                <a:gd name="T18" fmla="*/ 47 w 94"/>
                <a:gd name="T19" fmla="*/ 79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4" h="93">
                  <a:moveTo>
                    <a:pt x="47" y="0"/>
                  </a:moveTo>
                  <a:cubicBezTo>
                    <a:pt x="21" y="0"/>
                    <a:pt x="0" y="21"/>
                    <a:pt x="0" y="46"/>
                  </a:cubicBezTo>
                  <a:cubicBezTo>
                    <a:pt x="0" y="72"/>
                    <a:pt x="21" y="93"/>
                    <a:pt x="47" y="93"/>
                  </a:cubicBezTo>
                  <a:cubicBezTo>
                    <a:pt x="73" y="93"/>
                    <a:pt x="94" y="72"/>
                    <a:pt x="94" y="46"/>
                  </a:cubicBezTo>
                  <a:cubicBezTo>
                    <a:pt x="94" y="21"/>
                    <a:pt x="73" y="0"/>
                    <a:pt x="47" y="0"/>
                  </a:cubicBezTo>
                  <a:close/>
                  <a:moveTo>
                    <a:pt x="47" y="79"/>
                  </a:moveTo>
                  <a:cubicBezTo>
                    <a:pt x="29" y="79"/>
                    <a:pt x="14" y="65"/>
                    <a:pt x="14" y="46"/>
                  </a:cubicBezTo>
                  <a:cubicBezTo>
                    <a:pt x="14" y="28"/>
                    <a:pt x="29" y="13"/>
                    <a:pt x="47" y="13"/>
                  </a:cubicBezTo>
                  <a:cubicBezTo>
                    <a:pt x="65" y="13"/>
                    <a:pt x="80" y="28"/>
                    <a:pt x="80" y="46"/>
                  </a:cubicBezTo>
                  <a:cubicBezTo>
                    <a:pt x="80" y="65"/>
                    <a:pt x="65" y="79"/>
                    <a:pt x="47" y="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8" name="Oval 153"/>
            <p:cNvSpPr>
              <a:spLocks noChangeArrowheads="1"/>
            </p:cNvSpPr>
            <p:nvPr userDrawn="1"/>
          </p:nvSpPr>
          <p:spPr bwMode="auto">
            <a:xfrm>
              <a:off x="2821" y="1109"/>
              <a:ext cx="8" cy="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9" name="Freeform 154"/>
            <p:cNvSpPr>
              <a:spLocks/>
            </p:cNvSpPr>
            <p:nvPr userDrawn="1"/>
          </p:nvSpPr>
          <p:spPr bwMode="auto">
            <a:xfrm>
              <a:off x="2787" y="1092"/>
              <a:ext cx="194" cy="21"/>
            </a:xfrm>
            <a:custGeom>
              <a:avLst/>
              <a:gdLst>
                <a:gd name="T0" fmla="*/ 1249 w 1258"/>
                <a:gd name="T1" fmla="*/ 15 h 135"/>
                <a:gd name="T2" fmla="*/ 1207 w 1258"/>
                <a:gd name="T3" fmla="*/ 15 h 135"/>
                <a:gd name="T4" fmla="*/ 1198 w 1258"/>
                <a:gd name="T5" fmla="*/ 23 h 135"/>
                <a:gd name="T6" fmla="*/ 1128 w 1258"/>
                <a:gd name="T7" fmla="*/ 23 h 135"/>
                <a:gd name="T8" fmla="*/ 1137 w 1258"/>
                <a:gd name="T9" fmla="*/ 10 h 135"/>
                <a:gd name="T10" fmla="*/ 927 w 1258"/>
                <a:gd name="T11" fmla="*/ 10 h 135"/>
                <a:gd name="T12" fmla="*/ 927 w 1258"/>
                <a:gd name="T13" fmla="*/ 0 h 135"/>
                <a:gd name="T14" fmla="*/ 682 w 1258"/>
                <a:gd name="T15" fmla="*/ 0 h 135"/>
                <a:gd name="T16" fmla="*/ 682 w 1258"/>
                <a:gd name="T17" fmla="*/ 10 h 135"/>
                <a:gd name="T18" fmla="*/ 591 w 1258"/>
                <a:gd name="T19" fmla="*/ 10 h 135"/>
                <a:gd name="T20" fmla="*/ 591 w 1258"/>
                <a:gd name="T21" fmla="*/ 0 h 135"/>
                <a:gd name="T22" fmla="*/ 346 w 1258"/>
                <a:gd name="T23" fmla="*/ 0 h 135"/>
                <a:gd name="T24" fmla="*/ 346 w 1258"/>
                <a:gd name="T25" fmla="*/ 10 h 135"/>
                <a:gd name="T26" fmla="*/ 122 w 1258"/>
                <a:gd name="T27" fmla="*/ 10 h 135"/>
                <a:gd name="T28" fmla="*/ 131 w 1258"/>
                <a:gd name="T29" fmla="*/ 23 h 135"/>
                <a:gd name="T30" fmla="*/ 60 w 1258"/>
                <a:gd name="T31" fmla="*/ 23 h 135"/>
                <a:gd name="T32" fmla="*/ 51 w 1258"/>
                <a:gd name="T33" fmla="*/ 15 h 135"/>
                <a:gd name="T34" fmla="*/ 9 w 1258"/>
                <a:gd name="T35" fmla="*/ 15 h 135"/>
                <a:gd name="T36" fmla="*/ 0 w 1258"/>
                <a:gd name="T37" fmla="*/ 24 h 135"/>
                <a:gd name="T38" fmla="*/ 0 w 1258"/>
                <a:gd name="T39" fmla="*/ 80 h 135"/>
                <a:gd name="T40" fmla="*/ 9 w 1258"/>
                <a:gd name="T41" fmla="*/ 89 h 135"/>
                <a:gd name="T42" fmla="*/ 51 w 1258"/>
                <a:gd name="T43" fmla="*/ 89 h 135"/>
                <a:gd name="T44" fmla="*/ 60 w 1258"/>
                <a:gd name="T45" fmla="*/ 80 h 135"/>
                <a:gd name="T46" fmla="*/ 144 w 1258"/>
                <a:gd name="T47" fmla="*/ 80 h 135"/>
                <a:gd name="T48" fmla="*/ 175 w 1258"/>
                <a:gd name="T49" fmla="*/ 135 h 135"/>
                <a:gd name="T50" fmla="*/ 177 w 1258"/>
                <a:gd name="T51" fmla="*/ 135 h 135"/>
                <a:gd name="T52" fmla="*/ 177 w 1258"/>
                <a:gd name="T53" fmla="*/ 135 h 135"/>
                <a:gd name="T54" fmla="*/ 246 w 1258"/>
                <a:gd name="T55" fmla="*/ 66 h 135"/>
                <a:gd name="T56" fmla="*/ 301 w 1258"/>
                <a:gd name="T57" fmla="*/ 93 h 135"/>
                <a:gd name="T58" fmla="*/ 355 w 1258"/>
                <a:gd name="T59" fmla="*/ 66 h 135"/>
                <a:gd name="T60" fmla="*/ 410 w 1258"/>
                <a:gd name="T61" fmla="*/ 93 h 135"/>
                <a:gd name="T62" fmla="*/ 465 w 1258"/>
                <a:gd name="T63" fmla="*/ 66 h 135"/>
                <a:gd name="T64" fmla="*/ 534 w 1258"/>
                <a:gd name="T65" fmla="*/ 135 h 135"/>
                <a:gd name="T66" fmla="*/ 534 w 1258"/>
                <a:gd name="T67" fmla="*/ 135 h 135"/>
                <a:gd name="T68" fmla="*/ 735 w 1258"/>
                <a:gd name="T69" fmla="*/ 135 h 135"/>
                <a:gd name="T70" fmla="*/ 735 w 1258"/>
                <a:gd name="T71" fmla="*/ 135 h 135"/>
                <a:gd name="T72" fmla="*/ 804 w 1258"/>
                <a:gd name="T73" fmla="*/ 66 h 135"/>
                <a:gd name="T74" fmla="*/ 859 w 1258"/>
                <a:gd name="T75" fmla="*/ 93 h 135"/>
                <a:gd name="T76" fmla="*/ 914 w 1258"/>
                <a:gd name="T77" fmla="*/ 66 h 135"/>
                <a:gd name="T78" fmla="*/ 968 w 1258"/>
                <a:gd name="T79" fmla="*/ 93 h 135"/>
                <a:gd name="T80" fmla="*/ 1023 w 1258"/>
                <a:gd name="T81" fmla="*/ 66 h 135"/>
                <a:gd name="T82" fmla="*/ 1092 w 1258"/>
                <a:gd name="T83" fmla="*/ 129 h 135"/>
                <a:gd name="T84" fmla="*/ 1114 w 1258"/>
                <a:gd name="T85" fmla="*/ 80 h 135"/>
                <a:gd name="T86" fmla="*/ 1198 w 1258"/>
                <a:gd name="T87" fmla="*/ 80 h 135"/>
                <a:gd name="T88" fmla="*/ 1207 w 1258"/>
                <a:gd name="T89" fmla="*/ 89 h 135"/>
                <a:gd name="T90" fmla="*/ 1249 w 1258"/>
                <a:gd name="T91" fmla="*/ 89 h 135"/>
                <a:gd name="T92" fmla="*/ 1258 w 1258"/>
                <a:gd name="T93" fmla="*/ 80 h 135"/>
                <a:gd name="T94" fmla="*/ 1258 w 1258"/>
                <a:gd name="T95" fmla="*/ 24 h 135"/>
                <a:gd name="T96" fmla="*/ 1249 w 1258"/>
                <a:gd name="T97" fmla="*/ 15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258" h="135">
                  <a:moveTo>
                    <a:pt x="1249" y="15"/>
                  </a:moveTo>
                  <a:cubicBezTo>
                    <a:pt x="1207" y="15"/>
                    <a:pt x="1207" y="15"/>
                    <a:pt x="1207" y="15"/>
                  </a:cubicBezTo>
                  <a:cubicBezTo>
                    <a:pt x="1202" y="15"/>
                    <a:pt x="1199" y="19"/>
                    <a:pt x="1198" y="23"/>
                  </a:cubicBezTo>
                  <a:cubicBezTo>
                    <a:pt x="1128" y="23"/>
                    <a:pt x="1128" y="23"/>
                    <a:pt x="1128" y="23"/>
                  </a:cubicBezTo>
                  <a:cubicBezTo>
                    <a:pt x="1131" y="19"/>
                    <a:pt x="1134" y="15"/>
                    <a:pt x="1137" y="10"/>
                  </a:cubicBezTo>
                  <a:cubicBezTo>
                    <a:pt x="927" y="10"/>
                    <a:pt x="927" y="10"/>
                    <a:pt x="927" y="10"/>
                  </a:cubicBezTo>
                  <a:cubicBezTo>
                    <a:pt x="927" y="0"/>
                    <a:pt x="927" y="0"/>
                    <a:pt x="927" y="0"/>
                  </a:cubicBezTo>
                  <a:cubicBezTo>
                    <a:pt x="682" y="0"/>
                    <a:pt x="682" y="0"/>
                    <a:pt x="682" y="0"/>
                  </a:cubicBezTo>
                  <a:cubicBezTo>
                    <a:pt x="682" y="10"/>
                    <a:pt x="682" y="10"/>
                    <a:pt x="682" y="10"/>
                  </a:cubicBezTo>
                  <a:cubicBezTo>
                    <a:pt x="591" y="10"/>
                    <a:pt x="591" y="10"/>
                    <a:pt x="591" y="10"/>
                  </a:cubicBezTo>
                  <a:cubicBezTo>
                    <a:pt x="591" y="0"/>
                    <a:pt x="591" y="0"/>
                    <a:pt x="591" y="0"/>
                  </a:cubicBezTo>
                  <a:cubicBezTo>
                    <a:pt x="346" y="0"/>
                    <a:pt x="346" y="0"/>
                    <a:pt x="346" y="0"/>
                  </a:cubicBezTo>
                  <a:cubicBezTo>
                    <a:pt x="346" y="10"/>
                    <a:pt x="346" y="10"/>
                    <a:pt x="346" y="10"/>
                  </a:cubicBezTo>
                  <a:cubicBezTo>
                    <a:pt x="122" y="10"/>
                    <a:pt x="122" y="10"/>
                    <a:pt x="122" y="10"/>
                  </a:cubicBezTo>
                  <a:cubicBezTo>
                    <a:pt x="124" y="15"/>
                    <a:pt x="127" y="19"/>
                    <a:pt x="131" y="23"/>
                  </a:cubicBezTo>
                  <a:cubicBezTo>
                    <a:pt x="60" y="23"/>
                    <a:pt x="60" y="23"/>
                    <a:pt x="60" y="23"/>
                  </a:cubicBezTo>
                  <a:cubicBezTo>
                    <a:pt x="60" y="19"/>
                    <a:pt x="56" y="15"/>
                    <a:pt x="5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4" y="15"/>
                    <a:pt x="0" y="19"/>
                    <a:pt x="0" y="24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0" y="85"/>
                    <a:pt x="4" y="89"/>
                    <a:pt x="9" y="89"/>
                  </a:cubicBezTo>
                  <a:cubicBezTo>
                    <a:pt x="51" y="89"/>
                    <a:pt x="51" y="89"/>
                    <a:pt x="51" y="89"/>
                  </a:cubicBezTo>
                  <a:cubicBezTo>
                    <a:pt x="56" y="89"/>
                    <a:pt x="60" y="85"/>
                    <a:pt x="60" y="80"/>
                  </a:cubicBezTo>
                  <a:cubicBezTo>
                    <a:pt x="144" y="80"/>
                    <a:pt x="144" y="80"/>
                    <a:pt x="144" y="80"/>
                  </a:cubicBezTo>
                  <a:cubicBezTo>
                    <a:pt x="144" y="104"/>
                    <a:pt x="157" y="124"/>
                    <a:pt x="175" y="135"/>
                  </a:cubicBezTo>
                  <a:cubicBezTo>
                    <a:pt x="177" y="135"/>
                    <a:pt x="177" y="135"/>
                    <a:pt x="177" y="135"/>
                  </a:cubicBezTo>
                  <a:cubicBezTo>
                    <a:pt x="177" y="135"/>
                    <a:pt x="177" y="135"/>
                    <a:pt x="177" y="135"/>
                  </a:cubicBezTo>
                  <a:cubicBezTo>
                    <a:pt x="177" y="97"/>
                    <a:pt x="208" y="66"/>
                    <a:pt x="246" y="66"/>
                  </a:cubicBezTo>
                  <a:cubicBezTo>
                    <a:pt x="268" y="66"/>
                    <a:pt x="288" y="77"/>
                    <a:pt x="301" y="93"/>
                  </a:cubicBezTo>
                  <a:cubicBezTo>
                    <a:pt x="313" y="77"/>
                    <a:pt x="333" y="66"/>
                    <a:pt x="355" y="66"/>
                  </a:cubicBezTo>
                  <a:cubicBezTo>
                    <a:pt x="378" y="66"/>
                    <a:pt x="397" y="77"/>
                    <a:pt x="410" y="93"/>
                  </a:cubicBezTo>
                  <a:cubicBezTo>
                    <a:pt x="423" y="77"/>
                    <a:pt x="442" y="66"/>
                    <a:pt x="465" y="66"/>
                  </a:cubicBezTo>
                  <a:cubicBezTo>
                    <a:pt x="503" y="66"/>
                    <a:pt x="534" y="97"/>
                    <a:pt x="534" y="135"/>
                  </a:cubicBezTo>
                  <a:cubicBezTo>
                    <a:pt x="534" y="135"/>
                    <a:pt x="534" y="135"/>
                    <a:pt x="534" y="135"/>
                  </a:cubicBezTo>
                  <a:cubicBezTo>
                    <a:pt x="735" y="135"/>
                    <a:pt x="735" y="135"/>
                    <a:pt x="735" y="135"/>
                  </a:cubicBezTo>
                  <a:cubicBezTo>
                    <a:pt x="735" y="135"/>
                    <a:pt x="735" y="135"/>
                    <a:pt x="735" y="135"/>
                  </a:cubicBezTo>
                  <a:cubicBezTo>
                    <a:pt x="735" y="97"/>
                    <a:pt x="766" y="66"/>
                    <a:pt x="804" y="66"/>
                  </a:cubicBezTo>
                  <a:cubicBezTo>
                    <a:pt x="827" y="66"/>
                    <a:pt x="846" y="77"/>
                    <a:pt x="859" y="93"/>
                  </a:cubicBezTo>
                  <a:cubicBezTo>
                    <a:pt x="872" y="77"/>
                    <a:pt x="892" y="66"/>
                    <a:pt x="914" y="66"/>
                  </a:cubicBezTo>
                  <a:cubicBezTo>
                    <a:pt x="936" y="66"/>
                    <a:pt x="956" y="77"/>
                    <a:pt x="968" y="93"/>
                  </a:cubicBezTo>
                  <a:cubicBezTo>
                    <a:pt x="981" y="77"/>
                    <a:pt x="1001" y="66"/>
                    <a:pt x="1023" y="66"/>
                  </a:cubicBezTo>
                  <a:cubicBezTo>
                    <a:pt x="1059" y="66"/>
                    <a:pt x="1089" y="94"/>
                    <a:pt x="1092" y="129"/>
                  </a:cubicBezTo>
                  <a:cubicBezTo>
                    <a:pt x="1105" y="117"/>
                    <a:pt x="1114" y="100"/>
                    <a:pt x="1114" y="80"/>
                  </a:cubicBezTo>
                  <a:cubicBezTo>
                    <a:pt x="1198" y="80"/>
                    <a:pt x="1198" y="80"/>
                    <a:pt x="1198" y="80"/>
                  </a:cubicBezTo>
                  <a:cubicBezTo>
                    <a:pt x="1199" y="85"/>
                    <a:pt x="1202" y="89"/>
                    <a:pt x="1207" y="89"/>
                  </a:cubicBezTo>
                  <a:cubicBezTo>
                    <a:pt x="1249" y="89"/>
                    <a:pt x="1249" y="89"/>
                    <a:pt x="1249" y="89"/>
                  </a:cubicBezTo>
                  <a:cubicBezTo>
                    <a:pt x="1254" y="89"/>
                    <a:pt x="1258" y="85"/>
                    <a:pt x="1258" y="80"/>
                  </a:cubicBezTo>
                  <a:cubicBezTo>
                    <a:pt x="1258" y="24"/>
                    <a:pt x="1258" y="24"/>
                    <a:pt x="1258" y="24"/>
                  </a:cubicBezTo>
                  <a:cubicBezTo>
                    <a:pt x="1258" y="19"/>
                    <a:pt x="1254" y="15"/>
                    <a:pt x="1249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0" name="Freeform 155"/>
            <p:cNvSpPr>
              <a:spLocks/>
            </p:cNvSpPr>
            <p:nvPr userDrawn="1"/>
          </p:nvSpPr>
          <p:spPr bwMode="auto">
            <a:xfrm>
              <a:off x="2871" y="1035"/>
              <a:ext cx="26" cy="3"/>
            </a:xfrm>
            <a:custGeom>
              <a:avLst/>
              <a:gdLst>
                <a:gd name="T0" fmla="*/ 133 w 166"/>
                <a:gd name="T1" fmla="*/ 0 h 18"/>
                <a:gd name="T2" fmla="*/ 34 w 166"/>
                <a:gd name="T3" fmla="*/ 0 h 18"/>
                <a:gd name="T4" fmla="*/ 0 w 166"/>
                <a:gd name="T5" fmla="*/ 18 h 18"/>
                <a:gd name="T6" fmla="*/ 166 w 166"/>
                <a:gd name="T7" fmla="*/ 18 h 18"/>
                <a:gd name="T8" fmla="*/ 133 w 166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6" h="18">
                  <a:moveTo>
                    <a:pt x="133" y="0"/>
                  </a:moveTo>
                  <a:cubicBezTo>
                    <a:pt x="34" y="0"/>
                    <a:pt x="34" y="0"/>
                    <a:pt x="34" y="0"/>
                  </a:cubicBezTo>
                  <a:cubicBezTo>
                    <a:pt x="20" y="0"/>
                    <a:pt x="8" y="7"/>
                    <a:pt x="0" y="18"/>
                  </a:cubicBezTo>
                  <a:cubicBezTo>
                    <a:pt x="166" y="18"/>
                    <a:pt x="166" y="18"/>
                    <a:pt x="166" y="18"/>
                  </a:cubicBezTo>
                  <a:cubicBezTo>
                    <a:pt x="159" y="7"/>
                    <a:pt x="147" y="0"/>
                    <a:pt x="13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1" name="Freeform 156"/>
            <p:cNvSpPr>
              <a:spLocks/>
            </p:cNvSpPr>
            <p:nvPr userDrawn="1"/>
          </p:nvSpPr>
          <p:spPr bwMode="auto">
            <a:xfrm>
              <a:off x="2956" y="1042"/>
              <a:ext cx="12" cy="45"/>
            </a:xfrm>
            <a:custGeom>
              <a:avLst/>
              <a:gdLst>
                <a:gd name="T0" fmla="*/ 78 w 78"/>
                <a:gd name="T1" fmla="*/ 145 h 290"/>
                <a:gd name="T2" fmla="*/ 0 w 78"/>
                <a:gd name="T3" fmla="*/ 0 h 290"/>
                <a:gd name="T4" fmla="*/ 0 w 78"/>
                <a:gd name="T5" fmla="*/ 290 h 290"/>
                <a:gd name="T6" fmla="*/ 78 w 78"/>
                <a:gd name="T7" fmla="*/ 145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8" h="290">
                  <a:moveTo>
                    <a:pt x="78" y="145"/>
                  </a:moveTo>
                  <a:cubicBezTo>
                    <a:pt x="78" y="83"/>
                    <a:pt x="47" y="29"/>
                    <a:pt x="0" y="0"/>
                  </a:cubicBezTo>
                  <a:cubicBezTo>
                    <a:pt x="0" y="290"/>
                    <a:pt x="0" y="290"/>
                    <a:pt x="0" y="290"/>
                  </a:cubicBezTo>
                  <a:cubicBezTo>
                    <a:pt x="47" y="262"/>
                    <a:pt x="78" y="208"/>
                    <a:pt x="78" y="1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2" name="Freeform 157"/>
            <p:cNvSpPr>
              <a:spLocks/>
            </p:cNvSpPr>
            <p:nvPr userDrawn="1"/>
          </p:nvSpPr>
          <p:spPr bwMode="auto">
            <a:xfrm>
              <a:off x="2800" y="1041"/>
              <a:ext cx="14" cy="47"/>
            </a:xfrm>
            <a:custGeom>
              <a:avLst/>
              <a:gdLst>
                <a:gd name="T0" fmla="*/ 92 w 92"/>
                <a:gd name="T1" fmla="*/ 305 h 305"/>
                <a:gd name="T2" fmla="*/ 92 w 92"/>
                <a:gd name="T3" fmla="*/ 0 h 305"/>
                <a:gd name="T4" fmla="*/ 0 w 92"/>
                <a:gd name="T5" fmla="*/ 152 h 305"/>
                <a:gd name="T6" fmla="*/ 92 w 92"/>
                <a:gd name="T7" fmla="*/ 305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2" h="305">
                  <a:moveTo>
                    <a:pt x="92" y="305"/>
                  </a:moveTo>
                  <a:cubicBezTo>
                    <a:pt x="92" y="0"/>
                    <a:pt x="92" y="0"/>
                    <a:pt x="92" y="0"/>
                  </a:cubicBezTo>
                  <a:cubicBezTo>
                    <a:pt x="38" y="25"/>
                    <a:pt x="0" y="84"/>
                    <a:pt x="0" y="152"/>
                  </a:cubicBezTo>
                  <a:cubicBezTo>
                    <a:pt x="0" y="221"/>
                    <a:pt x="38" y="280"/>
                    <a:pt x="92" y="30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3" name="Rectangle 158"/>
            <p:cNvSpPr>
              <a:spLocks noChangeArrowheads="1"/>
            </p:cNvSpPr>
            <p:nvPr userDrawn="1"/>
          </p:nvSpPr>
          <p:spPr bwMode="auto">
            <a:xfrm>
              <a:off x="2849" y="1058"/>
              <a:ext cx="8" cy="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4" name="Rectangle 159"/>
            <p:cNvSpPr>
              <a:spLocks noChangeArrowheads="1"/>
            </p:cNvSpPr>
            <p:nvPr userDrawn="1"/>
          </p:nvSpPr>
          <p:spPr bwMode="auto">
            <a:xfrm>
              <a:off x="2849" y="1068"/>
              <a:ext cx="8" cy="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5" name="Freeform 160"/>
            <p:cNvSpPr>
              <a:spLocks/>
            </p:cNvSpPr>
            <p:nvPr userDrawn="1"/>
          </p:nvSpPr>
          <p:spPr bwMode="auto">
            <a:xfrm>
              <a:off x="2816" y="1039"/>
              <a:ext cx="139" cy="51"/>
            </a:xfrm>
            <a:custGeom>
              <a:avLst/>
              <a:gdLst>
                <a:gd name="T0" fmla="*/ 838 w 901"/>
                <a:gd name="T1" fmla="*/ 331 h 331"/>
                <a:gd name="T2" fmla="*/ 901 w 901"/>
                <a:gd name="T3" fmla="*/ 316 h 331"/>
                <a:gd name="T4" fmla="*/ 901 w 901"/>
                <a:gd name="T5" fmla="*/ 15 h 331"/>
                <a:gd name="T6" fmla="*/ 838 w 901"/>
                <a:gd name="T7" fmla="*/ 0 h 331"/>
                <a:gd name="T8" fmla="*/ 289 w 901"/>
                <a:gd name="T9" fmla="*/ 0 h 331"/>
                <a:gd name="T10" fmla="*/ 289 w 901"/>
                <a:gd name="T11" fmla="*/ 287 h 331"/>
                <a:gd name="T12" fmla="*/ 269 w 901"/>
                <a:gd name="T13" fmla="*/ 287 h 331"/>
                <a:gd name="T14" fmla="*/ 269 w 901"/>
                <a:gd name="T15" fmla="*/ 252 h 331"/>
                <a:gd name="T16" fmla="*/ 216 w 901"/>
                <a:gd name="T17" fmla="*/ 252 h 331"/>
                <a:gd name="T18" fmla="*/ 216 w 901"/>
                <a:gd name="T19" fmla="*/ 287 h 331"/>
                <a:gd name="T20" fmla="*/ 196 w 901"/>
                <a:gd name="T21" fmla="*/ 287 h 331"/>
                <a:gd name="T22" fmla="*/ 196 w 901"/>
                <a:gd name="T23" fmla="*/ 252 h 331"/>
                <a:gd name="T24" fmla="*/ 196 w 901"/>
                <a:gd name="T25" fmla="*/ 222 h 331"/>
                <a:gd name="T26" fmla="*/ 196 w 901"/>
                <a:gd name="T27" fmla="*/ 186 h 331"/>
                <a:gd name="T28" fmla="*/ 196 w 901"/>
                <a:gd name="T29" fmla="*/ 156 h 331"/>
                <a:gd name="T30" fmla="*/ 196 w 901"/>
                <a:gd name="T31" fmla="*/ 120 h 331"/>
                <a:gd name="T32" fmla="*/ 196 w 901"/>
                <a:gd name="T33" fmla="*/ 91 h 331"/>
                <a:gd name="T34" fmla="*/ 196 w 901"/>
                <a:gd name="T35" fmla="*/ 55 h 331"/>
                <a:gd name="T36" fmla="*/ 196 w 901"/>
                <a:gd name="T37" fmla="*/ 25 h 331"/>
                <a:gd name="T38" fmla="*/ 196 w 901"/>
                <a:gd name="T39" fmla="*/ 0 h 331"/>
                <a:gd name="T40" fmla="*/ 48 w 901"/>
                <a:gd name="T41" fmla="*/ 0 h 331"/>
                <a:gd name="T42" fmla="*/ 0 w 901"/>
                <a:gd name="T43" fmla="*/ 8 h 331"/>
                <a:gd name="T44" fmla="*/ 0 w 901"/>
                <a:gd name="T45" fmla="*/ 322 h 331"/>
                <a:gd name="T46" fmla="*/ 48 w 901"/>
                <a:gd name="T47" fmla="*/ 331 h 331"/>
                <a:gd name="T48" fmla="*/ 838 w 901"/>
                <a:gd name="T49" fmla="*/ 331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01" h="331">
                  <a:moveTo>
                    <a:pt x="838" y="331"/>
                  </a:moveTo>
                  <a:cubicBezTo>
                    <a:pt x="861" y="331"/>
                    <a:pt x="882" y="326"/>
                    <a:pt x="901" y="316"/>
                  </a:cubicBezTo>
                  <a:cubicBezTo>
                    <a:pt x="901" y="15"/>
                    <a:pt x="901" y="15"/>
                    <a:pt x="901" y="15"/>
                  </a:cubicBezTo>
                  <a:cubicBezTo>
                    <a:pt x="882" y="5"/>
                    <a:pt x="861" y="0"/>
                    <a:pt x="838" y="0"/>
                  </a:cubicBezTo>
                  <a:cubicBezTo>
                    <a:pt x="289" y="0"/>
                    <a:pt x="289" y="0"/>
                    <a:pt x="289" y="0"/>
                  </a:cubicBezTo>
                  <a:cubicBezTo>
                    <a:pt x="289" y="287"/>
                    <a:pt x="289" y="287"/>
                    <a:pt x="289" y="287"/>
                  </a:cubicBezTo>
                  <a:cubicBezTo>
                    <a:pt x="269" y="287"/>
                    <a:pt x="269" y="287"/>
                    <a:pt x="269" y="287"/>
                  </a:cubicBezTo>
                  <a:cubicBezTo>
                    <a:pt x="269" y="252"/>
                    <a:pt x="269" y="252"/>
                    <a:pt x="269" y="252"/>
                  </a:cubicBezTo>
                  <a:cubicBezTo>
                    <a:pt x="216" y="252"/>
                    <a:pt x="216" y="252"/>
                    <a:pt x="216" y="252"/>
                  </a:cubicBezTo>
                  <a:cubicBezTo>
                    <a:pt x="216" y="287"/>
                    <a:pt x="216" y="287"/>
                    <a:pt x="216" y="287"/>
                  </a:cubicBezTo>
                  <a:cubicBezTo>
                    <a:pt x="196" y="287"/>
                    <a:pt x="196" y="287"/>
                    <a:pt x="196" y="287"/>
                  </a:cubicBezTo>
                  <a:cubicBezTo>
                    <a:pt x="196" y="252"/>
                    <a:pt x="196" y="252"/>
                    <a:pt x="196" y="252"/>
                  </a:cubicBezTo>
                  <a:cubicBezTo>
                    <a:pt x="196" y="222"/>
                    <a:pt x="196" y="222"/>
                    <a:pt x="196" y="222"/>
                  </a:cubicBezTo>
                  <a:cubicBezTo>
                    <a:pt x="196" y="186"/>
                    <a:pt x="196" y="186"/>
                    <a:pt x="196" y="186"/>
                  </a:cubicBezTo>
                  <a:cubicBezTo>
                    <a:pt x="196" y="156"/>
                    <a:pt x="196" y="156"/>
                    <a:pt x="196" y="156"/>
                  </a:cubicBezTo>
                  <a:cubicBezTo>
                    <a:pt x="196" y="120"/>
                    <a:pt x="196" y="120"/>
                    <a:pt x="196" y="120"/>
                  </a:cubicBezTo>
                  <a:cubicBezTo>
                    <a:pt x="196" y="91"/>
                    <a:pt x="196" y="91"/>
                    <a:pt x="196" y="91"/>
                  </a:cubicBezTo>
                  <a:cubicBezTo>
                    <a:pt x="196" y="55"/>
                    <a:pt x="196" y="55"/>
                    <a:pt x="196" y="5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0"/>
                    <a:pt x="196" y="0"/>
                    <a:pt x="196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31" y="0"/>
                    <a:pt x="15" y="3"/>
                    <a:pt x="0" y="8"/>
                  </a:cubicBezTo>
                  <a:cubicBezTo>
                    <a:pt x="0" y="322"/>
                    <a:pt x="0" y="322"/>
                    <a:pt x="0" y="322"/>
                  </a:cubicBezTo>
                  <a:cubicBezTo>
                    <a:pt x="15" y="328"/>
                    <a:pt x="31" y="331"/>
                    <a:pt x="48" y="331"/>
                  </a:cubicBezTo>
                  <a:lnTo>
                    <a:pt x="838" y="3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6" name="Rectangle 161"/>
            <p:cNvSpPr>
              <a:spLocks noChangeArrowheads="1"/>
            </p:cNvSpPr>
            <p:nvPr userDrawn="1"/>
          </p:nvSpPr>
          <p:spPr bwMode="auto">
            <a:xfrm>
              <a:off x="2849" y="1039"/>
              <a:ext cx="8" cy="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7" name="Rectangle 162"/>
            <p:cNvSpPr>
              <a:spLocks noChangeArrowheads="1"/>
            </p:cNvSpPr>
            <p:nvPr userDrawn="1"/>
          </p:nvSpPr>
          <p:spPr bwMode="auto">
            <a:xfrm>
              <a:off x="2849" y="1048"/>
              <a:ext cx="8" cy="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4" name="Group 165"/>
          <p:cNvGrpSpPr>
            <a:grpSpLocks noChangeAspect="1"/>
          </p:cNvGrpSpPr>
          <p:nvPr userDrawn="1"/>
        </p:nvGrpSpPr>
        <p:grpSpPr bwMode="auto">
          <a:xfrm rot="1363577" flipH="1">
            <a:off x="4340364" y="3497213"/>
            <a:ext cx="1906914" cy="178383"/>
            <a:chOff x="841" y="2322"/>
            <a:chExt cx="3207" cy="225"/>
          </a:xfrm>
          <a:solidFill>
            <a:schemeClr val="bg1"/>
          </a:solidFill>
        </p:grpSpPr>
        <p:sp>
          <p:nvSpPr>
            <p:cNvPr id="181" name="Freeform 166"/>
            <p:cNvSpPr>
              <a:spLocks noEditPoints="1"/>
            </p:cNvSpPr>
            <p:nvPr userDrawn="1"/>
          </p:nvSpPr>
          <p:spPr bwMode="auto">
            <a:xfrm>
              <a:off x="3899" y="2506"/>
              <a:ext cx="41" cy="41"/>
            </a:xfrm>
            <a:custGeom>
              <a:avLst/>
              <a:gdLst>
                <a:gd name="T0" fmla="*/ 45 w 90"/>
                <a:gd name="T1" fmla="*/ 0 h 91"/>
                <a:gd name="T2" fmla="*/ 0 w 90"/>
                <a:gd name="T3" fmla="*/ 45 h 91"/>
                <a:gd name="T4" fmla="*/ 45 w 90"/>
                <a:gd name="T5" fmla="*/ 91 h 91"/>
                <a:gd name="T6" fmla="*/ 90 w 90"/>
                <a:gd name="T7" fmla="*/ 45 h 91"/>
                <a:gd name="T8" fmla="*/ 45 w 90"/>
                <a:gd name="T9" fmla="*/ 0 h 91"/>
                <a:gd name="T10" fmla="*/ 45 w 90"/>
                <a:gd name="T11" fmla="*/ 77 h 91"/>
                <a:gd name="T12" fmla="*/ 13 w 90"/>
                <a:gd name="T13" fmla="*/ 45 h 91"/>
                <a:gd name="T14" fmla="*/ 45 w 90"/>
                <a:gd name="T15" fmla="*/ 13 h 91"/>
                <a:gd name="T16" fmla="*/ 77 w 90"/>
                <a:gd name="T17" fmla="*/ 45 h 91"/>
                <a:gd name="T18" fmla="*/ 45 w 90"/>
                <a:gd name="T19" fmla="*/ 77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91">
                  <a:moveTo>
                    <a:pt x="45" y="0"/>
                  </a:moveTo>
                  <a:cubicBezTo>
                    <a:pt x="20" y="0"/>
                    <a:pt x="0" y="20"/>
                    <a:pt x="0" y="45"/>
                  </a:cubicBezTo>
                  <a:cubicBezTo>
                    <a:pt x="0" y="70"/>
                    <a:pt x="20" y="91"/>
                    <a:pt x="45" y="91"/>
                  </a:cubicBezTo>
                  <a:cubicBezTo>
                    <a:pt x="70" y="91"/>
                    <a:pt x="90" y="70"/>
                    <a:pt x="90" y="45"/>
                  </a:cubicBezTo>
                  <a:cubicBezTo>
                    <a:pt x="90" y="20"/>
                    <a:pt x="70" y="0"/>
                    <a:pt x="45" y="0"/>
                  </a:cubicBezTo>
                  <a:close/>
                  <a:moveTo>
                    <a:pt x="45" y="77"/>
                  </a:moveTo>
                  <a:cubicBezTo>
                    <a:pt x="27" y="77"/>
                    <a:pt x="13" y="63"/>
                    <a:pt x="13" y="45"/>
                  </a:cubicBezTo>
                  <a:cubicBezTo>
                    <a:pt x="13" y="28"/>
                    <a:pt x="27" y="13"/>
                    <a:pt x="45" y="13"/>
                  </a:cubicBezTo>
                  <a:cubicBezTo>
                    <a:pt x="63" y="13"/>
                    <a:pt x="77" y="28"/>
                    <a:pt x="77" y="45"/>
                  </a:cubicBezTo>
                  <a:cubicBezTo>
                    <a:pt x="77" y="63"/>
                    <a:pt x="63" y="77"/>
                    <a:pt x="45" y="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82" name="Oval 167"/>
            <p:cNvSpPr>
              <a:spLocks noChangeArrowheads="1"/>
            </p:cNvSpPr>
            <p:nvPr userDrawn="1"/>
          </p:nvSpPr>
          <p:spPr bwMode="auto">
            <a:xfrm>
              <a:off x="3908" y="2515"/>
              <a:ext cx="23" cy="2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83" name="Freeform 168"/>
            <p:cNvSpPr>
              <a:spLocks noEditPoints="1"/>
            </p:cNvSpPr>
            <p:nvPr userDrawn="1"/>
          </p:nvSpPr>
          <p:spPr bwMode="auto">
            <a:xfrm>
              <a:off x="3955" y="2506"/>
              <a:ext cx="41" cy="41"/>
            </a:xfrm>
            <a:custGeom>
              <a:avLst/>
              <a:gdLst>
                <a:gd name="T0" fmla="*/ 46 w 91"/>
                <a:gd name="T1" fmla="*/ 0 h 91"/>
                <a:gd name="T2" fmla="*/ 0 w 91"/>
                <a:gd name="T3" fmla="*/ 45 h 91"/>
                <a:gd name="T4" fmla="*/ 46 w 91"/>
                <a:gd name="T5" fmla="*/ 91 h 91"/>
                <a:gd name="T6" fmla="*/ 91 w 91"/>
                <a:gd name="T7" fmla="*/ 45 h 91"/>
                <a:gd name="T8" fmla="*/ 46 w 91"/>
                <a:gd name="T9" fmla="*/ 0 h 91"/>
                <a:gd name="T10" fmla="*/ 46 w 91"/>
                <a:gd name="T11" fmla="*/ 77 h 91"/>
                <a:gd name="T12" fmla="*/ 14 w 91"/>
                <a:gd name="T13" fmla="*/ 45 h 91"/>
                <a:gd name="T14" fmla="*/ 46 w 91"/>
                <a:gd name="T15" fmla="*/ 13 h 91"/>
                <a:gd name="T16" fmla="*/ 78 w 91"/>
                <a:gd name="T17" fmla="*/ 45 h 91"/>
                <a:gd name="T18" fmla="*/ 46 w 91"/>
                <a:gd name="T19" fmla="*/ 77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1" h="91">
                  <a:moveTo>
                    <a:pt x="46" y="0"/>
                  </a:moveTo>
                  <a:cubicBezTo>
                    <a:pt x="20" y="0"/>
                    <a:pt x="0" y="20"/>
                    <a:pt x="0" y="45"/>
                  </a:cubicBezTo>
                  <a:cubicBezTo>
                    <a:pt x="0" y="70"/>
                    <a:pt x="20" y="91"/>
                    <a:pt x="46" y="91"/>
                  </a:cubicBezTo>
                  <a:cubicBezTo>
                    <a:pt x="71" y="91"/>
                    <a:pt x="91" y="70"/>
                    <a:pt x="91" y="45"/>
                  </a:cubicBezTo>
                  <a:cubicBezTo>
                    <a:pt x="91" y="20"/>
                    <a:pt x="71" y="0"/>
                    <a:pt x="46" y="0"/>
                  </a:cubicBezTo>
                  <a:close/>
                  <a:moveTo>
                    <a:pt x="46" y="77"/>
                  </a:moveTo>
                  <a:cubicBezTo>
                    <a:pt x="28" y="77"/>
                    <a:pt x="14" y="63"/>
                    <a:pt x="14" y="45"/>
                  </a:cubicBezTo>
                  <a:cubicBezTo>
                    <a:pt x="14" y="28"/>
                    <a:pt x="28" y="13"/>
                    <a:pt x="46" y="13"/>
                  </a:cubicBezTo>
                  <a:cubicBezTo>
                    <a:pt x="63" y="13"/>
                    <a:pt x="78" y="28"/>
                    <a:pt x="78" y="45"/>
                  </a:cubicBezTo>
                  <a:cubicBezTo>
                    <a:pt x="78" y="63"/>
                    <a:pt x="63" y="77"/>
                    <a:pt x="46" y="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84" name="Oval 169"/>
            <p:cNvSpPr>
              <a:spLocks noChangeArrowheads="1"/>
            </p:cNvSpPr>
            <p:nvPr userDrawn="1"/>
          </p:nvSpPr>
          <p:spPr bwMode="auto">
            <a:xfrm>
              <a:off x="3964" y="2515"/>
              <a:ext cx="23" cy="2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85" name="Freeform 170"/>
            <p:cNvSpPr>
              <a:spLocks noEditPoints="1"/>
            </p:cNvSpPr>
            <p:nvPr userDrawn="1"/>
          </p:nvSpPr>
          <p:spPr bwMode="auto">
            <a:xfrm>
              <a:off x="3486" y="2506"/>
              <a:ext cx="41" cy="41"/>
            </a:xfrm>
            <a:custGeom>
              <a:avLst/>
              <a:gdLst>
                <a:gd name="T0" fmla="*/ 45 w 91"/>
                <a:gd name="T1" fmla="*/ 0 h 91"/>
                <a:gd name="T2" fmla="*/ 0 w 91"/>
                <a:gd name="T3" fmla="*/ 45 h 91"/>
                <a:gd name="T4" fmla="*/ 45 w 91"/>
                <a:gd name="T5" fmla="*/ 91 h 91"/>
                <a:gd name="T6" fmla="*/ 91 w 91"/>
                <a:gd name="T7" fmla="*/ 45 h 91"/>
                <a:gd name="T8" fmla="*/ 45 w 91"/>
                <a:gd name="T9" fmla="*/ 0 h 91"/>
                <a:gd name="T10" fmla="*/ 45 w 91"/>
                <a:gd name="T11" fmla="*/ 77 h 91"/>
                <a:gd name="T12" fmla="*/ 13 w 91"/>
                <a:gd name="T13" fmla="*/ 45 h 91"/>
                <a:gd name="T14" fmla="*/ 45 w 91"/>
                <a:gd name="T15" fmla="*/ 13 h 91"/>
                <a:gd name="T16" fmla="*/ 77 w 91"/>
                <a:gd name="T17" fmla="*/ 45 h 91"/>
                <a:gd name="T18" fmla="*/ 45 w 91"/>
                <a:gd name="T19" fmla="*/ 77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1" h="91">
                  <a:moveTo>
                    <a:pt x="45" y="0"/>
                  </a:moveTo>
                  <a:cubicBezTo>
                    <a:pt x="20" y="0"/>
                    <a:pt x="0" y="20"/>
                    <a:pt x="0" y="45"/>
                  </a:cubicBezTo>
                  <a:cubicBezTo>
                    <a:pt x="0" y="70"/>
                    <a:pt x="20" y="91"/>
                    <a:pt x="45" y="91"/>
                  </a:cubicBezTo>
                  <a:cubicBezTo>
                    <a:pt x="70" y="91"/>
                    <a:pt x="91" y="70"/>
                    <a:pt x="91" y="45"/>
                  </a:cubicBezTo>
                  <a:cubicBezTo>
                    <a:pt x="91" y="20"/>
                    <a:pt x="70" y="0"/>
                    <a:pt x="45" y="0"/>
                  </a:cubicBezTo>
                  <a:close/>
                  <a:moveTo>
                    <a:pt x="45" y="77"/>
                  </a:moveTo>
                  <a:cubicBezTo>
                    <a:pt x="28" y="77"/>
                    <a:pt x="13" y="63"/>
                    <a:pt x="13" y="45"/>
                  </a:cubicBezTo>
                  <a:cubicBezTo>
                    <a:pt x="13" y="28"/>
                    <a:pt x="28" y="13"/>
                    <a:pt x="45" y="13"/>
                  </a:cubicBezTo>
                  <a:cubicBezTo>
                    <a:pt x="63" y="13"/>
                    <a:pt x="77" y="28"/>
                    <a:pt x="77" y="45"/>
                  </a:cubicBezTo>
                  <a:cubicBezTo>
                    <a:pt x="77" y="63"/>
                    <a:pt x="63" y="77"/>
                    <a:pt x="45" y="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86" name="Oval 171"/>
            <p:cNvSpPr>
              <a:spLocks noChangeArrowheads="1"/>
            </p:cNvSpPr>
            <p:nvPr userDrawn="1"/>
          </p:nvSpPr>
          <p:spPr bwMode="auto">
            <a:xfrm>
              <a:off x="3494" y="2515"/>
              <a:ext cx="24" cy="2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87" name="Freeform 172"/>
            <p:cNvSpPr>
              <a:spLocks noEditPoints="1"/>
            </p:cNvSpPr>
            <p:nvPr userDrawn="1"/>
          </p:nvSpPr>
          <p:spPr bwMode="auto">
            <a:xfrm>
              <a:off x="3423" y="2506"/>
              <a:ext cx="41" cy="41"/>
            </a:xfrm>
            <a:custGeom>
              <a:avLst/>
              <a:gdLst>
                <a:gd name="T0" fmla="*/ 45 w 91"/>
                <a:gd name="T1" fmla="*/ 0 h 91"/>
                <a:gd name="T2" fmla="*/ 0 w 91"/>
                <a:gd name="T3" fmla="*/ 45 h 91"/>
                <a:gd name="T4" fmla="*/ 45 w 91"/>
                <a:gd name="T5" fmla="*/ 91 h 91"/>
                <a:gd name="T6" fmla="*/ 91 w 91"/>
                <a:gd name="T7" fmla="*/ 45 h 91"/>
                <a:gd name="T8" fmla="*/ 45 w 91"/>
                <a:gd name="T9" fmla="*/ 0 h 91"/>
                <a:gd name="T10" fmla="*/ 45 w 91"/>
                <a:gd name="T11" fmla="*/ 77 h 91"/>
                <a:gd name="T12" fmla="*/ 13 w 91"/>
                <a:gd name="T13" fmla="*/ 45 h 91"/>
                <a:gd name="T14" fmla="*/ 45 w 91"/>
                <a:gd name="T15" fmla="*/ 13 h 91"/>
                <a:gd name="T16" fmla="*/ 77 w 91"/>
                <a:gd name="T17" fmla="*/ 45 h 91"/>
                <a:gd name="T18" fmla="*/ 45 w 91"/>
                <a:gd name="T19" fmla="*/ 77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1" h="91">
                  <a:moveTo>
                    <a:pt x="45" y="0"/>
                  </a:moveTo>
                  <a:cubicBezTo>
                    <a:pt x="20" y="0"/>
                    <a:pt x="0" y="20"/>
                    <a:pt x="0" y="45"/>
                  </a:cubicBezTo>
                  <a:cubicBezTo>
                    <a:pt x="0" y="70"/>
                    <a:pt x="20" y="91"/>
                    <a:pt x="45" y="91"/>
                  </a:cubicBezTo>
                  <a:cubicBezTo>
                    <a:pt x="70" y="91"/>
                    <a:pt x="91" y="70"/>
                    <a:pt x="91" y="45"/>
                  </a:cubicBezTo>
                  <a:cubicBezTo>
                    <a:pt x="91" y="20"/>
                    <a:pt x="70" y="0"/>
                    <a:pt x="45" y="0"/>
                  </a:cubicBezTo>
                  <a:close/>
                  <a:moveTo>
                    <a:pt x="45" y="77"/>
                  </a:moveTo>
                  <a:cubicBezTo>
                    <a:pt x="28" y="77"/>
                    <a:pt x="13" y="63"/>
                    <a:pt x="13" y="45"/>
                  </a:cubicBezTo>
                  <a:cubicBezTo>
                    <a:pt x="13" y="28"/>
                    <a:pt x="28" y="13"/>
                    <a:pt x="45" y="13"/>
                  </a:cubicBezTo>
                  <a:cubicBezTo>
                    <a:pt x="63" y="13"/>
                    <a:pt x="77" y="28"/>
                    <a:pt x="77" y="45"/>
                  </a:cubicBezTo>
                  <a:cubicBezTo>
                    <a:pt x="77" y="63"/>
                    <a:pt x="63" y="77"/>
                    <a:pt x="45" y="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88" name="Oval 173"/>
            <p:cNvSpPr>
              <a:spLocks noChangeArrowheads="1"/>
            </p:cNvSpPr>
            <p:nvPr userDrawn="1"/>
          </p:nvSpPr>
          <p:spPr bwMode="auto">
            <a:xfrm>
              <a:off x="3431" y="2515"/>
              <a:ext cx="24" cy="2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89" name="Freeform 174"/>
            <p:cNvSpPr>
              <a:spLocks noEditPoints="1"/>
            </p:cNvSpPr>
            <p:nvPr userDrawn="1"/>
          </p:nvSpPr>
          <p:spPr bwMode="auto">
            <a:xfrm>
              <a:off x="3546" y="2470"/>
              <a:ext cx="77" cy="77"/>
            </a:xfrm>
            <a:custGeom>
              <a:avLst/>
              <a:gdLst>
                <a:gd name="T0" fmla="*/ 85 w 170"/>
                <a:gd name="T1" fmla="*/ 0 h 170"/>
                <a:gd name="T2" fmla="*/ 0 w 170"/>
                <a:gd name="T3" fmla="*/ 85 h 170"/>
                <a:gd name="T4" fmla="*/ 85 w 170"/>
                <a:gd name="T5" fmla="*/ 170 h 170"/>
                <a:gd name="T6" fmla="*/ 170 w 170"/>
                <a:gd name="T7" fmla="*/ 85 h 170"/>
                <a:gd name="T8" fmla="*/ 85 w 170"/>
                <a:gd name="T9" fmla="*/ 0 h 170"/>
                <a:gd name="T10" fmla="*/ 18 w 170"/>
                <a:gd name="T11" fmla="*/ 110 h 170"/>
                <a:gd name="T12" fmla="*/ 13 w 170"/>
                <a:gd name="T13" fmla="*/ 85 h 170"/>
                <a:gd name="T14" fmla="*/ 18 w 170"/>
                <a:gd name="T15" fmla="*/ 59 h 170"/>
                <a:gd name="T16" fmla="*/ 59 w 170"/>
                <a:gd name="T17" fmla="*/ 85 h 170"/>
                <a:gd name="T18" fmla="*/ 18 w 170"/>
                <a:gd name="T19" fmla="*/ 110 h 170"/>
                <a:gd name="T20" fmla="*/ 74 w 170"/>
                <a:gd name="T21" fmla="*/ 155 h 170"/>
                <a:gd name="T22" fmla="*/ 29 w 170"/>
                <a:gd name="T23" fmla="*/ 130 h 170"/>
                <a:gd name="T24" fmla="*/ 72 w 170"/>
                <a:gd name="T25" fmla="*/ 107 h 170"/>
                <a:gd name="T26" fmla="*/ 74 w 170"/>
                <a:gd name="T27" fmla="*/ 155 h 170"/>
                <a:gd name="T28" fmla="*/ 72 w 170"/>
                <a:gd name="T29" fmla="*/ 62 h 170"/>
                <a:gd name="T30" fmla="*/ 29 w 170"/>
                <a:gd name="T31" fmla="*/ 40 h 170"/>
                <a:gd name="T32" fmla="*/ 74 w 170"/>
                <a:gd name="T33" fmla="*/ 14 h 170"/>
                <a:gd name="T34" fmla="*/ 72 w 170"/>
                <a:gd name="T35" fmla="*/ 62 h 170"/>
                <a:gd name="T36" fmla="*/ 96 w 170"/>
                <a:gd name="T37" fmla="*/ 14 h 170"/>
                <a:gd name="T38" fmla="*/ 140 w 170"/>
                <a:gd name="T39" fmla="*/ 40 h 170"/>
                <a:gd name="T40" fmla="*/ 98 w 170"/>
                <a:gd name="T41" fmla="*/ 62 h 170"/>
                <a:gd name="T42" fmla="*/ 96 w 170"/>
                <a:gd name="T43" fmla="*/ 14 h 170"/>
                <a:gd name="T44" fmla="*/ 96 w 170"/>
                <a:gd name="T45" fmla="*/ 155 h 170"/>
                <a:gd name="T46" fmla="*/ 98 w 170"/>
                <a:gd name="T47" fmla="*/ 107 h 170"/>
                <a:gd name="T48" fmla="*/ 140 w 170"/>
                <a:gd name="T49" fmla="*/ 130 h 170"/>
                <a:gd name="T50" fmla="*/ 96 w 170"/>
                <a:gd name="T51" fmla="*/ 155 h 170"/>
                <a:gd name="T52" fmla="*/ 111 w 170"/>
                <a:gd name="T53" fmla="*/ 85 h 170"/>
                <a:gd name="T54" fmla="*/ 152 w 170"/>
                <a:gd name="T55" fmla="*/ 59 h 170"/>
                <a:gd name="T56" fmla="*/ 156 w 170"/>
                <a:gd name="T57" fmla="*/ 85 h 170"/>
                <a:gd name="T58" fmla="*/ 152 w 170"/>
                <a:gd name="T59" fmla="*/ 110 h 170"/>
                <a:gd name="T60" fmla="*/ 111 w 170"/>
                <a:gd name="T61" fmla="*/ 85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70" h="170">
                  <a:moveTo>
                    <a:pt x="85" y="0"/>
                  </a:moveTo>
                  <a:cubicBezTo>
                    <a:pt x="38" y="0"/>
                    <a:pt x="0" y="38"/>
                    <a:pt x="0" y="85"/>
                  </a:cubicBezTo>
                  <a:cubicBezTo>
                    <a:pt x="0" y="132"/>
                    <a:pt x="38" y="170"/>
                    <a:pt x="85" y="170"/>
                  </a:cubicBezTo>
                  <a:cubicBezTo>
                    <a:pt x="132" y="170"/>
                    <a:pt x="170" y="132"/>
                    <a:pt x="170" y="85"/>
                  </a:cubicBezTo>
                  <a:cubicBezTo>
                    <a:pt x="170" y="38"/>
                    <a:pt x="132" y="0"/>
                    <a:pt x="85" y="0"/>
                  </a:cubicBezTo>
                  <a:close/>
                  <a:moveTo>
                    <a:pt x="18" y="110"/>
                  </a:moveTo>
                  <a:cubicBezTo>
                    <a:pt x="15" y="102"/>
                    <a:pt x="13" y="94"/>
                    <a:pt x="13" y="85"/>
                  </a:cubicBezTo>
                  <a:cubicBezTo>
                    <a:pt x="13" y="76"/>
                    <a:pt x="15" y="67"/>
                    <a:pt x="18" y="59"/>
                  </a:cubicBezTo>
                  <a:cubicBezTo>
                    <a:pt x="32" y="59"/>
                    <a:pt x="51" y="77"/>
                    <a:pt x="59" y="85"/>
                  </a:cubicBezTo>
                  <a:cubicBezTo>
                    <a:pt x="51" y="92"/>
                    <a:pt x="32" y="110"/>
                    <a:pt x="18" y="110"/>
                  </a:cubicBezTo>
                  <a:close/>
                  <a:moveTo>
                    <a:pt x="74" y="155"/>
                  </a:moveTo>
                  <a:cubicBezTo>
                    <a:pt x="56" y="153"/>
                    <a:pt x="40" y="143"/>
                    <a:pt x="29" y="130"/>
                  </a:cubicBezTo>
                  <a:cubicBezTo>
                    <a:pt x="36" y="118"/>
                    <a:pt x="62" y="110"/>
                    <a:pt x="72" y="107"/>
                  </a:cubicBezTo>
                  <a:cubicBezTo>
                    <a:pt x="75" y="118"/>
                    <a:pt x="81" y="144"/>
                    <a:pt x="74" y="155"/>
                  </a:cubicBezTo>
                  <a:close/>
                  <a:moveTo>
                    <a:pt x="72" y="62"/>
                  </a:moveTo>
                  <a:cubicBezTo>
                    <a:pt x="62" y="60"/>
                    <a:pt x="36" y="52"/>
                    <a:pt x="29" y="40"/>
                  </a:cubicBezTo>
                  <a:cubicBezTo>
                    <a:pt x="40" y="26"/>
                    <a:pt x="56" y="17"/>
                    <a:pt x="74" y="14"/>
                  </a:cubicBezTo>
                  <a:cubicBezTo>
                    <a:pt x="81" y="26"/>
                    <a:pt x="75" y="52"/>
                    <a:pt x="72" y="62"/>
                  </a:cubicBezTo>
                  <a:close/>
                  <a:moveTo>
                    <a:pt x="96" y="14"/>
                  </a:moveTo>
                  <a:cubicBezTo>
                    <a:pt x="114" y="17"/>
                    <a:pt x="129" y="26"/>
                    <a:pt x="140" y="40"/>
                  </a:cubicBezTo>
                  <a:cubicBezTo>
                    <a:pt x="133" y="52"/>
                    <a:pt x="108" y="60"/>
                    <a:pt x="98" y="62"/>
                  </a:cubicBezTo>
                  <a:cubicBezTo>
                    <a:pt x="95" y="52"/>
                    <a:pt x="89" y="26"/>
                    <a:pt x="96" y="14"/>
                  </a:cubicBezTo>
                  <a:close/>
                  <a:moveTo>
                    <a:pt x="96" y="155"/>
                  </a:moveTo>
                  <a:cubicBezTo>
                    <a:pt x="89" y="144"/>
                    <a:pt x="95" y="118"/>
                    <a:pt x="98" y="107"/>
                  </a:cubicBezTo>
                  <a:cubicBezTo>
                    <a:pt x="108" y="110"/>
                    <a:pt x="133" y="118"/>
                    <a:pt x="140" y="130"/>
                  </a:cubicBezTo>
                  <a:cubicBezTo>
                    <a:pt x="129" y="143"/>
                    <a:pt x="114" y="153"/>
                    <a:pt x="96" y="155"/>
                  </a:cubicBezTo>
                  <a:close/>
                  <a:moveTo>
                    <a:pt x="111" y="85"/>
                  </a:moveTo>
                  <a:cubicBezTo>
                    <a:pt x="118" y="77"/>
                    <a:pt x="138" y="59"/>
                    <a:pt x="152" y="59"/>
                  </a:cubicBezTo>
                  <a:cubicBezTo>
                    <a:pt x="155" y="67"/>
                    <a:pt x="156" y="76"/>
                    <a:pt x="156" y="85"/>
                  </a:cubicBezTo>
                  <a:cubicBezTo>
                    <a:pt x="156" y="94"/>
                    <a:pt x="155" y="102"/>
                    <a:pt x="152" y="110"/>
                  </a:cubicBezTo>
                  <a:cubicBezTo>
                    <a:pt x="138" y="110"/>
                    <a:pt x="118" y="92"/>
                    <a:pt x="111" y="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0" name="Freeform 175"/>
            <p:cNvSpPr>
              <a:spLocks noEditPoints="1"/>
            </p:cNvSpPr>
            <p:nvPr userDrawn="1"/>
          </p:nvSpPr>
          <p:spPr bwMode="auto">
            <a:xfrm>
              <a:off x="3634" y="2470"/>
              <a:ext cx="77" cy="77"/>
            </a:xfrm>
            <a:custGeom>
              <a:avLst/>
              <a:gdLst>
                <a:gd name="T0" fmla="*/ 85 w 170"/>
                <a:gd name="T1" fmla="*/ 0 h 170"/>
                <a:gd name="T2" fmla="*/ 0 w 170"/>
                <a:gd name="T3" fmla="*/ 85 h 170"/>
                <a:gd name="T4" fmla="*/ 85 w 170"/>
                <a:gd name="T5" fmla="*/ 170 h 170"/>
                <a:gd name="T6" fmla="*/ 170 w 170"/>
                <a:gd name="T7" fmla="*/ 85 h 170"/>
                <a:gd name="T8" fmla="*/ 85 w 170"/>
                <a:gd name="T9" fmla="*/ 0 h 170"/>
                <a:gd name="T10" fmla="*/ 18 w 170"/>
                <a:gd name="T11" fmla="*/ 110 h 170"/>
                <a:gd name="T12" fmla="*/ 13 w 170"/>
                <a:gd name="T13" fmla="*/ 85 h 170"/>
                <a:gd name="T14" fmla="*/ 18 w 170"/>
                <a:gd name="T15" fmla="*/ 59 h 170"/>
                <a:gd name="T16" fmla="*/ 59 w 170"/>
                <a:gd name="T17" fmla="*/ 85 h 170"/>
                <a:gd name="T18" fmla="*/ 18 w 170"/>
                <a:gd name="T19" fmla="*/ 110 h 170"/>
                <a:gd name="T20" fmla="*/ 73 w 170"/>
                <a:gd name="T21" fmla="*/ 155 h 170"/>
                <a:gd name="T22" fmla="*/ 29 w 170"/>
                <a:gd name="T23" fmla="*/ 130 h 170"/>
                <a:gd name="T24" fmla="*/ 72 w 170"/>
                <a:gd name="T25" fmla="*/ 107 h 170"/>
                <a:gd name="T26" fmla="*/ 73 w 170"/>
                <a:gd name="T27" fmla="*/ 155 h 170"/>
                <a:gd name="T28" fmla="*/ 72 w 170"/>
                <a:gd name="T29" fmla="*/ 62 h 170"/>
                <a:gd name="T30" fmla="*/ 29 w 170"/>
                <a:gd name="T31" fmla="*/ 40 h 170"/>
                <a:gd name="T32" fmla="*/ 73 w 170"/>
                <a:gd name="T33" fmla="*/ 14 h 170"/>
                <a:gd name="T34" fmla="*/ 72 w 170"/>
                <a:gd name="T35" fmla="*/ 62 h 170"/>
                <a:gd name="T36" fmla="*/ 96 w 170"/>
                <a:gd name="T37" fmla="*/ 14 h 170"/>
                <a:gd name="T38" fmla="*/ 140 w 170"/>
                <a:gd name="T39" fmla="*/ 40 h 170"/>
                <a:gd name="T40" fmla="*/ 98 w 170"/>
                <a:gd name="T41" fmla="*/ 62 h 170"/>
                <a:gd name="T42" fmla="*/ 96 w 170"/>
                <a:gd name="T43" fmla="*/ 14 h 170"/>
                <a:gd name="T44" fmla="*/ 96 w 170"/>
                <a:gd name="T45" fmla="*/ 155 h 170"/>
                <a:gd name="T46" fmla="*/ 98 w 170"/>
                <a:gd name="T47" fmla="*/ 107 h 170"/>
                <a:gd name="T48" fmla="*/ 140 w 170"/>
                <a:gd name="T49" fmla="*/ 130 h 170"/>
                <a:gd name="T50" fmla="*/ 96 w 170"/>
                <a:gd name="T51" fmla="*/ 155 h 170"/>
                <a:gd name="T52" fmla="*/ 111 w 170"/>
                <a:gd name="T53" fmla="*/ 85 h 170"/>
                <a:gd name="T54" fmla="*/ 151 w 170"/>
                <a:gd name="T55" fmla="*/ 59 h 170"/>
                <a:gd name="T56" fmla="*/ 156 w 170"/>
                <a:gd name="T57" fmla="*/ 85 h 170"/>
                <a:gd name="T58" fmla="*/ 151 w 170"/>
                <a:gd name="T59" fmla="*/ 110 h 170"/>
                <a:gd name="T60" fmla="*/ 111 w 170"/>
                <a:gd name="T61" fmla="*/ 85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70" h="170">
                  <a:moveTo>
                    <a:pt x="85" y="0"/>
                  </a:moveTo>
                  <a:cubicBezTo>
                    <a:pt x="38" y="0"/>
                    <a:pt x="0" y="38"/>
                    <a:pt x="0" y="85"/>
                  </a:cubicBezTo>
                  <a:cubicBezTo>
                    <a:pt x="0" y="132"/>
                    <a:pt x="38" y="170"/>
                    <a:pt x="85" y="170"/>
                  </a:cubicBezTo>
                  <a:cubicBezTo>
                    <a:pt x="131" y="170"/>
                    <a:pt x="170" y="132"/>
                    <a:pt x="170" y="85"/>
                  </a:cubicBezTo>
                  <a:cubicBezTo>
                    <a:pt x="170" y="38"/>
                    <a:pt x="131" y="0"/>
                    <a:pt x="85" y="0"/>
                  </a:cubicBezTo>
                  <a:close/>
                  <a:moveTo>
                    <a:pt x="18" y="110"/>
                  </a:moveTo>
                  <a:cubicBezTo>
                    <a:pt x="15" y="102"/>
                    <a:pt x="13" y="94"/>
                    <a:pt x="13" y="85"/>
                  </a:cubicBezTo>
                  <a:cubicBezTo>
                    <a:pt x="13" y="76"/>
                    <a:pt x="15" y="67"/>
                    <a:pt x="18" y="59"/>
                  </a:cubicBezTo>
                  <a:cubicBezTo>
                    <a:pt x="32" y="59"/>
                    <a:pt x="51" y="77"/>
                    <a:pt x="59" y="85"/>
                  </a:cubicBezTo>
                  <a:cubicBezTo>
                    <a:pt x="51" y="92"/>
                    <a:pt x="32" y="110"/>
                    <a:pt x="18" y="110"/>
                  </a:cubicBezTo>
                  <a:close/>
                  <a:moveTo>
                    <a:pt x="73" y="155"/>
                  </a:moveTo>
                  <a:cubicBezTo>
                    <a:pt x="56" y="153"/>
                    <a:pt x="40" y="143"/>
                    <a:pt x="29" y="130"/>
                  </a:cubicBezTo>
                  <a:cubicBezTo>
                    <a:pt x="36" y="118"/>
                    <a:pt x="61" y="110"/>
                    <a:pt x="72" y="107"/>
                  </a:cubicBezTo>
                  <a:cubicBezTo>
                    <a:pt x="74" y="118"/>
                    <a:pt x="80" y="144"/>
                    <a:pt x="73" y="155"/>
                  </a:cubicBezTo>
                  <a:close/>
                  <a:moveTo>
                    <a:pt x="72" y="62"/>
                  </a:moveTo>
                  <a:cubicBezTo>
                    <a:pt x="61" y="60"/>
                    <a:pt x="36" y="52"/>
                    <a:pt x="29" y="40"/>
                  </a:cubicBezTo>
                  <a:cubicBezTo>
                    <a:pt x="40" y="26"/>
                    <a:pt x="56" y="17"/>
                    <a:pt x="73" y="14"/>
                  </a:cubicBezTo>
                  <a:cubicBezTo>
                    <a:pt x="80" y="26"/>
                    <a:pt x="74" y="52"/>
                    <a:pt x="72" y="62"/>
                  </a:cubicBezTo>
                  <a:close/>
                  <a:moveTo>
                    <a:pt x="96" y="14"/>
                  </a:moveTo>
                  <a:cubicBezTo>
                    <a:pt x="114" y="17"/>
                    <a:pt x="129" y="26"/>
                    <a:pt x="140" y="40"/>
                  </a:cubicBezTo>
                  <a:cubicBezTo>
                    <a:pt x="133" y="52"/>
                    <a:pt x="108" y="60"/>
                    <a:pt x="98" y="62"/>
                  </a:cubicBezTo>
                  <a:cubicBezTo>
                    <a:pt x="95" y="52"/>
                    <a:pt x="89" y="26"/>
                    <a:pt x="96" y="14"/>
                  </a:cubicBezTo>
                  <a:close/>
                  <a:moveTo>
                    <a:pt x="96" y="155"/>
                  </a:moveTo>
                  <a:cubicBezTo>
                    <a:pt x="89" y="144"/>
                    <a:pt x="95" y="118"/>
                    <a:pt x="98" y="107"/>
                  </a:cubicBezTo>
                  <a:cubicBezTo>
                    <a:pt x="108" y="110"/>
                    <a:pt x="133" y="118"/>
                    <a:pt x="140" y="130"/>
                  </a:cubicBezTo>
                  <a:cubicBezTo>
                    <a:pt x="129" y="143"/>
                    <a:pt x="114" y="153"/>
                    <a:pt x="96" y="155"/>
                  </a:cubicBezTo>
                  <a:close/>
                  <a:moveTo>
                    <a:pt x="111" y="85"/>
                  </a:moveTo>
                  <a:cubicBezTo>
                    <a:pt x="118" y="77"/>
                    <a:pt x="138" y="59"/>
                    <a:pt x="151" y="59"/>
                  </a:cubicBezTo>
                  <a:cubicBezTo>
                    <a:pt x="154" y="67"/>
                    <a:pt x="156" y="76"/>
                    <a:pt x="156" y="85"/>
                  </a:cubicBezTo>
                  <a:cubicBezTo>
                    <a:pt x="156" y="94"/>
                    <a:pt x="154" y="102"/>
                    <a:pt x="151" y="110"/>
                  </a:cubicBezTo>
                  <a:cubicBezTo>
                    <a:pt x="138" y="110"/>
                    <a:pt x="118" y="92"/>
                    <a:pt x="111" y="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1" name="Freeform 176"/>
            <p:cNvSpPr>
              <a:spLocks noEditPoints="1"/>
            </p:cNvSpPr>
            <p:nvPr userDrawn="1"/>
          </p:nvSpPr>
          <p:spPr bwMode="auto">
            <a:xfrm>
              <a:off x="3722" y="2470"/>
              <a:ext cx="76" cy="77"/>
            </a:xfrm>
            <a:custGeom>
              <a:avLst/>
              <a:gdLst>
                <a:gd name="T0" fmla="*/ 84 w 169"/>
                <a:gd name="T1" fmla="*/ 0 h 170"/>
                <a:gd name="T2" fmla="*/ 0 w 169"/>
                <a:gd name="T3" fmla="*/ 85 h 170"/>
                <a:gd name="T4" fmla="*/ 84 w 169"/>
                <a:gd name="T5" fmla="*/ 170 h 170"/>
                <a:gd name="T6" fmla="*/ 169 w 169"/>
                <a:gd name="T7" fmla="*/ 85 h 170"/>
                <a:gd name="T8" fmla="*/ 84 w 169"/>
                <a:gd name="T9" fmla="*/ 0 h 170"/>
                <a:gd name="T10" fmla="*/ 18 w 169"/>
                <a:gd name="T11" fmla="*/ 110 h 170"/>
                <a:gd name="T12" fmla="*/ 13 w 169"/>
                <a:gd name="T13" fmla="*/ 85 h 170"/>
                <a:gd name="T14" fmla="*/ 18 w 169"/>
                <a:gd name="T15" fmla="*/ 59 h 170"/>
                <a:gd name="T16" fmla="*/ 58 w 169"/>
                <a:gd name="T17" fmla="*/ 85 h 170"/>
                <a:gd name="T18" fmla="*/ 18 w 169"/>
                <a:gd name="T19" fmla="*/ 110 h 170"/>
                <a:gd name="T20" fmla="*/ 73 w 169"/>
                <a:gd name="T21" fmla="*/ 155 h 170"/>
                <a:gd name="T22" fmla="*/ 29 w 169"/>
                <a:gd name="T23" fmla="*/ 130 h 170"/>
                <a:gd name="T24" fmla="*/ 71 w 169"/>
                <a:gd name="T25" fmla="*/ 107 h 170"/>
                <a:gd name="T26" fmla="*/ 73 w 169"/>
                <a:gd name="T27" fmla="*/ 155 h 170"/>
                <a:gd name="T28" fmla="*/ 71 w 169"/>
                <a:gd name="T29" fmla="*/ 62 h 170"/>
                <a:gd name="T30" fmla="*/ 29 w 169"/>
                <a:gd name="T31" fmla="*/ 40 h 170"/>
                <a:gd name="T32" fmla="*/ 73 w 169"/>
                <a:gd name="T33" fmla="*/ 14 h 170"/>
                <a:gd name="T34" fmla="*/ 71 w 169"/>
                <a:gd name="T35" fmla="*/ 62 h 170"/>
                <a:gd name="T36" fmla="*/ 96 w 169"/>
                <a:gd name="T37" fmla="*/ 14 h 170"/>
                <a:gd name="T38" fmla="*/ 140 w 169"/>
                <a:gd name="T39" fmla="*/ 40 h 170"/>
                <a:gd name="T40" fmla="*/ 97 w 169"/>
                <a:gd name="T41" fmla="*/ 62 h 170"/>
                <a:gd name="T42" fmla="*/ 96 w 169"/>
                <a:gd name="T43" fmla="*/ 14 h 170"/>
                <a:gd name="T44" fmla="*/ 96 w 169"/>
                <a:gd name="T45" fmla="*/ 155 h 170"/>
                <a:gd name="T46" fmla="*/ 97 w 169"/>
                <a:gd name="T47" fmla="*/ 107 h 170"/>
                <a:gd name="T48" fmla="*/ 140 w 169"/>
                <a:gd name="T49" fmla="*/ 130 h 170"/>
                <a:gd name="T50" fmla="*/ 96 w 169"/>
                <a:gd name="T51" fmla="*/ 155 h 170"/>
                <a:gd name="T52" fmla="*/ 110 w 169"/>
                <a:gd name="T53" fmla="*/ 85 h 170"/>
                <a:gd name="T54" fmla="*/ 151 w 169"/>
                <a:gd name="T55" fmla="*/ 59 h 170"/>
                <a:gd name="T56" fmla="*/ 156 w 169"/>
                <a:gd name="T57" fmla="*/ 85 h 170"/>
                <a:gd name="T58" fmla="*/ 151 w 169"/>
                <a:gd name="T59" fmla="*/ 110 h 170"/>
                <a:gd name="T60" fmla="*/ 110 w 169"/>
                <a:gd name="T61" fmla="*/ 85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69" h="170">
                  <a:moveTo>
                    <a:pt x="84" y="0"/>
                  </a:moveTo>
                  <a:cubicBezTo>
                    <a:pt x="38" y="0"/>
                    <a:pt x="0" y="38"/>
                    <a:pt x="0" y="85"/>
                  </a:cubicBezTo>
                  <a:cubicBezTo>
                    <a:pt x="0" y="132"/>
                    <a:pt x="38" y="170"/>
                    <a:pt x="84" y="170"/>
                  </a:cubicBezTo>
                  <a:cubicBezTo>
                    <a:pt x="131" y="170"/>
                    <a:pt x="169" y="132"/>
                    <a:pt x="169" y="85"/>
                  </a:cubicBezTo>
                  <a:cubicBezTo>
                    <a:pt x="169" y="38"/>
                    <a:pt x="131" y="0"/>
                    <a:pt x="84" y="0"/>
                  </a:cubicBezTo>
                  <a:close/>
                  <a:moveTo>
                    <a:pt x="18" y="110"/>
                  </a:moveTo>
                  <a:cubicBezTo>
                    <a:pt x="15" y="102"/>
                    <a:pt x="13" y="94"/>
                    <a:pt x="13" y="85"/>
                  </a:cubicBezTo>
                  <a:cubicBezTo>
                    <a:pt x="13" y="76"/>
                    <a:pt x="15" y="67"/>
                    <a:pt x="18" y="59"/>
                  </a:cubicBezTo>
                  <a:cubicBezTo>
                    <a:pt x="31" y="59"/>
                    <a:pt x="51" y="77"/>
                    <a:pt x="58" y="85"/>
                  </a:cubicBezTo>
                  <a:cubicBezTo>
                    <a:pt x="51" y="92"/>
                    <a:pt x="31" y="110"/>
                    <a:pt x="18" y="110"/>
                  </a:cubicBezTo>
                  <a:close/>
                  <a:moveTo>
                    <a:pt x="73" y="155"/>
                  </a:moveTo>
                  <a:cubicBezTo>
                    <a:pt x="55" y="153"/>
                    <a:pt x="40" y="143"/>
                    <a:pt x="29" y="130"/>
                  </a:cubicBezTo>
                  <a:cubicBezTo>
                    <a:pt x="36" y="118"/>
                    <a:pt x="61" y="110"/>
                    <a:pt x="71" y="107"/>
                  </a:cubicBezTo>
                  <a:cubicBezTo>
                    <a:pt x="74" y="118"/>
                    <a:pt x="80" y="144"/>
                    <a:pt x="73" y="155"/>
                  </a:cubicBezTo>
                  <a:close/>
                  <a:moveTo>
                    <a:pt x="71" y="62"/>
                  </a:moveTo>
                  <a:cubicBezTo>
                    <a:pt x="61" y="60"/>
                    <a:pt x="36" y="52"/>
                    <a:pt x="29" y="40"/>
                  </a:cubicBezTo>
                  <a:cubicBezTo>
                    <a:pt x="40" y="26"/>
                    <a:pt x="55" y="17"/>
                    <a:pt x="73" y="14"/>
                  </a:cubicBezTo>
                  <a:cubicBezTo>
                    <a:pt x="80" y="26"/>
                    <a:pt x="74" y="52"/>
                    <a:pt x="71" y="62"/>
                  </a:cubicBezTo>
                  <a:close/>
                  <a:moveTo>
                    <a:pt x="96" y="14"/>
                  </a:moveTo>
                  <a:cubicBezTo>
                    <a:pt x="113" y="17"/>
                    <a:pt x="129" y="26"/>
                    <a:pt x="140" y="40"/>
                  </a:cubicBezTo>
                  <a:cubicBezTo>
                    <a:pt x="133" y="52"/>
                    <a:pt x="108" y="60"/>
                    <a:pt x="97" y="62"/>
                  </a:cubicBezTo>
                  <a:cubicBezTo>
                    <a:pt x="95" y="52"/>
                    <a:pt x="89" y="26"/>
                    <a:pt x="96" y="14"/>
                  </a:cubicBezTo>
                  <a:close/>
                  <a:moveTo>
                    <a:pt x="96" y="155"/>
                  </a:moveTo>
                  <a:cubicBezTo>
                    <a:pt x="89" y="144"/>
                    <a:pt x="95" y="118"/>
                    <a:pt x="97" y="107"/>
                  </a:cubicBezTo>
                  <a:cubicBezTo>
                    <a:pt x="108" y="110"/>
                    <a:pt x="133" y="118"/>
                    <a:pt x="140" y="130"/>
                  </a:cubicBezTo>
                  <a:cubicBezTo>
                    <a:pt x="129" y="143"/>
                    <a:pt x="113" y="153"/>
                    <a:pt x="96" y="155"/>
                  </a:cubicBezTo>
                  <a:close/>
                  <a:moveTo>
                    <a:pt x="110" y="85"/>
                  </a:moveTo>
                  <a:cubicBezTo>
                    <a:pt x="118" y="77"/>
                    <a:pt x="137" y="59"/>
                    <a:pt x="151" y="59"/>
                  </a:cubicBezTo>
                  <a:cubicBezTo>
                    <a:pt x="154" y="67"/>
                    <a:pt x="156" y="76"/>
                    <a:pt x="156" y="85"/>
                  </a:cubicBezTo>
                  <a:cubicBezTo>
                    <a:pt x="156" y="94"/>
                    <a:pt x="154" y="102"/>
                    <a:pt x="151" y="110"/>
                  </a:cubicBezTo>
                  <a:cubicBezTo>
                    <a:pt x="137" y="110"/>
                    <a:pt x="118" y="92"/>
                    <a:pt x="110" y="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2" name="Freeform 177"/>
            <p:cNvSpPr>
              <a:spLocks/>
            </p:cNvSpPr>
            <p:nvPr userDrawn="1"/>
          </p:nvSpPr>
          <p:spPr bwMode="auto">
            <a:xfrm>
              <a:off x="3656" y="2484"/>
              <a:ext cx="7" cy="7"/>
            </a:xfrm>
            <a:custGeom>
              <a:avLst/>
              <a:gdLst>
                <a:gd name="T0" fmla="*/ 14 w 15"/>
                <a:gd name="T1" fmla="*/ 14 h 14"/>
                <a:gd name="T2" fmla="*/ 15 w 15"/>
                <a:gd name="T3" fmla="*/ 0 h 14"/>
                <a:gd name="T4" fmla="*/ 0 w 15"/>
                <a:gd name="T5" fmla="*/ 8 h 14"/>
                <a:gd name="T6" fmla="*/ 14 w 15"/>
                <a:gd name="T7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4">
                  <a:moveTo>
                    <a:pt x="14" y="14"/>
                  </a:moveTo>
                  <a:cubicBezTo>
                    <a:pt x="15" y="8"/>
                    <a:pt x="15" y="4"/>
                    <a:pt x="15" y="0"/>
                  </a:cubicBezTo>
                  <a:cubicBezTo>
                    <a:pt x="10" y="2"/>
                    <a:pt x="5" y="5"/>
                    <a:pt x="0" y="8"/>
                  </a:cubicBezTo>
                  <a:cubicBezTo>
                    <a:pt x="4" y="10"/>
                    <a:pt x="8" y="12"/>
                    <a:pt x="14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3" name="Freeform 178"/>
            <p:cNvSpPr>
              <a:spLocks/>
            </p:cNvSpPr>
            <p:nvPr userDrawn="1"/>
          </p:nvSpPr>
          <p:spPr bwMode="auto">
            <a:xfrm>
              <a:off x="3646" y="2505"/>
              <a:ext cx="6" cy="7"/>
            </a:xfrm>
            <a:custGeom>
              <a:avLst/>
              <a:gdLst>
                <a:gd name="T0" fmla="*/ 1 w 13"/>
                <a:gd name="T1" fmla="*/ 0 h 17"/>
                <a:gd name="T2" fmla="*/ 0 w 13"/>
                <a:gd name="T3" fmla="*/ 9 h 17"/>
                <a:gd name="T4" fmla="*/ 1 w 13"/>
                <a:gd name="T5" fmla="*/ 17 h 17"/>
                <a:gd name="T6" fmla="*/ 13 w 13"/>
                <a:gd name="T7" fmla="*/ 9 h 17"/>
                <a:gd name="T8" fmla="*/ 1 w 13"/>
                <a:gd name="T9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7">
                  <a:moveTo>
                    <a:pt x="1" y="0"/>
                  </a:moveTo>
                  <a:cubicBezTo>
                    <a:pt x="1" y="3"/>
                    <a:pt x="0" y="6"/>
                    <a:pt x="0" y="9"/>
                  </a:cubicBezTo>
                  <a:cubicBezTo>
                    <a:pt x="0" y="12"/>
                    <a:pt x="1" y="15"/>
                    <a:pt x="1" y="17"/>
                  </a:cubicBezTo>
                  <a:cubicBezTo>
                    <a:pt x="4" y="15"/>
                    <a:pt x="8" y="12"/>
                    <a:pt x="13" y="9"/>
                  </a:cubicBezTo>
                  <a:cubicBezTo>
                    <a:pt x="8" y="5"/>
                    <a:pt x="4" y="2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4" name="Freeform 179"/>
            <p:cNvSpPr>
              <a:spLocks/>
            </p:cNvSpPr>
            <p:nvPr userDrawn="1"/>
          </p:nvSpPr>
          <p:spPr bwMode="auto">
            <a:xfrm>
              <a:off x="3656" y="2526"/>
              <a:ext cx="7" cy="7"/>
            </a:xfrm>
            <a:custGeom>
              <a:avLst/>
              <a:gdLst>
                <a:gd name="T0" fmla="*/ 0 w 15"/>
                <a:gd name="T1" fmla="*/ 6 h 15"/>
                <a:gd name="T2" fmla="*/ 15 w 15"/>
                <a:gd name="T3" fmla="*/ 15 h 15"/>
                <a:gd name="T4" fmla="*/ 14 w 15"/>
                <a:gd name="T5" fmla="*/ 0 h 15"/>
                <a:gd name="T6" fmla="*/ 0 w 15"/>
                <a:gd name="T7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5">
                  <a:moveTo>
                    <a:pt x="0" y="6"/>
                  </a:moveTo>
                  <a:cubicBezTo>
                    <a:pt x="5" y="10"/>
                    <a:pt x="10" y="13"/>
                    <a:pt x="15" y="15"/>
                  </a:cubicBezTo>
                  <a:cubicBezTo>
                    <a:pt x="15" y="11"/>
                    <a:pt x="15" y="6"/>
                    <a:pt x="14" y="0"/>
                  </a:cubicBezTo>
                  <a:cubicBezTo>
                    <a:pt x="8" y="2"/>
                    <a:pt x="4" y="4"/>
                    <a:pt x="0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5" name="Freeform 180"/>
            <p:cNvSpPr>
              <a:spLocks/>
            </p:cNvSpPr>
            <p:nvPr userDrawn="1"/>
          </p:nvSpPr>
          <p:spPr bwMode="auto">
            <a:xfrm>
              <a:off x="3693" y="2505"/>
              <a:ext cx="6" cy="7"/>
            </a:xfrm>
            <a:custGeom>
              <a:avLst/>
              <a:gdLst>
                <a:gd name="T0" fmla="*/ 0 w 13"/>
                <a:gd name="T1" fmla="*/ 9 h 17"/>
                <a:gd name="T2" fmla="*/ 12 w 13"/>
                <a:gd name="T3" fmla="*/ 17 h 17"/>
                <a:gd name="T4" fmla="*/ 13 w 13"/>
                <a:gd name="T5" fmla="*/ 9 h 17"/>
                <a:gd name="T6" fmla="*/ 12 w 13"/>
                <a:gd name="T7" fmla="*/ 0 h 17"/>
                <a:gd name="T8" fmla="*/ 0 w 13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7">
                  <a:moveTo>
                    <a:pt x="0" y="9"/>
                  </a:moveTo>
                  <a:cubicBezTo>
                    <a:pt x="5" y="12"/>
                    <a:pt x="9" y="15"/>
                    <a:pt x="12" y="17"/>
                  </a:cubicBezTo>
                  <a:cubicBezTo>
                    <a:pt x="13" y="15"/>
                    <a:pt x="13" y="12"/>
                    <a:pt x="13" y="9"/>
                  </a:cubicBezTo>
                  <a:cubicBezTo>
                    <a:pt x="13" y="6"/>
                    <a:pt x="13" y="3"/>
                    <a:pt x="12" y="0"/>
                  </a:cubicBezTo>
                  <a:cubicBezTo>
                    <a:pt x="9" y="2"/>
                    <a:pt x="5" y="5"/>
                    <a:pt x="0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6" name="Freeform 181"/>
            <p:cNvSpPr>
              <a:spLocks/>
            </p:cNvSpPr>
            <p:nvPr userDrawn="1"/>
          </p:nvSpPr>
          <p:spPr bwMode="auto">
            <a:xfrm>
              <a:off x="3709" y="2515"/>
              <a:ext cx="14" cy="18"/>
            </a:xfrm>
            <a:custGeom>
              <a:avLst/>
              <a:gdLst>
                <a:gd name="T0" fmla="*/ 0 w 32"/>
                <a:gd name="T1" fmla="*/ 41 h 41"/>
                <a:gd name="T2" fmla="*/ 32 w 32"/>
                <a:gd name="T3" fmla="*/ 41 h 41"/>
                <a:gd name="T4" fmla="*/ 16 w 32"/>
                <a:gd name="T5" fmla="*/ 0 h 41"/>
                <a:gd name="T6" fmla="*/ 0 w 32"/>
                <a:gd name="T7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41">
                  <a:moveTo>
                    <a:pt x="0" y="41"/>
                  </a:moveTo>
                  <a:cubicBezTo>
                    <a:pt x="32" y="41"/>
                    <a:pt x="32" y="41"/>
                    <a:pt x="32" y="41"/>
                  </a:cubicBezTo>
                  <a:cubicBezTo>
                    <a:pt x="24" y="29"/>
                    <a:pt x="18" y="15"/>
                    <a:pt x="16" y="0"/>
                  </a:cubicBezTo>
                  <a:cubicBezTo>
                    <a:pt x="14" y="15"/>
                    <a:pt x="8" y="29"/>
                    <a:pt x="0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7" name="Freeform 182"/>
            <p:cNvSpPr>
              <a:spLocks/>
            </p:cNvSpPr>
            <p:nvPr userDrawn="1"/>
          </p:nvSpPr>
          <p:spPr bwMode="auto">
            <a:xfrm>
              <a:off x="3682" y="2484"/>
              <a:ext cx="7" cy="7"/>
            </a:xfrm>
            <a:custGeom>
              <a:avLst/>
              <a:gdLst>
                <a:gd name="T0" fmla="*/ 15 w 15"/>
                <a:gd name="T1" fmla="*/ 8 h 14"/>
                <a:gd name="T2" fmla="*/ 0 w 15"/>
                <a:gd name="T3" fmla="*/ 0 h 14"/>
                <a:gd name="T4" fmla="*/ 1 w 15"/>
                <a:gd name="T5" fmla="*/ 14 h 14"/>
                <a:gd name="T6" fmla="*/ 15 w 15"/>
                <a:gd name="T7" fmla="*/ 8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4">
                  <a:moveTo>
                    <a:pt x="15" y="8"/>
                  </a:moveTo>
                  <a:cubicBezTo>
                    <a:pt x="10" y="5"/>
                    <a:pt x="5" y="2"/>
                    <a:pt x="0" y="0"/>
                  </a:cubicBezTo>
                  <a:cubicBezTo>
                    <a:pt x="0" y="4"/>
                    <a:pt x="0" y="8"/>
                    <a:pt x="1" y="14"/>
                  </a:cubicBezTo>
                  <a:cubicBezTo>
                    <a:pt x="7" y="12"/>
                    <a:pt x="11" y="10"/>
                    <a:pt x="15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8" name="Freeform 183"/>
            <p:cNvSpPr>
              <a:spLocks/>
            </p:cNvSpPr>
            <p:nvPr userDrawn="1"/>
          </p:nvSpPr>
          <p:spPr bwMode="auto">
            <a:xfrm>
              <a:off x="3621" y="2515"/>
              <a:ext cx="15" cy="18"/>
            </a:xfrm>
            <a:custGeom>
              <a:avLst/>
              <a:gdLst>
                <a:gd name="T0" fmla="*/ 0 w 32"/>
                <a:gd name="T1" fmla="*/ 41 h 41"/>
                <a:gd name="T2" fmla="*/ 32 w 32"/>
                <a:gd name="T3" fmla="*/ 41 h 41"/>
                <a:gd name="T4" fmla="*/ 16 w 32"/>
                <a:gd name="T5" fmla="*/ 0 h 41"/>
                <a:gd name="T6" fmla="*/ 0 w 32"/>
                <a:gd name="T7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41">
                  <a:moveTo>
                    <a:pt x="0" y="41"/>
                  </a:moveTo>
                  <a:cubicBezTo>
                    <a:pt x="32" y="41"/>
                    <a:pt x="32" y="41"/>
                    <a:pt x="32" y="41"/>
                  </a:cubicBezTo>
                  <a:cubicBezTo>
                    <a:pt x="24" y="29"/>
                    <a:pt x="18" y="15"/>
                    <a:pt x="16" y="0"/>
                  </a:cubicBezTo>
                  <a:cubicBezTo>
                    <a:pt x="14" y="15"/>
                    <a:pt x="9" y="29"/>
                    <a:pt x="0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9" name="Freeform 184"/>
            <p:cNvSpPr>
              <a:spLocks/>
            </p:cNvSpPr>
            <p:nvPr userDrawn="1"/>
          </p:nvSpPr>
          <p:spPr bwMode="auto">
            <a:xfrm>
              <a:off x="3605" y="2505"/>
              <a:ext cx="6" cy="7"/>
            </a:xfrm>
            <a:custGeom>
              <a:avLst/>
              <a:gdLst>
                <a:gd name="T0" fmla="*/ 0 w 12"/>
                <a:gd name="T1" fmla="*/ 9 h 17"/>
                <a:gd name="T2" fmla="*/ 11 w 12"/>
                <a:gd name="T3" fmla="*/ 17 h 17"/>
                <a:gd name="T4" fmla="*/ 12 w 12"/>
                <a:gd name="T5" fmla="*/ 9 h 17"/>
                <a:gd name="T6" fmla="*/ 11 w 12"/>
                <a:gd name="T7" fmla="*/ 0 h 17"/>
                <a:gd name="T8" fmla="*/ 0 w 12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7">
                  <a:moveTo>
                    <a:pt x="0" y="9"/>
                  </a:moveTo>
                  <a:cubicBezTo>
                    <a:pt x="4" y="12"/>
                    <a:pt x="8" y="15"/>
                    <a:pt x="11" y="17"/>
                  </a:cubicBezTo>
                  <a:cubicBezTo>
                    <a:pt x="12" y="15"/>
                    <a:pt x="12" y="12"/>
                    <a:pt x="12" y="9"/>
                  </a:cubicBezTo>
                  <a:cubicBezTo>
                    <a:pt x="12" y="6"/>
                    <a:pt x="12" y="3"/>
                    <a:pt x="11" y="0"/>
                  </a:cubicBezTo>
                  <a:cubicBezTo>
                    <a:pt x="8" y="2"/>
                    <a:pt x="4" y="5"/>
                    <a:pt x="0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00" name="Freeform 185"/>
            <p:cNvSpPr>
              <a:spLocks/>
            </p:cNvSpPr>
            <p:nvPr userDrawn="1"/>
          </p:nvSpPr>
          <p:spPr bwMode="auto">
            <a:xfrm>
              <a:off x="3568" y="2484"/>
              <a:ext cx="7" cy="7"/>
            </a:xfrm>
            <a:custGeom>
              <a:avLst/>
              <a:gdLst>
                <a:gd name="T0" fmla="*/ 13 w 14"/>
                <a:gd name="T1" fmla="*/ 14 h 14"/>
                <a:gd name="T2" fmla="*/ 14 w 14"/>
                <a:gd name="T3" fmla="*/ 0 h 14"/>
                <a:gd name="T4" fmla="*/ 0 w 14"/>
                <a:gd name="T5" fmla="*/ 8 h 14"/>
                <a:gd name="T6" fmla="*/ 13 w 14"/>
                <a:gd name="T7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14">
                  <a:moveTo>
                    <a:pt x="13" y="14"/>
                  </a:moveTo>
                  <a:cubicBezTo>
                    <a:pt x="14" y="8"/>
                    <a:pt x="14" y="4"/>
                    <a:pt x="14" y="0"/>
                  </a:cubicBezTo>
                  <a:cubicBezTo>
                    <a:pt x="9" y="2"/>
                    <a:pt x="4" y="5"/>
                    <a:pt x="0" y="8"/>
                  </a:cubicBezTo>
                  <a:cubicBezTo>
                    <a:pt x="3" y="10"/>
                    <a:pt x="8" y="12"/>
                    <a:pt x="13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01" name="Freeform 186"/>
            <p:cNvSpPr>
              <a:spLocks/>
            </p:cNvSpPr>
            <p:nvPr userDrawn="1"/>
          </p:nvSpPr>
          <p:spPr bwMode="auto">
            <a:xfrm>
              <a:off x="3559" y="2505"/>
              <a:ext cx="5" cy="7"/>
            </a:xfrm>
            <a:custGeom>
              <a:avLst/>
              <a:gdLst>
                <a:gd name="T0" fmla="*/ 0 w 12"/>
                <a:gd name="T1" fmla="*/ 0 h 17"/>
                <a:gd name="T2" fmla="*/ 0 w 12"/>
                <a:gd name="T3" fmla="*/ 9 h 17"/>
                <a:gd name="T4" fmla="*/ 0 w 12"/>
                <a:gd name="T5" fmla="*/ 17 h 17"/>
                <a:gd name="T6" fmla="*/ 12 w 12"/>
                <a:gd name="T7" fmla="*/ 9 h 17"/>
                <a:gd name="T8" fmla="*/ 0 w 12"/>
                <a:gd name="T9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7">
                  <a:moveTo>
                    <a:pt x="0" y="0"/>
                  </a:moveTo>
                  <a:cubicBezTo>
                    <a:pt x="0" y="3"/>
                    <a:pt x="0" y="6"/>
                    <a:pt x="0" y="9"/>
                  </a:cubicBezTo>
                  <a:cubicBezTo>
                    <a:pt x="0" y="12"/>
                    <a:pt x="0" y="15"/>
                    <a:pt x="0" y="17"/>
                  </a:cubicBezTo>
                  <a:cubicBezTo>
                    <a:pt x="4" y="15"/>
                    <a:pt x="8" y="12"/>
                    <a:pt x="12" y="9"/>
                  </a:cubicBezTo>
                  <a:cubicBezTo>
                    <a:pt x="8" y="5"/>
                    <a:pt x="4" y="2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02" name="Freeform 187"/>
            <p:cNvSpPr>
              <a:spLocks/>
            </p:cNvSpPr>
            <p:nvPr userDrawn="1"/>
          </p:nvSpPr>
          <p:spPr bwMode="auto">
            <a:xfrm>
              <a:off x="3568" y="2526"/>
              <a:ext cx="7" cy="7"/>
            </a:xfrm>
            <a:custGeom>
              <a:avLst/>
              <a:gdLst>
                <a:gd name="T0" fmla="*/ 0 w 14"/>
                <a:gd name="T1" fmla="*/ 6 h 15"/>
                <a:gd name="T2" fmla="*/ 14 w 14"/>
                <a:gd name="T3" fmla="*/ 15 h 15"/>
                <a:gd name="T4" fmla="*/ 13 w 14"/>
                <a:gd name="T5" fmla="*/ 0 h 15"/>
                <a:gd name="T6" fmla="*/ 0 w 14"/>
                <a:gd name="T7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15">
                  <a:moveTo>
                    <a:pt x="0" y="6"/>
                  </a:moveTo>
                  <a:cubicBezTo>
                    <a:pt x="4" y="10"/>
                    <a:pt x="9" y="13"/>
                    <a:pt x="14" y="15"/>
                  </a:cubicBezTo>
                  <a:cubicBezTo>
                    <a:pt x="14" y="11"/>
                    <a:pt x="14" y="6"/>
                    <a:pt x="13" y="0"/>
                  </a:cubicBezTo>
                  <a:cubicBezTo>
                    <a:pt x="8" y="2"/>
                    <a:pt x="3" y="4"/>
                    <a:pt x="0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03" name="Freeform 188"/>
            <p:cNvSpPr>
              <a:spLocks/>
            </p:cNvSpPr>
            <p:nvPr userDrawn="1"/>
          </p:nvSpPr>
          <p:spPr bwMode="auto">
            <a:xfrm>
              <a:off x="3594" y="2484"/>
              <a:ext cx="7" cy="7"/>
            </a:xfrm>
            <a:custGeom>
              <a:avLst/>
              <a:gdLst>
                <a:gd name="T0" fmla="*/ 15 w 15"/>
                <a:gd name="T1" fmla="*/ 8 h 14"/>
                <a:gd name="T2" fmla="*/ 0 w 15"/>
                <a:gd name="T3" fmla="*/ 0 h 14"/>
                <a:gd name="T4" fmla="*/ 2 w 15"/>
                <a:gd name="T5" fmla="*/ 14 h 14"/>
                <a:gd name="T6" fmla="*/ 15 w 15"/>
                <a:gd name="T7" fmla="*/ 8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4">
                  <a:moveTo>
                    <a:pt x="15" y="8"/>
                  </a:moveTo>
                  <a:cubicBezTo>
                    <a:pt x="10" y="5"/>
                    <a:pt x="5" y="2"/>
                    <a:pt x="0" y="0"/>
                  </a:cubicBezTo>
                  <a:cubicBezTo>
                    <a:pt x="0" y="4"/>
                    <a:pt x="1" y="8"/>
                    <a:pt x="2" y="14"/>
                  </a:cubicBezTo>
                  <a:cubicBezTo>
                    <a:pt x="7" y="12"/>
                    <a:pt x="11" y="10"/>
                    <a:pt x="15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04" name="Freeform 189"/>
            <p:cNvSpPr>
              <a:spLocks/>
            </p:cNvSpPr>
            <p:nvPr userDrawn="1"/>
          </p:nvSpPr>
          <p:spPr bwMode="auto">
            <a:xfrm>
              <a:off x="3594" y="2526"/>
              <a:ext cx="7" cy="7"/>
            </a:xfrm>
            <a:custGeom>
              <a:avLst/>
              <a:gdLst>
                <a:gd name="T0" fmla="*/ 0 w 15"/>
                <a:gd name="T1" fmla="*/ 15 h 15"/>
                <a:gd name="T2" fmla="*/ 15 w 15"/>
                <a:gd name="T3" fmla="*/ 6 h 15"/>
                <a:gd name="T4" fmla="*/ 2 w 15"/>
                <a:gd name="T5" fmla="*/ 0 h 15"/>
                <a:gd name="T6" fmla="*/ 0 w 15"/>
                <a:gd name="T7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5">
                  <a:moveTo>
                    <a:pt x="0" y="15"/>
                  </a:moveTo>
                  <a:cubicBezTo>
                    <a:pt x="5" y="13"/>
                    <a:pt x="10" y="10"/>
                    <a:pt x="15" y="6"/>
                  </a:cubicBezTo>
                  <a:cubicBezTo>
                    <a:pt x="11" y="4"/>
                    <a:pt x="7" y="2"/>
                    <a:pt x="2" y="0"/>
                  </a:cubicBezTo>
                  <a:cubicBezTo>
                    <a:pt x="1" y="6"/>
                    <a:pt x="0" y="11"/>
                    <a:pt x="0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05" name="Freeform 190"/>
            <p:cNvSpPr>
              <a:spLocks/>
            </p:cNvSpPr>
            <p:nvPr userDrawn="1"/>
          </p:nvSpPr>
          <p:spPr bwMode="auto">
            <a:xfrm>
              <a:off x="3682" y="2526"/>
              <a:ext cx="7" cy="7"/>
            </a:xfrm>
            <a:custGeom>
              <a:avLst/>
              <a:gdLst>
                <a:gd name="T0" fmla="*/ 0 w 15"/>
                <a:gd name="T1" fmla="*/ 15 h 15"/>
                <a:gd name="T2" fmla="*/ 15 w 15"/>
                <a:gd name="T3" fmla="*/ 6 h 15"/>
                <a:gd name="T4" fmla="*/ 1 w 15"/>
                <a:gd name="T5" fmla="*/ 0 h 15"/>
                <a:gd name="T6" fmla="*/ 0 w 15"/>
                <a:gd name="T7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5">
                  <a:moveTo>
                    <a:pt x="0" y="15"/>
                  </a:moveTo>
                  <a:cubicBezTo>
                    <a:pt x="5" y="13"/>
                    <a:pt x="10" y="10"/>
                    <a:pt x="15" y="6"/>
                  </a:cubicBezTo>
                  <a:cubicBezTo>
                    <a:pt x="11" y="4"/>
                    <a:pt x="7" y="2"/>
                    <a:pt x="1" y="0"/>
                  </a:cubicBezTo>
                  <a:cubicBezTo>
                    <a:pt x="0" y="6"/>
                    <a:pt x="0" y="11"/>
                    <a:pt x="0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06" name="Freeform 191"/>
            <p:cNvSpPr>
              <a:spLocks/>
            </p:cNvSpPr>
            <p:nvPr userDrawn="1"/>
          </p:nvSpPr>
          <p:spPr bwMode="auto">
            <a:xfrm>
              <a:off x="3831" y="2484"/>
              <a:ext cx="7" cy="7"/>
            </a:xfrm>
            <a:custGeom>
              <a:avLst/>
              <a:gdLst>
                <a:gd name="T0" fmla="*/ 13 w 15"/>
                <a:gd name="T1" fmla="*/ 14 h 14"/>
                <a:gd name="T2" fmla="*/ 15 w 15"/>
                <a:gd name="T3" fmla="*/ 0 h 14"/>
                <a:gd name="T4" fmla="*/ 0 w 15"/>
                <a:gd name="T5" fmla="*/ 8 h 14"/>
                <a:gd name="T6" fmla="*/ 13 w 15"/>
                <a:gd name="T7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4">
                  <a:moveTo>
                    <a:pt x="13" y="14"/>
                  </a:moveTo>
                  <a:cubicBezTo>
                    <a:pt x="14" y="8"/>
                    <a:pt x="15" y="4"/>
                    <a:pt x="15" y="0"/>
                  </a:cubicBezTo>
                  <a:cubicBezTo>
                    <a:pt x="10" y="2"/>
                    <a:pt x="5" y="5"/>
                    <a:pt x="0" y="8"/>
                  </a:cubicBezTo>
                  <a:cubicBezTo>
                    <a:pt x="4" y="10"/>
                    <a:pt x="8" y="12"/>
                    <a:pt x="13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07" name="Freeform 192"/>
            <p:cNvSpPr>
              <a:spLocks/>
            </p:cNvSpPr>
            <p:nvPr userDrawn="1"/>
          </p:nvSpPr>
          <p:spPr bwMode="auto">
            <a:xfrm>
              <a:off x="3831" y="2526"/>
              <a:ext cx="7" cy="7"/>
            </a:xfrm>
            <a:custGeom>
              <a:avLst/>
              <a:gdLst>
                <a:gd name="T0" fmla="*/ 0 w 15"/>
                <a:gd name="T1" fmla="*/ 6 h 15"/>
                <a:gd name="T2" fmla="*/ 15 w 15"/>
                <a:gd name="T3" fmla="*/ 15 h 15"/>
                <a:gd name="T4" fmla="*/ 13 w 15"/>
                <a:gd name="T5" fmla="*/ 0 h 15"/>
                <a:gd name="T6" fmla="*/ 0 w 15"/>
                <a:gd name="T7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5">
                  <a:moveTo>
                    <a:pt x="0" y="6"/>
                  </a:moveTo>
                  <a:cubicBezTo>
                    <a:pt x="5" y="10"/>
                    <a:pt x="10" y="13"/>
                    <a:pt x="15" y="15"/>
                  </a:cubicBezTo>
                  <a:cubicBezTo>
                    <a:pt x="15" y="11"/>
                    <a:pt x="14" y="6"/>
                    <a:pt x="13" y="0"/>
                  </a:cubicBezTo>
                  <a:cubicBezTo>
                    <a:pt x="8" y="2"/>
                    <a:pt x="4" y="4"/>
                    <a:pt x="0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08" name="Freeform 193"/>
            <p:cNvSpPr>
              <a:spLocks/>
            </p:cNvSpPr>
            <p:nvPr userDrawn="1"/>
          </p:nvSpPr>
          <p:spPr bwMode="auto">
            <a:xfrm>
              <a:off x="3858" y="2526"/>
              <a:ext cx="6" cy="7"/>
            </a:xfrm>
            <a:custGeom>
              <a:avLst/>
              <a:gdLst>
                <a:gd name="T0" fmla="*/ 0 w 14"/>
                <a:gd name="T1" fmla="*/ 15 h 15"/>
                <a:gd name="T2" fmla="*/ 14 w 14"/>
                <a:gd name="T3" fmla="*/ 6 h 15"/>
                <a:gd name="T4" fmla="*/ 1 w 14"/>
                <a:gd name="T5" fmla="*/ 0 h 15"/>
                <a:gd name="T6" fmla="*/ 0 w 14"/>
                <a:gd name="T7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15">
                  <a:moveTo>
                    <a:pt x="0" y="15"/>
                  </a:moveTo>
                  <a:cubicBezTo>
                    <a:pt x="5" y="13"/>
                    <a:pt x="10" y="10"/>
                    <a:pt x="14" y="6"/>
                  </a:cubicBezTo>
                  <a:cubicBezTo>
                    <a:pt x="11" y="4"/>
                    <a:pt x="6" y="2"/>
                    <a:pt x="1" y="0"/>
                  </a:cubicBezTo>
                  <a:cubicBezTo>
                    <a:pt x="0" y="6"/>
                    <a:pt x="0" y="11"/>
                    <a:pt x="0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09" name="Freeform 194"/>
            <p:cNvSpPr>
              <a:spLocks/>
            </p:cNvSpPr>
            <p:nvPr userDrawn="1"/>
          </p:nvSpPr>
          <p:spPr bwMode="auto">
            <a:xfrm>
              <a:off x="3822" y="2505"/>
              <a:ext cx="5" cy="7"/>
            </a:xfrm>
            <a:custGeom>
              <a:avLst/>
              <a:gdLst>
                <a:gd name="T0" fmla="*/ 1 w 13"/>
                <a:gd name="T1" fmla="*/ 0 h 17"/>
                <a:gd name="T2" fmla="*/ 0 w 13"/>
                <a:gd name="T3" fmla="*/ 9 h 17"/>
                <a:gd name="T4" fmla="*/ 1 w 13"/>
                <a:gd name="T5" fmla="*/ 17 h 17"/>
                <a:gd name="T6" fmla="*/ 13 w 13"/>
                <a:gd name="T7" fmla="*/ 9 h 17"/>
                <a:gd name="T8" fmla="*/ 1 w 13"/>
                <a:gd name="T9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7">
                  <a:moveTo>
                    <a:pt x="1" y="0"/>
                  </a:moveTo>
                  <a:cubicBezTo>
                    <a:pt x="0" y="3"/>
                    <a:pt x="0" y="6"/>
                    <a:pt x="0" y="9"/>
                  </a:cubicBezTo>
                  <a:cubicBezTo>
                    <a:pt x="0" y="12"/>
                    <a:pt x="0" y="15"/>
                    <a:pt x="1" y="17"/>
                  </a:cubicBezTo>
                  <a:cubicBezTo>
                    <a:pt x="4" y="15"/>
                    <a:pt x="8" y="12"/>
                    <a:pt x="13" y="9"/>
                  </a:cubicBezTo>
                  <a:cubicBezTo>
                    <a:pt x="8" y="5"/>
                    <a:pt x="4" y="2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10" name="Freeform 195"/>
            <p:cNvSpPr>
              <a:spLocks/>
            </p:cNvSpPr>
            <p:nvPr userDrawn="1"/>
          </p:nvSpPr>
          <p:spPr bwMode="auto">
            <a:xfrm>
              <a:off x="3868" y="2505"/>
              <a:ext cx="6" cy="7"/>
            </a:xfrm>
            <a:custGeom>
              <a:avLst/>
              <a:gdLst>
                <a:gd name="T0" fmla="*/ 0 w 12"/>
                <a:gd name="T1" fmla="*/ 9 h 17"/>
                <a:gd name="T2" fmla="*/ 12 w 12"/>
                <a:gd name="T3" fmla="*/ 17 h 17"/>
                <a:gd name="T4" fmla="*/ 12 w 12"/>
                <a:gd name="T5" fmla="*/ 9 h 17"/>
                <a:gd name="T6" fmla="*/ 12 w 12"/>
                <a:gd name="T7" fmla="*/ 0 h 17"/>
                <a:gd name="T8" fmla="*/ 0 w 12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7">
                  <a:moveTo>
                    <a:pt x="0" y="9"/>
                  </a:moveTo>
                  <a:cubicBezTo>
                    <a:pt x="4" y="12"/>
                    <a:pt x="8" y="15"/>
                    <a:pt x="12" y="17"/>
                  </a:cubicBezTo>
                  <a:cubicBezTo>
                    <a:pt x="12" y="15"/>
                    <a:pt x="12" y="12"/>
                    <a:pt x="12" y="9"/>
                  </a:cubicBezTo>
                  <a:cubicBezTo>
                    <a:pt x="12" y="6"/>
                    <a:pt x="12" y="3"/>
                    <a:pt x="12" y="0"/>
                  </a:cubicBezTo>
                  <a:cubicBezTo>
                    <a:pt x="8" y="2"/>
                    <a:pt x="4" y="5"/>
                    <a:pt x="0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11" name="Freeform 196"/>
            <p:cNvSpPr>
              <a:spLocks/>
            </p:cNvSpPr>
            <p:nvPr userDrawn="1"/>
          </p:nvSpPr>
          <p:spPr bwMode="auto">
            <a:xfrm>
              <a:off x="3858" y="2484"/>
              <a:ext cx="6" cy="7"/>
            </a:xfrm>
            <a:custGeom>
              <a:avLst/>
              <a:gdLst>
                <a:gd name="T0" fmla="*/ 14 w 14"/>
                <a:gd name="T1" fmla="*/ 8 h 14"/>
                <a:gd name="T2" fmla="*/ 0 w 14"/>
                <a:gd name="T3" fmla="*/ 0 h 14"/>
                <a:gd name="T4" fmla="*/ 1 w 14"/>
                <a:gd name="T5" fmla="*/ 14 h 14"/>
                <a:gd name="T6" fmla="*/ 14 w 14"/>
                <a:gd name="T7" fmla="*/ 8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14">
                  <a:moveTo>
                    <a:pt x="14" y="8"/>
                  </a:moveTo>
                  <a:cubicBezTo>
                    <a:pt x="10" y="5"/>
                    <a:pt x="5" y="2"/>
                    <a:pt x="0" y="0"/>
                  </a:cubicBezTo>
                  <a:cubicBezTo>
                    <a:pt x="0" y="4"/>
                    <a:pt x="0" y="8"/>
                    <a:pt x="1" y="14"/>
                  </a:cubicBezTo>
                  <a:cubicBezTo>
                    <a:pt x="6" y="12"/>
                    <a:pt x="11" y="10"/>
                    <a:pt x="14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12" name="Freeform 197"/>
            <p:cNvSpPr>
              <a:spLocks/>
            </p:cNvSpPr>
            <p:nvPr userDrawn="1"/>
          </p:nvSpPr>
          <p:spPr bwMode="auto">
            <a:xfrm>
              <a:off x="3770" y="2484"/>
              <a:ext cx="7" cy="7"/>
            </a:xfrm>
            <a:custGeom>
              <a:avLst/>
              <a:gdLst>
                <a:gd name="T0" fmla="*/ 15 w 15"/>
                <a:gd name="T1" fmla="*/ 8 h 14"/>
                <a:gd name="T2" fmla="*/ 0 w 15"/>
                <a:gd name="T3" fmla="*/ 0 h 14"/>
                <a:gd name="T4" fmla="*/ 1 w 15"/>
                <a:gd name="T5" fmla="*/ 14 h 14"/>
                <a:gd name="T6" fmla="*/ 15 w 15"/>
                <a:gd name="T7" fmla="*/ 8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4">
                  <a:moveTo>
                    <a:pt x="15" y="8"/>
                  </a:moveTo>
                  <a:cubicBezTo>
                    <a:pt x="10" y="5"/>
                    <a:pt x="5" y="2"/>
                    <a:pt x="0" y="0"/>
                  </a:cubicBezTo>
                  <a:cubicBezTo>
                    <a:pt x="0" y="4"/>
                    <a:pt x="0" y="8"/>
                    <a:pt x="1" y="14"/>
                  </a:cubicBezTo>
                  <a:cubicBezTo>
                    <a:pt x="7" y="12"/>
                    <a:pt x="11" y="10"/>
                    <a:pt x="15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13" name="Freeform 198"/>
            <p:cNvSpPr>
              <a:spLocks/>
            </p:cNvSpPr>
            <p:nvPr userDrawn="1"/>
          </p:nvSpPr>
          <p:spPr bwMode="auto">
            <a:xfrm>
              <a:off x="3797" y="2515"/>
              <a:ext cx="14" cy="18"/>
            </a:xfrm>
            <a:custGeom>
              <a:avLst/>
              <a:gdLst>
                <a:gd name="T0" fmla="*/ 0 w 32"/>
                <a:gd name="T1" fmla="*/ 41 h 41"/>
                <a:gd name="T2" fmla="*/ 32 w 32"/>
                <a:gd name="T3" fmla="*/ 41 h 41"/>
                <a:gd name="T4" fmla="*/ 16 w 32"/>
                <a:gd name="T5" fmla="*/ 0 h 41"/>
                <a:gd name="T6" fmla="*/ 0 w 32"/>
                <a:gd name="T7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41">
                  <a:moveTo>
                    <a:pt x="0" y="41"/>
                  </a:moveTo>
                  <a:cubicBezTo>
                    <a:pt x="32" y="41"/>
                    <a:pt x="32" y="41"/>
                    <a:pt x="32" y="41"/>
                  </a:cubicBezTo>
                  <a:cubicBezTo>
                    <a:pt x="23" y="29"/>
                    <a:pt x="18" y="15"/>
                    <a:pt x="16" y="0"/>
                  </a:cubicBezTo>
                  <a:cubicBezTo>
                    <a:pt x="14" y="15"/>
                    <a:pt x="8" y="29"/>
                    <a:pt x="0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14" name="Freeform 199"/>
            <p:cNvSpPr>
              <a:spLocks/>
            </p:cNvSpPr>
            <p:nvPr userDrawn="1"/>
          </p:nvSpPr>
          <p:spPr bwMode="auto">
            <a:xfrm>
              <a:off x="3744" y="2526"/>
              <a:ext cx="6" cy="7"/>
            </a:xfrm>
            <a:custGeom>
              <a:avLst/>
              <a:gdLst>
                <a:gd name="T0" fmla="*/ 0 w 15"/>
                <a:gd name="T1" fmla="*/ 6 h 15"/>
                <a:gd name="T2" fmla="*/ 15 w 15"/>
                <a:gd name="T3" fmla="*/ 15 h 15"/>
                <a:gd name="T4" fmla="*/ 14 w 15"/>
                <a:gd name="T5" fmla="*/ 0 h 15"/>
                <a:gd name="T6" fmla="*/ 0 w 15"/>
                <a:gd name="T7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5">
                  <a:moveTo>
                    <a:pt x="0" y="6"/>
                  </a:moveTo>
                  <a:cubicBezTo>
                    <a:pt x="5" y="10"/>
                    <a:pt x="10" y="13"/>
                    <a:pt x="15" y="15"/>
                  </a:cubicBezTo>
                  <a:cubicBezTo>
                    <a:pt x="15" y="11"/>
                    <a:pt x="15" y="6"/>
                    <a:pt x="14" y="0"/>
                  </a:cubicBezTo>
                  <a:cubicBezTo>
                    <a:pt x="8" y="2"/>
                    <a:pt x="4" y="4"/>
                    <a:pt x="0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15" name="Freeform 200"/>
            <p:cNvSpPr>
              <a:spLocks/>
            </p:cNvSpPr>
            <p:nvPr userDrawn="1"/>
          </p:nvSpPr>
          <p:spPr bwMode="auto">
            <a:xfrm>
              <a:off x="3770" y="2526"/>
              <a:ext cx="7" cy="7"/>
            </a:xfrm>
            <a:custGeom>
              <a:avLst/>
              <a:gdLst>
                <a:gd name="T0" fmla="*/ 0 w 15"/>
                <a:gd name="T1" fmla="*/ 15 h 15"/>
                <a:gd name="T2" fmla="*/ 15 w 15"/>
                <a:gd name="T3" fmla="*/ 6 h 15"/>
                <a:gd name="T4" fmla="*/ 1 w 15"/>
                <a:gd name="T5" fmla="*/ 0 h 15"/>
                <a:gd name="T6" fmla="*/ 0 w 15"/>
                <a:gd name="T7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5">
                  <a:moveTo>
                    <a:pt x="0" y="15"/>
                  </a:moveTo>
                  <a:cubicBezTo>
                    <a:pt x="5" y="13"/>
                    <a:pt x="10" y="10"/>
                    <a:pt x="15" y="6"/>
                  </a:cubicBezTo>
                  <a:cubicBezTo>
                    <a:pt x="11" y="4"/>
                    <a:pt x="7" y="2"/>
                    <a:pt x="1" y="0"/>
                  </a:cubicBezTo>
                  <a:cubicBezTo>
                    <a:pt x="0" y="6"/>
                    <a:pt x="0" y="11"/>
                    <a:pt x="0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16" name="Freeform 201"/>
            <p:cNvSpPr>
              <a:spLocks/>
            </p:cNvSpPr>
            <p:nvPr userDrawn="1"/>
          </p:nvSpPr>
          <p:spPr bwMode="auto">
            <a:xfrm>
              <a:off x="3744" y="2484"/>
              <a:ext cx="6" cy="7"/>
            </a:xfrm>
            <a:custGeom>
              <a:avLst/>
              <a:gdLst>
                <a:gd name="T0" fmla="*/ 14 w 15"/>
                <a:gd name="T1" fmla="*/ 14 h 14"/>
                <a:gd name="T2" fmla="*/ 15 w 15"/>
                <a:gd name="T3" fmla="*/ 0 h 14"/>
                <a:gd name="T4" fmla="*/ 0 w 15"/>
                <a:gd name="T5" fmla="*/ 8 h 14"/>
                <a:gd name="T6" fmla="*/ 14 w 15"/>
                <a:gd name="T7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4">
                  <a:moveTo>
                    <a:pt x="14" y="14"/>
                  </a:moveTo>
                  <a:cubicBezTo>
                    <a:pt x="15" y="8"/>
                    <a:pt x="15" y="4"/>
                    <a:pt x="15" y="0"/>
                  </a:cubicBezTo>
                  <a:cubicBezTo>
                    <a:pt x="10" y="2"/>
                    <a:pt x="5" y="5"/>
                    <a:pt x="0" y="8"/>
                  </a:cubicBezTo>
                  <a:cubicBezTo>
                    <a:pt x="4" y="10"/>
                    <a:pt x="8" y="12"/>
                    <a:pt x="14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17" name="Freeform 202"/>
            <p:cNvSpPr>
              <a:spLocks/>
            </p:cNvSpPr>
            <p:nvPr userDrawn="1"/>
          </p:nvSpPr>
          <p:spPr bwMode="auto">
            <a:xfrm>
              <a:off x="3781" y="2505"/>
              <a:ext cx="5" cy="7"/>
            </a:xfrm>
            <a:custGeom>
              <a:avLst/>
              <a:gdLst>
                <a:gd name="T0" fmla="*/ 0 w 13"/>
                <a:gd name="T1" fmla="*/ 9 h 17"/>
                <a:gd name="T2" fmla="*/ 12 w 13"/>
                <a:gd name="T3" fmla="*/ 17 h 17"/>
                <a:gd name="T4" fmla="*/ 13 w 13"/>
                <a:gd name="T5" fmla="*/ 9 h 17"/>
                <a:gd name="T6" fmla="*/ 12 w 13"/>
                <a:gd name="T7" fmla="*/ 0 h 17"/>
                <a:gd name="T8" fmla="*/ 0 w 13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7">
                  <a:moveTo>
                    <a:pt x="0" y="9"/>
                  </a:moveTo>
                  <a:cubicBezTo>
                    <a:pt x="5" y="12"/>
                    <a:pt x="9" y="15"/>
                    <a:pt x="12" y="17"/>
                  </a:cubicBezTo>
                  <a:cubicBezTo>
                    <a:pt x="12" y="15"/>
                    <a:pt x="13" y="12"/>
                    <a:pt x="13" y="9"/>
                  </a:cubicBezTo>
                  <a:cubicBezTo>
                    <a:pt x="13" y="6"/>
                    <a:pt x="12" y="3"/>
                    <a:pt x="12" y="0"/>
                  </a:cubicBezTo>
                  <a:cubicBezTo>
                    <a:pt x="9" y="2"/>
                    <a:pt x="5" y="5"/>
                    <a:pt x="0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18" name="Freeform 203"/>
            <p:cNvSpPr>
              <a:spLocks/>
            </p:cNvSpPr>
            <p:nvPr userDrawn="1"/>
          </p:nvSpPr>
          <p:spPr bwMode="auto">
            <a:xfrm>
              <a:off x="3734" y="2505"/>
              <a:ext cx="6" cy="7"/>
            </a:xfrm>
            <a:custGeom>
              <a:avLst/>
              <a:gdLst>
                <a:gd name="T0" fmla="*/ 1 w 13"/>
                <a:gd name="T1" fmla="*/ 0 h 17"/>
                <a:gd name="T2" fmla="*/ 0 w 13"/>
                <a:gd name="T3" fmla="*/ 9 h 17"/>
                <a:gd name="T4" fmla="*/ 1 w 13"/>
                <a:gd name="T5" fmla="*/ 17 h 17"/>
                <a:gd name="T6" fmla="*/ 13 w 13"/>
                <a:gd name="T7" fmla="*/ 9 h 17"/>
                <a:gd name="T8" fmla="*/ 1 w 13"/>
                <a:gd name="T9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7">
                  <a:moveTo>
                    <a:pt x="1" y="0"/>
                  </a:moveTo>
                  <a:cubicBezTo>
                    <a:pt x="0" y="3"/>
                    <a:pt x="0" y="6"/>
                    <a:pt x="0" y="9"/>
                  </a:cubicBezTo>
                  <a:cubicBezTo>
                    <a:pt x="0" y="12"/>
                    <a:pt x="0" y="15"/>
                    <a:pt x="1" y="17"/>
                  </a:cubicBezTo>
                  <a:cubicBezTo>
                    <a:pt x="4" y="15"/>
                    <a:pt x="8" y="12"/>
                    <a:pt x="13" y="9"/>
                  </a:cubicBezTo>
                  <a:cubicBezTo>
                    <a:pt x="8" y="5"/>
                    <a:pt x="4" y="2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19" name="Freeform 204"/>
            <p:cNvSpPr>
              <a:spLocks noEditPoints="1"/>
            </p:cNvSpPr>
            <p:nvPr userDrawn="1"/>
          </p:nvSpPr>
          <p:spPr bwMode="auto">
            <a:xfrm>
              <a:off x="3809" y="2470"/>
              <a:ext cx="77" cy="77"/>
            </a:xfrm>
            <a:custGeom>
              <a:avLst/>
              <a:gdLst>
                <a:gd name="T0" fmla="*/ 85 w 170"/>
                <a:gd name="T1" fmla="*/ 0 h 170"/>
                <a:gd name="T2" fmla="*/ 0 w 170"/>
                <a:gd name="T3" fmla="*/ 85 h 170"/>
                <a:gd name="T4" fmla="*/ 85 w 170"/>
                <a:gd name="T5" fmla="*/ 170 h 170"/>
                <a:gd name="T6" fmla="*/ 170 w 170"/>
                <a:gd name="T7" fmla="*/ 85 h 170"/>
                <a:gd name="T8" fmla="*/ 85 w 170"/>
                <a:gd name="T9" fmla="*/ 0 h 170"/>
                <a:gd name="T10" fmla="*/ 18 w 170"/>
                <a:gd name="T11" fmla="*/ 110 h 170"/>
                <a:gd name="T12" fmla="*/ 14 w 170"/>
                <a:gd name="T13" fmla="*/ 85 h 170"/>
                <a:gd name="T14" fmla="*/ 18 w 170"/>
                <a:gd name="T15" fmla="*/ 59 h 170"/>
                <a:gd name="T16" fmla="*/ 59 w 170"/>
                <a:gd name="T17" fmla="*/ 85 h 170"/>
                <a:gd name="T18" fmla="*/ 18 w 170"/>
                <a:gd name="T19" fmla="*/ 110 h 170"/>
                <a:gd name="T20" fmla="*/ 74 w 170"/>
                <a:gd name="T21" fmla="*/ 155 h 170"/>
                <a:gd name="T22" fmla="*/ 30 w 170"/>
                <a:gd name="T23" fmla="*/ 130 h 170"/>
                <a:gd name="T24" fmla="*/ 72 w 170"/>
                <a:gd name="T25" fmla="*/ 107 h 170"/>
                <a:gd name="T26" fmla="*/ 74 w 170"/>
                <a:gd name="T27" fmla="*/ 155 h 170"/>
                <a:gd name="T28" fmla="*/ 72 w 170"/>
                <a:gd name="T29" fmla="*/ 62 h 170"/>
                <a:gd name="T30" fmla="*/ 30 w 170"/>
                <a:gd name="T31" fmla="*/ 40 h 170"/>
                <a:gd name="T32" fmla="*/ 74 w 170"/>
                <a:gd name="T33" fmla="*/ 14 h 170"/>
                <a:gd name="T34" fmla="*/ 72 w 170"/>
                <a:gd name="T35" fmla="*/ 62 h 170"/>
                <a:gd name="T36" fmla="*/ 96 w 170"/>
                <a:gd name="T37" fmla="*/ 14 h 170"/>
                <a:gd name="T38" fmla="*/ 141 w 170"/>
                <a:gd name="T39" fmla="*/ 40 h 170"/>
                <a:gd name="T40" fmla="*/ 98 w 170"/>
                <a:gd name="T41" fmla="*/ 62 h 170"/>
                <a:gd name="T42" fmla="*/ 96 w 170"/>
                <a:gd name="T43" fmla="*/ 14 h 170"/>
                <a:gd name="T44" fmla="*/ 96 w 170"/>
                <a:gd name="T45" fmla="*/ 155 h 170"/>
                <a:gd name="T46" fmla="*/ 98 w 170"/>
                <a:gd name="T47" fmla="*/ 107 h 170"/>
                <a:gd name="T48" fmla="*/ 141 w 170"/>
                <a:gd name="T49" fmla="*/ 130 h 170"/>
                <a:gd name="T50" fmla="*/ 96 w 170"/>
                <a:gd name="T51" fmla="*/ 155 h 170"/>
                <a:gd name="T52" fmla="*/ 111 w 170"/>
                <a:gd name="T53" fmla="*/ 85 h 170"/>
                <a:gd name="T54" fmla="*/ 152 w 170"/>
                <a:gd name="T55" fmla="*/ 59 h 170"/>
                <a:gd name="T56" fmla="*/ 157 w 170"/>
                <a:gd name="T57" fmla="*/ 85 h 170"/>
                <a:gd name="T58" fmla="*/ 152 w 170"/>
                <a:gd name="T59" fmla="*/ 110 h 170"/>
                <a:gd name="T60" fmla="*/ 111 w 170"/>
                <a:gd name="T61" fmla="*/ 85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70" h="170">
                  <a:moveTo>
                    <a:pt x="85" y="0"/>
                  </a:moveTo>
                  <a:cubicBezTo>
                    <a:pt x="38" y="0"/>
                    <a:pt x="0" y="38"/>
                    <a:pt x="0" y="85"/>
                  </a:cubicBezTo>
                  <a:cubicBezTo>
                    <a:pt x="0" y="132"/>
                    <a:pt x="38" y="170"/>
                    <a:pt x="85" y="170"/>
                  </a:cubicBezTo>
                  <a:cubicBezTo>
                    <a:pt x="132" y="170"/>
                    <a:pt x="170" y="132"/>
                    <a:pt x="170" y="85"/>
                  </a:cubicBezTo>
                  <a:cubicBezTo>
                    <a:pt x="170" y="38"/>
                    <a:pt x="132" y="0"/>
                    <a:pt x="85" y="0"/>
                  </a:cubicBezTo>
                  <a:close/>
                  <a:moveTo>
                    <a:pt x="18" y="110"/>
                  </a:moveTo>
                  <a:cubicBezTo>
                    <a:pt x="15" y="102"/>
                    <a:pt x="14" y="94"/>
                    <a:pt x="14" y="85"/>
                  </a:cubicBezTo>
                  <a:cubicBezTo>
                    <a:pt x="14" y="76"/>
                    <a:pt x="15" y="67"/>
                    <a:pt x="18" y="59"/>
                  </a:cubicBezTo>
                  <a:cubicBezTo>
                    <a:pt x="32" y="59"/>
                    <a:pt x="52" y="77"/>
                    <a:pt x="59" y="85"/>
                  </a:cubicBezTo>
                  <a:cubicBezTo>
                    <a:pt x="52" y="92"/>
                    <a:pt x="32" y="110"/>
                    <a:pt x="18" y="110"/>
                  </a:cubicBezTo>
                  <a:close/>
                  <a:moveTo>
                    <a:pt x="74" y="155"/>
                  </a:moveTo>
                  <a:cubicBezTo>
                    <a:pt x="56" y="153"/>
                    <a:pt x="41" y="143"/>
                    <a:pt x="30" y="130"/>
                  </a:cubicBezTo>
                  <a:cubicBezTo>
                    <a:pt x="37" y="118"/>
                    <a:pt x="62" y="110"/>
                    <a:pt x="72" y="107"/>
                  </a:cubicBezTo>
                  <a:cubicBezTo>
                    <a:pt x="75" y="118"/>
                    <a:pt x="81" y="144"/>
                    <a:pt x="74" y="155"/>
                  </a:cubicBezTo>
                  <a:close/>
                  <a:moveTo>
                    <a:pt x="72" y="62"/>
                  </a:moveTo>
                  <a:cubicBezTo>
                    <a:pt x="62" y="60"/>
                    <a:pt x="37" y="52"/>
                    <a:pt x="30" y="40"/>
                  </a:cubicBezTo>
                  <a:cubicBezTo>
                    <a:pt x="41" y="26"/>
                    <a:pt x="56" y="17"/>
                    <a:pt x="74" y="14"/>
                  </a:cubicBezTo>
                  <a:cubicBezTo>
                    <a:pt x="81" y="26"/>
                    <a:pt x="75" y="52"/>
                    <a:pt x="72" y="62"/>
                  </a:cubicBezTo>
                  <a:close/>
                  <a:moveTo>
                    <a:pt x="96" y="14"/>
                  </a:moveTo>
                  <a:cubicBezTo>
                    <a:pt x="114" y="17"/>
                    <a:pt x="130" y="26"/>
                    <a:pt x="141" y="40"/>
                  </a:cubicBezTo>
                  <a:cubicBezTo>
                    <a:pt x="134" y="52"/>
                    <a:pt x="108" y="60"/>
                    <a:pt x="98" y="62"/>
                  </a:cubicBezTo>
                  <a:cubicBezTo>
                    <a:pt x="95" y="52"/>
                    <a:pt x="90" y="26"/>
                    <a:pt x="96" y="14"/>
                  </a:cubicBezTo>
                  <a:close/>
                  <a:moveTo>
                    <a:pt x="96" y="155"/>
                  </a:moveTo>
                  <a:cubicBezTo>
                    <a:pt x="90" y="144"/>
                    <a:pt x="95" y="118"/>
                    <a:pt x="98" y="107"/>
                  </a:cubicBezTo>
                  <a:cubicBezTo>
                    <a:pt x="108" y="110"/>
                    <a:pt x="134" y="118"/>
                    <a:pt x="141" y="130"/>
                  </a:cubicBezTo>
                  <a:cubicBezTo>
                    <a:pt x="130" y="143"/>
                    <a:pt x="114" y="153"/>
                    <a:pt x="96" y="155"/>
                  </a:cubicBezTo>
                  <a:close/>
                  <a:moveTo>
                    <a:pt x="111" y="85"/>
                  </a:moveTo>
                  <a:cubicBezTo>
                    <a:pt x="119" y="77"/>
                    <a:pt x="138" y="59"/>
                    <a:pt x="152" y="59"/>
                  </a:cubicBezTo>
                  <a:cubicBezTo>
                    <a:pt x="155" y="67"/>
                    <a:pt x="157" y="76"/>
                    <a:pt x="157" y="85"/>
                  </a:cubicBezTo>
                  <a:cubicBezTo>
                    <a:pt x="157" y="94"/>
                    <a:pt x="155" y="102"/>
                    <a:pt x="152" y="110"/>
                  </a:cubicBezTo>
                  <a:cubicBezTo>
                    <a:pt x="138" y="110"/>
                    <a:pt x="119" y="92"/>
                    <a:pt x="111" y="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20" name="Freeform 205"/>
            <p:cNvSpPr>
              <a:spLocks/>
            </p:cNvSpPr>
            <p:nvPr userDrawn="1"/>
          </p:nvSpPr>
          <p:spPr bwMode="auto">
            <a:xfrm>
              <a:off x="3917" y="2468"/>
              <a:ext cx="60" cy="23"/>
            </a:xfrm>
            <a:custGeom>
              <a:avLst/>
              <a:gdLst>
                <a:gd name="T0" fmla="*/ 107 w 133"/>
                <a:gd name="T1" fmla="*/ 0 h 53"/>
                <a:gd name="T2" fmla="*/ 26 w 133"/>
                <a:gd name="T3" fmla="*/ 0 h 53"/>
                <a:gd name="T4" fmla="*/ 0 w 133"/>
                <a:gd name="T5" fmla="*/ 26 h 53"/>
                <a:gd name="T6" fmla="*/ 26 w 133"/>
                <a:gd name="T7" fmla="*/ 53 h 53"/>
                <a:gd name="T8" fmla="*/ 107 w 133"/>
                <a:gd name="T9" fmla="*/ 53 h 53"/>
                <a:gd name="T10" fmla="*/ 133 w 133"/>
                <a:gd name="T11" fmla="*/ 26 h 53"/>
                <a:gd name="T12" fmla="*/ 107 w 133"/>
                <a:gd name="T13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3" h="53">
                  <a:moveTo>
                    <a:pt x="107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12" y="0"/>
                    <a:pt x="0" y="12"/>
                    <a:pt x="0" y="26"/>
                  </a:cubicBezTo>
                  <a:cubicBezTo>
                    <a:pt x="0" y="41"/>
                    <a:pt x="12" y="53"/>
                    <a:pt x="26" y="53"/>
                  </a:cubicBezTo>
                  <a:cubicBezTo>
                    <a:pt x="107" y="53"/>
                    <a:pt x="107" y="53"/>
                    <a:pt x="107" y="53"/>
                  </a:cubicBezTo>
                  <a:cubicBezTo>
                    <a:pt x="121" y="53"/>
                    <a:pt x="133" y="41"/>
                    <a:pt x="133" y="26"/>
                  </a:cubicBezTo>
                  <a:cubicBezTo>
                    <a:pt x="133" y="12"/>
                    <a:pt x="121" y="0"/>
                    <a:pt x="10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21" name="Freeform 206"/>
            <p:cNvSpPr>
              <a:spLocks noEditPoints="1"/>
            </p:cNvSpPr>
            <p:nvPr userDrawn="1"/>
          </p:nvSpPr>
          <p:spPr bwMode="auto">
            <a:xfrm>
              <a:off x="3325" y="2360"/>
              <a:ext cx="723" cy="173"/>
            </a:xfrm>
            <a:custGeom>
              <a:avLst/>
              <a:gdLst>
                <a:gd name="T0" fmla="*/ 235 w 1606"/>
                <a:gd name="T1" fmla="*/ 200 h 382"/>
                <a:gd name="T2" fmla="*/ 1371 w 1606"/>
                <a:gd name="T3" fmla="*/ 9 h 382"/>
                <a:gd name="T4" fmla="*/ 1172 w 1606"/>
                <a:gd name="T5" fmla="*/ 47 h 382"/>
                <a:gd name="T6" fmla="*/ 1160 w 1606"/>
                <a:gd name="T7" fmla="*/ 47 h 382"/>
                <a:gd name="T8" fmla="*/ 1005 w 1606"/>
                <a:gd name="T9" fmla="*/ 17 h 382"/>
                <a:gd name="T10" fmla="*/ 897 w 1606"/>
                <a:gd name="T11" fmla="*/ 43 h 382"/>
                <a:gd name="T12" fmla="*/ 792 w 1606"/>
                <a:gd name="T13" fmla="*/ 47 h 382"/>
                <a:gd name="T14" fmla="*/ 699 w 1606"/>
                <a:gd name="T15" fmla="*/ 29 h 382"/>
                <a:gd name="T16" fmla="*/ 469 w 1606"/>
                <a:gd name="T17" fmla="*/ 47 h 382"/>
                <a:gd name="T18" fmla="*/ 250 w 1606"/>
                <a:gd name="T19" fmla="*/ 115 h 382"/>
                <a:gd name="T20" fmla="*/ 233 w 1606"/>
                <a:gd name="T21" fmla="*/ 113 h 382"/>
                <a:gd name="T22" fmla="*/ 283 w 1606"/>
                <a:gd name="T23" fmla="*/ 29 h 382"/>
                <a:gd name="T24" fmla="*/ 59 w 1606"/>
                <a:gd name="T25" fmla="*/ 236 h 382"/>
                <a:gd name="T26" fmla="*/ 85 w 1606"/>
                <a:gd name="T27" fmla="*/ 280 h 382"/>
                <a:gd name="T28" fmla="*/ 125 w 1606"/>
                <a:gd name="T29" fmla="*/ 325 h 382"/>
                <a:gd name="T30" fmla="*/ 204 w 1606"/>
                <a:gd name="T31" fmla="*/ 382 h 382"/>
                <a:gd name="T32" fmla="*/ 318 w 1606"/>
                <a:gd name="T33" fmla="*/ 382 h 382"/>
                <a:gd name="T34" fmla="*/ 460 w 1606"/>
                <a:gd name="T35" fmla="*/ 367 h 382"/>
                <a:gd name="T36" fmla="*/ 576 w 1606"/>
                <a:gd name="T37" fmla="*/ 229 h 382"/>
                <a:gd name="T38" fmla="*/ 965 w 1606"/>
                <a:gd name="T39" fmla="*/ 229 h 382"/>
                <a:gd name="T40" fmla="*/ 1242 w 1606"/>
                <a:gd name="T41" fmla="*/ 382 h 382"/>
                <a:gd name="T42" fmla="*/ 1378 w 1606"/>
                <a:gd name="T43" fmla="*/ 367 h 382"/>
                <a:gd name="T44" fmla="*/ 1444 w 1606"/>
                <a:gd name="T45" fmla="*/ 309 h 382"/>
                <a:gd name="T46" fmla="*/ 1534 w 1606"/>
                <a:gd name="T47" fmla="*/ 279 h 382"/>
                <a:gd name="T48" fmla="*/ 1013 w 1606"/>
                <a:gd name="T49" fmla="*/ 94 h 382"/>
                <a:gd name="T50" fmla="*/ 1399 w 1606"/>
                <a:gd name="T51" fmla="*/ 80 h 382"/>
                <a:gd name="T52" fmla="*/ 287 w 1606"/>
                <a:gd name="T53" fmla="*/ 85 h 382"/>
                <a:gd name="T54" fmla="*/ 179 w 1606"/>
                <a:gd name="T55" fmla="*/ 144 h 382"/>
                <a:gd name="T56" fmla="*/ 179 w 1606"/>
                <a:gd name="T57" fmla="*/ 151 h 382"/>
                <a:gd name="T58" fmla="*/ 135 w 1606"/>
                <a:gd name="T59" fmla="*/ 113 h 382"/>
                <a:gd name="T60" fmla="*/ 135 w 1606"/>
                <a:gd name="T61" fmla="*/ 113 h 382"/>
                <a:gd name="T62" fmla="*/ 135 w 1606"/>
                <a:gd name="T63" fmla="*/ 175 h 382"/>
                <a:gd name="T64" fmla="*/ 118 w 1606"/>
                <a:gd name="T65" fmla="*/ 144 h 382"/>
                <a:gd name="T66" fmla="*/ 118 w 1606"/>
                <a:gd name="T67" fmla="*/ 151 h 382"/>
                <a:gd name="T68" fmla="*/ 75 w 1606"/>
                <a:gd name="T69" fmla="*/ 113 h 382"/>
                <a:gd name="T70" fmla="*/ 75 w 1606"/>
                <a:gd name="T71" fmla="*/ 113 h 382"/>
                <a:gd name="T72" fmla="*/ 75 w 1606"/>
                <a:gd name="T73" fmla="*/ 175 h 382"/>
                <a:gd name="T74" fmla="*/ 82 w 1606"/>
                <a:gd name="T75" fmla="*/ 226 h 382"/>
                <a:gd name="T76" fmla="*/ 1340 w 1606"/>
                <a:gd name="T77" fmla="*/ 298 h 382"/>
                <a:gd name="T78" fmla="*/ 1455 w 1606"/>
                <a:gd name="T79" fmla="*/ 263 h 382"/>
                <a:gd name="T80" fmla="*/ 1509 w 1606"/>
                <a:gd name="T81" fmla="*/ 346 h 382"/>
                <a:gd name="T82" fmla="*/ 1535 w 1606"/>
                <a:gd name="T83" fmla="*/ 376 h 382"/>
                <a:gd name="T84" fmla="*/ 1524 w 1606"/>
                <a:gd name="T85" fmla="*/ 341 h 382"/>
                <a:gd name="T86" fmla="*/ 1563 w 1606"/>
                <a:gd name="T87" fmla="*/ 376 h 382"/>
                <a:gd name="T88" fmla="*/ 1542 w 1606"/>
                <a:gd name="T89" fmla="*/ 342 h 382"/>
                <a:gd name="T90" fmla="*/ 1572 w 1606"/>
                <a:gd name="T91" fmla="*/ 375 h 382"/>
                <a:gd name="T92" fmla="*/ 1578 w 1606"/>
                <a:gd name="T93" fmla="*/ 371 h 382"/>
                <a:gd name="T94" fmla="*/ 1566 w 1606"/>
                <a:gd name="T95" fmla="*/ 341 h 382"/>
                <a:gd name="T96" fmla="*/ 1587 w 1606"/>
                <a:gd name="T97" fmla="*/ 375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06" h="382">
                  <a:moveTo>
                    <a:pt x="1534" y="279"/>
                  </a:moveTo>
                  <a:cubicBezTo>
                    <a:pt x="1531" y="226"/>
                    <a:pt x="1486" y="213"/>
                    <a:pt x="1477" y="211"/>
                  </a:cubicBezTo>
                  <a:cubicBezTo>
                    <a:pt x="235" y="211"/>
                    <a:pt x="235" y="211"/>
                    <a:pt x="235" y="211"/>
                  </a:cubicBezTo>
                  <a:cubicBezTo>
                    <a:pt x="235" y="200"/>
                    <a:pt x="235" y="200"/>
                    <a:pt x="235" y="200"/>
                  </a:cubicBezTo>
                  <a:cubicBezTo>
                    <a:pt x="1479" y="200"/>
                    <a:pt x="1479" y="200"/>
                    <a:pt x="1479" y="200"/>
                  </a:cubicBezTo>
                  <a:cubicBezTo>
                    <a:pt x="1509" y="73"/>
                    <a:pt x="1453" y="47"/>
                    <a:pt x="1453" y="47"/>
                  </a:cubicBezTo>
                  <a:cubicBezTo>
                    <a:pt x="1371" y="47"/>
                    <a:pt x="1371" y="47"/>
                    <a:pt x="1371" y="47"/>
                  </a:cubicBezTo>
                  <a:cubicBezTo>
                    <a:pt x="1371" y="9"/>
                    <a:pt x="1371" y="9"/>
                    <a:pt x="1371" y="9"/>
                  </a:cubicBezTo>
                  <a:cubicBezTo>
                    <a:pt x="1371" y="9"/>
                    <a:pt x="1356" y="0"/>
                    <a:pt x="1345" y="3"/>
                  </a:cubicBezTo>
                  <a:cubicBezTo>
                    <a:pt x="1334" y="0"/>
                    <a:pt x="1319" y="9"/>
                    <a:pt x="1319" y="9"/>
                  </a:cubicBezTo>
                  <a:cubicBezTo>
                    <a:pt x="1319" y="47"/>
                    <a:pt x="1319" y="47"/>
                    <a:pt x="1319" y="47"/>
                  </a:cubicBezTo>
                  <a:cubicBezTo>
                    <a:pt x="1172" y="47"/>
                    <a:pt x="1172" y="47"/>
                    <a:pt x="1172" y="47"/>
                  </a:cubicBezTo>
                  <a:cubicBezTo>
                    <a:pt x="1172" y="25"/>
                    <a:pt x="1172" y="25"/>
                    <a:pt x="1172" y="25"/>
                  </a:cubicBezTo>
                  <a:cubicBezTo>
                    <a:pt x="1172" y="22"/>
                    <a:pt x="1169" y="20"/>
                    <a:pt x="1166" y="20"/>
                  </a:cubicBezTo>
                  <a:cubicBezTo>
                    <a:pt x="1163" y="20"/>
                    <a:pt x="1160" y="22"/>
                    <a:pt x="1160" y="25"/>
                  </a:cubicBezTo>
                  <a:cubicBezTo>
                    <a:pt x="1160" y="47"/>
                    <a:pt x="1160" y="47"/>
                    <a:pt x="1160" y="47"/>
                  </a:cubicBezTo>
                  <a:cubicBezTo>
                    <a:pt x="1144" y="47"/>
                    <a:pt x="1144" y="47"/>
                    <a:pt x="1144" y="47"/>
                  </a:cubicBezTo>
                  <a:cubicBezTo>
                    <a:pt x="1144" y="46"/>
                    <a:pt x="1144" y="45"/>
                    <a:pt x="1144" y="43"/>
                  </a:cubicBezTo>
                  <a:cubicBezTo>
                    <a:pt x="1144" y="29"/>
                    <a:pt x="1134" y="17"/>
                    <a:pt x="1121" y="17"/>
                  </a:cubicBezTo>
                  <a:cubicBezTo>
                    <a:pt x="1005" y="17"/>
                    <a:pt x="1005" y="17"/>
                    <a:pt x="1005" y="17"/>
                  </a:cubicBezTo>
                  <a:cubicBezTo>
                    <a:pt x="992" y="17"/>
                    <a:pt x="982" y="29"/>
                    <a:pt x="982" y="43"/>
                  </a:cubicBezTo>
                  <a:cubicBezTo>
                    <a:pt x="982" y="45"/>
                    <a:pt x="982" y="46"/>
                    <a:pt x="982" y="47"/>
                  </a:cubicBezTo>
                  <a:cubicBezTo>
                    <a:pt x="897" y="47"/>
                    <a:pt x="897" y="47"/>
                    <a:pt x="897" y="47"/>
                  </a:cubicBezTo>
                  <a:cubicBezTo>
                    <a:pt x="897" y="46"/>
                    <a:pt x="897" y="45"/>
                    <a:pt x="897" y="43"/>
                  </a:cubicBezTo>
                  <a:cubicBezTo>
                    <a:pt x="897" y="30"/>
                    <a:pt x="887" y="20"/>
                    <a:pt x="874" y="20"/>
                  </a:cubicBezTo>
                  <a:cubicBezTo>
                    <a:pt x="816" y="20"/>
                    <a:pt x="816" y="20"/>
                    <a:pt x="816" y="20"/>
                  </a:cubicBezTo>
                  <a:cubicBezTo>
                    <a:pt x="803" y="20"/>
                    <a:pt x="792" y="30"/>
                    <a:pt x="792" y="43"/>
                  </a:cubicBezTo>
                  <a:cubicBezTo>
                    <a:pt x="792" y="45"/>
                    <a:pt x="792" y="46"/>
                    <a:pt x="792" y="47"/>
                  </a:cubicBezTo>
                  <a:cubicBezTo>
                    <a:pt x="712" y="47"/>
                    <a:pt x="712" y="47"/>
                    <a:pt x="712" y="47"/>
                  </a:cubicBezTo>
                  <a:cubicBezTo>
                    <a:pt x="712" y="46"/>
                    <a:pt x="712" y="45"/>
                    <a:pt x="712" y="44"/>
                  </a:cubicBezTo>
                  <a:cubicBezTo>
                    <a:pt x="712" y="42"/>
                    <a:pt x="712" y="42"/>
                    <a:pt x="712" y="42"/>
                  </a:cubicBezTo>
                  <a:cubicBezTo>
                    <a:pt x="712" y="34"/>
                    <a:pt x="706" y="29"/>
                    <a:pt x="699" y="29"/>
                  </a:cubicBezTo>
                  <a:cubicBezTo>
                    <a:pt x="692" y="29"/>
                    <a:pt x="686" y="34"/>
                    <a:pt x="686" y="42"/>
                  </a:cubicBezTo>
                  <a:cubicBezTo>
                    <a:pt x="686" y="44"/>
                    <a:pt x="686" y="44"/>
                    <a:pt x="686" y="44"/>
                  </a:cubicBezTo>
                  <a:cubicBezTo>
                    <a:pt x="686" y="45"/>
                    <a:pt x="686" y="46"/>
                    <a:pt x="686" y="47"/>
                  </a:cubicBezTo>
                  <a:cubicBezTo>
                    <a:pt x="469" y="47"/>
                    <a:pt x="469" y="47"/>
                    <a:pt x="469" y="47"/>
                  </a:cubicBezTo>
                  <a:cubicBezTo>
                    <a:pt x="467" y="34"/>
                    <a:pt x="443" y="29"/>
                    <a:pt x="443" y="29"/>
                  </a:cubicBezTo>
                  <a:cubicBezTo>
                    <a:pt x="294" y="29"/>
                    <a:pt x="294" y="29"/>
                    <a:pt x="294" y="29"/>
                  </a:cubicBezTo>
                  <a:cubicBezTo>
                    <a:pt x="262" y="43"/>
                    <a:pt x="260" y="91"/>
                    <a:pt x="260" y="92"/>
                  </a:cubicBezTo>
                  <a:cubicBezTo>
                    <a:pt x="259" y="103"/>
                    <a:pt x="256" y="111"/>
                    <a:pt x="250" y="115"/>
                  </a:cubicBezTo>
                  <a:cubicBezTo>
                    <a:pt x="246" y="118"/>
                    <a:pt x="241" y="119"/>
                    <a:pt x="238" y="119"/>
                  </a:cubicBezTo>
                  <a:cubicBezTo>
                    <a:pt x="238" y="191"/>
                    <a:pt x="238" y="191"/>
                    <a:pt x="238" y="191"/>
                  </a:cubicBezTo>
                  <a:cubicBezTo>
                    <a:pt x="233" y="191"/>
                    <a:pt x="233" y="191"/>
                    <a:pt x="233" y="191"/>
                  </a:cubicBezTo>
                  <a:cubicBezTo>
                    <a:pt x="233" y="113"/>
                    <a:pt x="233" y="113"/>
                    <a:pt x="233" y="113"/>
                  </a:cubicBezTo>
                  <a:cubicBezTo>
                    <a:pt x="236" y="113"/>
                    <a:pt x="236" y="113"/>
                    <a:pt x="236" y="113"/>
                  </a:cubicBezTo>
                  <a:cubicBezTo>
                    <a:pt x="236" y="113"/>
                    <a:pt x="242" y="114"/>
                    <a:pt x="247" y="111"/>
                  </a:cubicBezTo>
                  <a:cubicBezTo>
                    <a:pt x="251" y="107"/>
                    <a:pt x="254" y="101"/>
                    <a:pt x="255" y="92"/>
                  </a:cubicBezTo>
                  <a:cubicBezTo>
                    <a:pt x="255" y="91"/>
                    <a:pt x="257" y="48"/>
                    <a:pt x="283" y="29"/>
                  </a:cubicBezTo>
                  <a:cubicBezTo>
                    <a:pt x="30" y="29"/>
                    <a:pt x="30" y="29"/>
                    <a:pt x="30" y="29"/>
                  </a:cubicBezTo>
                  <a:cubicBezTo>
                    <a:pt x="0" y="44"/>
                    <a:pt x="15" y="70"/>
                    <a:pt x="15" y="70"/>
                  </a:cubicBezTo>
                  <a:cubicBezTo>
                    <a:pt x="55" y="79"/>
                    <a:pt x="61" y="109"/>
                    <a:pt x="61" y="109"/>
                  </a:cubicBezTo>
                  <a:cubicBezTo>
                    <a:pt x="59" y="236"/>
                    <a:pt x="59" y="236"/>
                    <a:pt x="59" y="236"/>
                  </a:cubicBezTo>
                  <a:cubicBezTo>
                    <a:pt x="126" y="275"/>
                    <a:pt x="126" y="275"/>
                    <a:pt x="126" y="275"/>
                  </a:cubicBezTo>
                  <a:cubicBezTo>
                    <a:pt x="126" y="297"/>
                    <a:pt x="126" y="297"/>
                    <a:pt x="126" y="297"/>
                  </a:cubicBezTo>
                  <a:cubicBezTo>
                    <a:pt x="101" y="297"/>
                    <a:pt x="101" y="297"/>
                    <a:pt x="101" y="297"/>
                  </a:cubicBezTo>
                  <a:cubicBezTo>
                    <a:pt x="98" y="287"/>
                    <a:pt x="92" y="280"/>
                    <a:pt x="85" y="280"/>
                  </a:cubicBezTo>
                  <a:cubicBezTo>
                    <a:pt x="75" y="280"/>
                    <a:pt x="66" y="294"/>
                    <a:pt x="66" y="311"/>
                  </a:cubicBezTo>
                  <a:cubicBezTo>
                    <a:pt x="66" y="329"/>
                    <a:pt x="75" y="343"/>
                    <a:pt x="85" y="343"/>
                  </a:cubicBezTo>
                  <a:cubicBezTo>
                    <a:pt x="92" y="343"/>
                    <a:pt x="98" y="336"/>
                    <a:pt x="101" y="325"/>
                  </a:cubicBezTo>
                  <a:cubicBezTo>
                    <a:pt x="125" y="325"/>
                    <a:pt x="125" y="325"/>
                    <a:pt x="125" y="325"/>
                  </a:cubicBezTo>
                  <a:cubicBezTo>
                    <a:pt x="125" y="352"/>
                    <a:pt x="125" y="352"/>
                    <a:pt x="125" y="352"/>
                  </a:cubicBezTo>
                  <a:cubicBezTo>
                    <a:pt x="166" y="356"/>
                    <a:pt x="166" y="356"/>
                    <a:pt x="166" y="356"/>
                  </a:cubicBezTo>
                  <a:cubicBezTo>
                    <a:pt x="185" y="382"/>
                    <a:pt x="185" y="382"/>
                    <a:pt x="185" y="382"/>
                  </a:cubicBezTo>
                  <a:cubicBezTo>
                    <a:pt x="204" y="382"/>
                    <a:pt x="204" y="382"/>
                    <a:pt x="204" y="382"/>
                  </a:cubicBezTo>
                  <a:cubicBezTo>
                    <a:pt x="203" y="378"/>
                    <a:pt x="203" y="373"/>
                    <a:pt x="203" y="367"/>
                  </a:cubicBezTo>
                  <a:cubicBezTo>
                    <a:pt x="203" y="335"/>
                    <a:pt x="229" y="309"/>
                    <a:pt x="261" y="309"/>
                  </a:cubicBezTo>
                  <a:cubicBezTo>
                    <a:pt x="294" y="309"/>
                    <a:pt x="320" y="335"/>
                    <a:pt x="320" y="367"/>
                  </a:cubicBezTo>
                  <a:cubicBezTo>
                    <a:pt x="320" y="373"/>
                    <a:pt x="319" y="378"/>
                    <a:pt x="318" y="382"/>
                  </a:cubicBezTo>
                  <a:cubicBezTo>
                    <a:pt x="345" y="382"/>
                    <a:pt x="345" y="382"/>
                    <a:pt x="345" y="382"/>
                  </a:cubicBezTo>
                  <a:cubicBezTo>
                    <a:pt x="343" y="378"/>
                    <a:pt x="343" y="373"/>
                    <a:pt x="343" y="367"/>
                  </a:cubicBezTo>
                  <a:cubicBezTo>
                    <a:pt x="343" y="335"/>
                    <a:pt x="369" y="309"/>
                    <a:pt x="401" y="309"/>
                  </a:cubicBezTo>
                  <a:cubicBezTo>
                    <a:pt x="434" y="309"/>
                    <a:pt x="460" y="335"/>
                    <a:pt x="460" y="367"/>
                  </a:cubicBezTo>
                  <a:cubicBezTo>
                    <a:pt x="460" y="373"/>
                    <a:pt x="459" y="378"/>
                    <a:pt x="458" y="382"/>
                  </a:cubicBezTo>
                  <a:cubicBezTo>
                    <a:pt x="494" y="382"/>
                    <a:pt x="494" y="382"/>
                    <a:pt x="494" y="382"/>
                  </a:cubicBezTo>
                  <a:cubicBezTo>
                    <a:pt x="484" y="367"/>
                    <a:pt x="477" y="348"/>
                    <a:pt x="477" y="328"/>
                  </a:cubicBezTo>
                  <a:cubicBezTo>
                    <a:pt x="477" y="274"/>
                    <a:pt x="522" y="229"/>
                    <a:pt x="576" y="229"/>
                  </a:cubicBezTo>
                  <a:cubicBezTo>
                    <a:pt x="626" y="229"/>
                    <a:pt x="667" y="267"/>
                    <a:pt x="673" y="315"/>
                  </a:cubicBezTo>
                  <a:cubicBezTo>
                    <a:pt x="680" y="267"/>
                    <a:pt x="721" y="229"/>
                    <a:pt x="771" y="229"/>
                  </a:cubicBezTo>
                  <a:cubicBezTo>
                    <a:pt x="820" y="229"/>
                    <a:pt x="862" y="267"/>
                    <a:pt x="868" y="315"/>
                  </a:cubicBezTo>
                  <a:cubicBezTo>
                    <a:pt x="874" y="267"/>
                    <a:pt x="916" y="229"/>
                    <a:pt x="965" y="229"/>
                  </a:cubicBezTo>
                  <a:cubicBezTo>
                    <a:pt x="1015" y="229"/>
                    <a:pt x="1056" y="267"/>
                    <a:pt x="1063" y="315"/>
                  </a:cubicBezTo>
                  <a:cubicBezTo>
                    <a:pt x="1069" y="267"/>
                    <a:pt x="1110" y="229"/>
                    <a:pt x="1160" y="229"/>
                  </a:cubicBezTo>
                  <a:cubicBezTo>
                    <a:pt x="1214" y="229"/>
                    <a:pt x="1259" y="274"/>
                    <a:pt x="1259" y="328"/>
                  </a:cubicBezTo>
                  <a:cubicBezTo>
                    <a:pt x="1259" y="348"/>
                    <a:pt x="1252" y="367"/>
                    <a:pt x="1242" y="382"/>
                  </a:cubicBezTo>
                  <a:cubicBezTo>
                    <a:pt x="1262" y="382"/>
                    <a:pt x="1262" y="382"/>
                    <a:pt x="1262" y="382"/>
                  </a:cubicBezTo>
                  <a:cubicBezTo>
                    <a:pt x="1261" y="378"/>
                    <a:pt x="1260" y="373"/>
                    <a:pt x="1260" y="367"/>
                  </a:cubicBezTo>
                  <a:cubicBezTo>
                    <a:pt x="1260" y="335"/>
                    <a:pt x="1287" y="309"/>
                    <a:pt x="1319" y="309"/>
                  </a:cubicBezTo>
                  <a:cubicBezTo>
                    <a:pt x="1351" y="309"/>
                    <a:pt x="1378" y="335"/>
                    <a:pt x="1378" y="367"/>
                  </a:cubicBezTo>
                  <a:cubicBezTo>
                    <a:pt x="1378" y="373"/>
                    <a:pt x="1377" y="378"/>
                    <a:pt x="1376" y="382"/>
                  </a:cubicBezTo>
                  <a:cubicBezTo>
                    <a:pt x="1387" y="382"/>
                    <a:pt x="1387" y="382"/>
                    <a:pt x="1387" y="382"/>
                  </a:cubicBezTo>
                  <a:cubicBezTo>
                    <a:pt x="1385" y="378"/>
                    <a:pt x="1385" y="373"/>
                    <a:pt x="1385" y="367"/>
                  </a:cubicBezTo>
                  <a:cubicBezTo>
                    <a:pt x="1385" y="335"/>
                    <a:pt x="1411" y="309"/>
                    <a:pt x="1444" y="309"/>
                  </a:cubicBezTo>
                  <a:cubicBezTo>
                    <a:pt x="1475" y="309"/>
                    <a:pt x="1500" y="333"/>
                    <a:pt x="1502" y="364"/>
                  </a:cubicBezTo>
                  <a:cubicBezTo>
                    <a:pt x="1516" y="382"/>
                    <a:pt x="1516" y="382"/>
                    <a:pt x="1516" y="382"/>
                  </a:cubicBezTo>
                  <a:cubicBezTo>
                    <a:pt x="1606" y="382"/>
                    <a:pt x="1606" y="382"/>
                    <a:pt x="1606" y="382"/>
                  </a:cubicBezTo>
                  <a:lnTo>
                    <a:pt x="1534" y="279"/>
                  </a:lnTo>
                  <a:close/>
                  <a:moveTo>
                    <a:pt x="846" y="195"/>
                  </a:moveTo>
                  <a:cubicBezTo>
                    <a:pt x="843" y="191"/>
                    <a:pt x="843" y="191"/>
                    <a:pt x="843" y="191"/>
                  </a:cubicBezTo>
                  <a:cubicBezTo>
                    <a:pt x="1010" y="90"/>
                    <a:pt x="1010" y="90"/>
                    <a:pt x="1010" y="90"/>
                  </a:cubicBezTo>
                  <a:cubicBezTo>
                    <a:pt x="1013" y="94"/>
                    <a:pt x="1013" y="94"/>
                    <a:pt x="1013" y="94"/>
                  </a:cubicBezTo>
                  <a:lnTo>
                    <a:pt x="846" y="195"/>
                  </a:lnTo>
                  <a:close/>
                  <a:moveTo>
                    <a:pt x="287" y="80"/>
                  </a:moveTo>
                  <a:cubicBezTo>
                    <a:pt x="1398" y="80"/>
                    <a:pt x="1398" y="80"/>
                    <a:pt x="1398" y="80"/>
                  </a:cubicBezTo>
                  <a:cubicBezTo>
                    <a:pt x="1399" y="80"/>
                    <a:pt x="1399" y="80"/>
                    <a:pt x="1399" y="80"/>
                  </a:cubicBezTo>
                  <a:cubicBezTo>
                    <a:pt x="1400" y="80"/>
                    <a:pt x="1436" y="88"/>
                    <a:pt x="1472" y="148"/>
                  </a:cubicBezTo>
                  <a:cubicBezTo>
                    <a:pt x="1467" y="150"/>
                    <a:pt x="1467" y="150"/>
                    <a:pt x="1467" y="150"/>
                  </a:cubicBezTo>
                  <a:cubicBezTo>
                    <a:pt x="1434" y="95"/>
                    <a:pt x="1401" y="86"/>
                    <a:pt x="1398" y="85"/>
                  </a:cubicBezTo>
                  <a:cubicBezTo>
                    <a:pt x="287" y="85"/>
                    <a:pt x="287" y="85"/>
                    <a:pt x="287" y="85"/>
                  </a:cubicBezTo>
                  <a:lnTo>
                    <a:pt x="287" y="80"/>
                  </a:lnTo>
                  <a:close/>
                  <a:moveTo>
                    <a:pt x="161" y="113"/>
                  </a:moveTo>
                  <a:cubicBezTo>
                    <a:pt x="179" y="113"/>
                    <a:pt x="179" y="113"/>
                    <a:pt x="179" y="113"/>
                  </a:cubicBezTo>
                  <a:cubicBezTo>
                    <a:pt x="179" y="144"/>
                    <a:pt x="179" y="144"/>
                    <a:pt x="179" y="144"/>
                  </a:cubicBezTo>
                  <a:cubicBezTo>
                    <a:pt x="161" y="144"/>
                    <a:pt x="161" y="144"/>
                    <a:pt x="161" y="144"/>
                  </a:cubicBezTo>
                  <a:lnTo>
                    <a:pt x="161" y="113"/>
                  </a:lnTo>
                  <a:close/>
                  <a:moveTo>
                    <a:pt x="161" y="151"/>
                  </a:moveTo>
                  <a:cubicBezTo>
                    <a:pt x="179" y="151"/>
                    <a:pt x="179" y="151"/>
                    <a:pt x="179" y="151"/>
                  </a:cubicBezTo>
                  <a:cubicBezTo>
                    <a:pt x="179" y="175"/>
                    <a:pt x="179" y="175"/>
                    <a:pt x="179" y="175"/>
                  </a:cubicBezTo>
                  <a:cubicBezTo>
                    <a:pt x="161" y="175"/>
                    <a:pt x="161" y="175"/>
                    <a:pt x="161" y="175"/>
                  </a:cubicBezTo>
                  <a:lnTo>
                    <a:pt x="161" y="151"/>
                  </a:lnTo>
                  <a:close/>
                  <a:moveTo>
                    <a:pt x="135" y="113"/>
                  </a:moveTo>
                  <a:cubicBezTo>
                    <a:pt x="156" y="113"/>
                    <a:pt x="156" y="113"/>
                    <a:pt x="156" y="113"/>
                  </a:cubicBezTo>
                  <a:cubicBezTo>
                    <a:pt x="156" y="144"/>
                    <a:pt x="156" y="144"/>
                    <a:pt x="156" y="144"/>
                  </a:cubicBezTo>
                  <a:cubicBezTo>
                    <a:pt x="135" y="144"/>
                    <a:pt x="135" y="144"/>
                    <a:pt x="135" y="144"/>
                  </a:cubicBezTo>
                  <a:lnTo>
                    <a:pt x="135" y="113"/>
                  </a:lnTo>
                  <a:close/>
                  <a:moveTo>
                    <a:pt x="135" y="151"/>
                  </a:moveTo>
                  <a:cubicBezTo>
                    <a:pt x="156" y="151"/>
                    <a:pt x="156" y="151"/>
                    <a:pt x="156" y="151"/>
                  </a:cubicBezTo>
                  <a:cubicBezTo>
                    <a:pt x="156" y="175"/>
                    <a:pt x="156" y="175"/>
                    <a:pt x="156" y="175"/>
                  </a:cubicBezTo>
                  <a:cubicBezTo>
                    <a:pt x="135" y="175"/>
                    <a:pt x="135" y="175"/>
                    <a:pt x="135" y="175"/>
                  </a:cubicBezTo>
                  <a:lnTo>
                    <a:pt x="135" y="151"/>
                  </a:lnTo>
                  <a:close/>
                  <a:moveTo>
                    <a:pt x="97" y="113"/>
                  </a:moveTo>
                  <a:cubicBezTo>
                    <a:pt x="118" y="113"/>
                    <a:pt x="118" y="113"/>
                    <a:pt x="118" y="113"/>
                  </a:cubicBezTo>
                  <a:cubicBezTo>
                    <a:pt x="118" y="144"/>
                    <a:pt x="118" y="144"/>
                    <a:pt x="118" y="144"/>
                  </a:cubicBezTo>
                  <a:cubicBezTo>
                    <a:pt x="97" y="144"/>
                    <a:pt x="97" y="144"/>
                    <a:pt x="97" y="144"/>
                  </a:cubicBezTo>
                  <a:lnTo>
                    <a:pt x="97" y="113"/>
                  </a:lnTo>
                  <a:close/>
                  <a:moveTo>
                    <a:pt x="97" y="151"/>
                  </a:moveTo>
                  <a:cubicBezTo>
                    <a:pt x="118" y="151"/>
                    <a:pt x="118" y="151"/>
                    <a:pt x="118" y="151"/>
                  </a:cubicBezTo>
                  <a:cubicBezTo>
                    <a:pt x="118" y="175"/>
                    <a:pt x="118" y="175"/>
                    <a:pt x="118" y="175"/>
                  </a:cubicBezTo>
                  <a:cubicBezTo>
                    <a:pt x="97" y="175"/>
                    <a:pt x="97" y="175"/>
                    <a:pt x="97" y="175"/>
                  </a:cubicBezTo>
                  <a:lnTo>
                    <a:pt x="97" y="151"/>
                  </a:lnTo>
                  <a:close/>
                  <a:moveTo>
                    <a:pt x="75" y="113"/>
                  </a:moveTo>
                  <a:cubicBezTo>
                    <a:pt x="92" y="113"/>
                    <a:pt x="92" y="113"/>
                    <a:pt x="92" y="113"/>
                  </a:cubicBezTo>
                  <a:cubicBezTo>
                    <a:pt x="92" y="144"/>
                    <a:pt x="92" y="144"/>
                    <a:pt x="92" y="144"/>
                  </a:cubicBezTo>
                  <a:cubicBezTo>
                    <a:pt x="75" y="144"/>
                    <a:pt x="75" y="144"/>
                    <a:pt x="75" y="144"/>
                  </a:cubicBezTo>
                  <a:lnTo>
                    <a:pt x="75" y="113"/>
                  </a:lnTo>
                  <a:close/>
                  <a:moveTo>
                    <a:pt x="75" y="151"/>
                  </a:moveTo>
                  <a:cubicBezTo>
                    <a:pt x="92" y="151"/>
                    <a:pt x="92" y="151"/>
                    <a:pt x="92" y="151"/>
                  </a:cubicBezTo>
                  <a:cubicBezTo>
                    <a:pt x="92" y="175"/>
                    <a:pt x="92" y="175"/>
                    <a:pt x="92" y="175"/>
                  </a:cubicBezTo>
                  <a:cubicBezTo>
                    <a:pt x="75" y="175"/>
                    <a:pt x="75" y="175"/>
                    <a:pt x="75" y="175"/>
                  </a:cubicBezTo>
                  <a:lnTo>
                    <a:pt x="75" y="151"/>
                  </a:lnTo>
                  <a:close/>
                  <a:moveTo>
                    <a:pt x="261" y="236"/>
                  </a:moveTo>
                  <a:cubicBezTo>
                    <a:pt x="82" y="236"/>
                    <a:pt x="82" y="236"/>
                    <a:pt x="82" y="236"/>
                  </a:cubicBezTo>
                  <a:cubicBezTo>
                    <a:pt x="82" y="226"/>
                    <a:pt x="82" y="226"/>
                    <a:pt x="82" y="226"/>
                  </a:cubicBezTo>
                  <a:cubicBezTo>
                    <a:pt x="261" y="226"/>
                    <a:pt x="261" y="226"/>
                    <a:pt x="261" y="226"/>
                  </a:cubicBezTo>
                  <a:lnTo>
                    <a:pt x="261" y="236"/>
                  </a:lnTo>
                  <a:close/>
                  <a:moveTo>
                    <a:pt x="1421" y="298"/>
                  </a:moveTo>
                  <a:cubicBezTo>
                    <a:pt x="1340" y="298"/>
                    <a:pt x="1340" y="298"/>
                    <a:pt x="1340" y="298"/>
                  </a:cubicBezTo>
                  <a:cubicBezTo>
                    <a:pt x="1321" y="298"/>
                    <a:pt x="1306" y="282"/>
                    <a:pt x="1306" y="263"/>
                  </a:cubicBezTo>
                  <a:cubicBezTo>
                    <a:pt x="1306" y="244"/>
                    <a:pt x="1321" y="229"/>
                    <a:pt x="1340" y="229"/>
                  </a:cubicBezTo>
                  <a:cubicBezTo>
                    <a:pt x="1421" y="229"/>
                    <a:pt x="1421" y="229"/>
                    <a:pt x="1421" y="229"/>
                  </a:cubicBezTo>
                  <a:cubicBezTo>
                    <a:pt x="1440" y="229"/>
                    <a:pt x="1455" y="244"/>
                    <a:pt x="1455" y="263"/>
                  </a:cubicBezTo>
                  <a:cubicBezTo>
                    <a:pt x="1455" y="282"/>
                    <a:pt x="1440" y="298"/>
                    <a:pt x="1421" y="298"/>
                  </a:cubicBezTo>
                  <a:close/>
                  <a:moveTo>
                    <a:pt x="1535" y="376"/>
                  </a:moveTo>
                  <a:cubicBezTo>
                    <a:pt x="1533" y="377"/>
                    <a:pt x="1531" y="377"/>
                    <a:pt x="1530" y="375"/>
                  </a:cubicBezTo>
                  <a:cubicBezTo>
                    <a:pt x="1509" y="346"/>
                    <a:pt x="1509" y="346"/>
                    <a:pt x="1509" y="346"/>
                  </a:cubicBezTo>
                  <a:cubicBezTo>
                    <a:pt x="1508" y="345"/>
                    <a:pt x="1508" y="342"/>
                    <a:pt x="1510" y="341"/>
                  </a:cubicBezTo>
                  <a:cubicBezTo>
                    <a:pt x="1511" y="340"/>
                    <a:pt x="1513" y="341"/>
                    <a:pt x="1514" y="342"/>
                  </a:cubicBezTo>
                  <a:cubicBezTo>
                    <a:pt x="1536" y="371"/>
                    <a:pt x="1536" y="371"/>
                    <a:pt x="1536" y="371"/>
                  </a:cubicBezTo>
                  <a:cubicBezTo>
                    <a:pt x="1537" y="373"/>
                    <a:pt x="1536" y="375"/>
                    <a:pt x="1535" y="376"/>
                  </a:cubicBezTo>
                  <a:close/>
                  <a:moveTo>
                    <a:pt x="1549" y="376"/>
                  </a:moveTo>
                  <a:cubicBezTo>
                    <a:pt x="1548" y="377"/>
                    <a:pt x="1545" y="377"/>
                    <a:pt x="1544" y="375"/>
                  </a:cubicBezTo>
                  <a:cubicBezTo>
                    <a:pt x="1523" y="346"/>
                    <a:pt x="1523" y="346"/>
                    <a:pt x="1523" y="346"/>
                  </a:cubicBezTo>
                  <a:cubicBezTo>
                    <a:pt x="1522" y="345"/>
                    <a:pt x="1522" y="342"/>
                    <a:pt x="1524" y="341"/>
                  </a:cubicBezTo>
                  <a:cubicBezTo>
                    <a:pt x="1525" y="340"/>
                    <a:pt x="1527" y="341"/>
                    <a:pt x="1528" y="342"/>
                  </a:cubicBezTo>
                  <a:cubicBezTo>
                    <a:pt x="1550" y="371"/>
                    <a:pt x="1550" y="371"/>
                    <a:pt x="1550" y="371"/>
                  </a:cubicBezTo>
                  <a:cubicBezTo>
                    <a:pt x="1551" y="373"/>
                    <a:pt x="1551" y="375"/>
                    <a:pt x="1549" y="376"/>
                  </a:cubicBezTo>
                  <a:close/>
                  <a:moveTo>
                    <a:pt x="1563" y="376"/>
                  </a:moveTo>
                  <a:cubicBezTo>
                    <a:pt x="1562" y="377"/>
                    <a:pt x="1560" y="377"/>
                    <a:pt x="1558" y="375"/>
                  </a:cubicBezTo>
                  <a:cubicBezTo>
                    <a:pt x="1537" y="346"/>
                    <a:pt x="1537" y="346"/>
                    <a:pt x="1537" y="346"/>
                  </a:cubicBezTo>
                  <a:cubicBezTo>
                    <a:pt x="1536" y="345"/>
                    <a:pt x="1536" y="342"/>
                    <a:pt x="1538" y="341"/>
                  </a:cubicBezTo>
                  <a:cubicBezTo>
                    <a:pt x="1539" y="340"/>
                    <a:pt x="1541" y="341"/>
                    <a:pt x="1542" y="342"/>
                  </a:cubicBezTo>
                  <a:cubicBezTo>
                    <a:pt x="1564" y="371"/>
                    <a:pt x="1564" y="371"/>
                    <a:pt x="1564" y="371"/>
                  </a:cubicBezTo>
                  <a:cubicBezTo>
                    <a:pt x="1565" y="373"/>
                    <a:pt x="1565" y="375"/>
                    <a:pt x="1563" y="376"/>
                  </a:cubicBezTo>
                  <a:close/>
                  <a:moveTo>
                    <a:pt x="1577" y="376"/>
                  </a:moveTo>
                  <a:cubicBezTo>
                    <a:pt x="1576" y="377"/>
                    <a:pt x="1574" y="377"/>
                    <a:pt x="1572" y="375"/>
                  </a:cubicBezTo>
                  <a:cubicBezTo>
                    <a:pt x="1551" y="346"/>
                    <a:pt x="1551" y="346"/>
                    <a:pt x="1551" y="346"/>
                  </a:cubicBezTo>
                  <a:cubicBezTo>
                    <a:pt x="1550" y="345"/>
                    <a:pt x="1550" y="342"/>
                    <a:pt x="1552" y="341"/>
                  </a:cubicBezTo>
                  <a:cubicBezTo>
                    <a:pt x="1553" y="340"/>
                    <a:pt x="1555" y="341"/>
                    <a:pt x="1556" y="342"/>
                  </a:cubicBezTo>
                  <a:cubicBezTo>
                    <a:pt x="1578" y="371"/>
                    <a:pt x="1578" y="371"/>
                    <a:pt x="1578" y="371"/>
                  </a:cubicBezTo>
                  <a:cubicBezTo>
                    <a:pt x="1579" y="373"/>
                    <a:pt x="1579" y="375"/>
                    <a:pt x="1577" y="376"/>
                  </a:cubicBezTo>
                  <a:close/>
                  <a:moveTo>
                    <a:pt x="1587" y="375"/>
                  </a:moveTo>
                  <a:cubicBezTo>
                    <a:pt x="1565" y="346"/>
                    <a:pt x="1565" y="346"/>
                    <a:pt x="1565" y="346"/>
                  </a:cubicBezTo>
                  <a:cubicBezTo>
                    <a:pt x="1564" y="345"/>
                    <a:pt x="1564" y="342"/>
                    <a:pt x="1566" y="341"/>
                  </a:cubicBezTo>
                  <a:cubicBezTo>
                    <a:pt x="1567" y="340"/>
                    <a:pt x="1569" y="341"/>
                    <a:pt x="1571" y="342"/>
                  </a:cubicBezTo>
                  <a:cubicBezTo>
                    <a:pt x="1592" y="371"/>
                    <a:pt x="1592" y="371"/>
                    <a:pt x="1592" y="371"/>
                  </a:cubicBezTo>
                  <a:cubicBezTo>
                    <a:pt x="1593" y="373"/>
                    <a:pt x="1593" y="375"/>
                    <a:pt x="1591" y="376"/>
                  </a:cubicBezTo>
                  <a:cubicBezTo>
                    <a:pt x="1590" y="377"/>
                    <a:pt x="1588" y="377"/>
                    <a:pt x="1587" y="3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22" name="Freeform 207"/>
            <p:cNvSpPr>
              <a:spLocks noEditPoints="1"/>
            </p:cNvSpPr>
            <p:nvPr userDrawn="1"/>
          </p:nvSpPr>
          <p:spPr bwMode="auto">
            <a:xfrm>
              <a:off x="3247" y="2509"/>
              <a:ext cx="38" cy="38"/>
            </a:xfrm>
            <a:custGeom>
              <a:avLst/>
              <a:gdLst>
                <a:gd name="T0" fmla="*/ 42 w 84"/>
                <a:gd name="T1" fmla="*/ 0 h 84"/>
                <a:gd name="T2" fmla="*/ 0 w 84"/>
                <a:gd name="T3" fmla="*/ 42 h 84"/>
                <a:gd name="T4" fmla="*/ 42 w 84"/>
                <a:gd name="T5" fmla="*/ 84 h 84"/>
                <a:gd name="T6" fmla="*/ 84 w 84"/>
                <a:gd name="T7" fmla="*/ 42 h 84"/>
                <a:gd name="T8" fmla="*/ 42 w 84"/>
                <a:gd name="T9" fmla="*/ 0 h 84"/>
                <a:gd name="T10" fmla="*/ 42 w 84"/>
                <a:gd name="T11" fmla="*/ 71 h 84"/>
                <a:gd name="T12" fmla="*/ 13 w 84"/>
                <a:gd name="T13" fmla="*/ 42 h 84"/>
                <a:gd name="T14" fmla="*/ 42 w 84"/>
                <a:gd name="T15" fmla="*/ 12 h 84"/>
                <a:gd name="T16" fmla="*/ 72 w 84"/>
                <a:gd name="T17" fmla="*/ 42 h 84"/>
                <a:gd name="T18" fmla="*/ 42 w 84"/>
                <a:gd name="T19" fmla="*/ 71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65"/>
                    <a:pt x="19" y="84"/>
                    <a:pt x="42" y="84"/>
                  </a:cubicBezTo>
                  <a:cubicBezTo>
                    <a:pt x="65" y="84"/>
                    <a:pt x="84" y="65"/>
                    <a:pt x="84" y="42"/>
                  </a:cubicBezTo>
                  <a:cubicBezTo>
                    <a:pt x="84" y="19"/>
                    <a:pt x="65" y="0"/>
                    <a:pt x="42" y="0"/>
                  </a:cubicBezTo>
                  <a:close/>
                  <a:moveTo>
                    <a:pt x="42" y="71"/>
                  </a:moveTo>
                  <a:cubicBezTo>
                    <a:pt x="26" y="71"/>
                    <a:pt x="13" y="58"/>
                    <a:pt x="13" y="42"/>
                  </a:cubicBezTo>
                  <a:cubicBezTo>
                    <a:pt x="13" y="26"/>
                    <a:pt x="26" y="12"/>
                    <a:pt x="42" y="12"/>
                  </a:cubicBezTo>
                  <a:cubicBezTo>
                    <a:pt x="59" y="12"/>
                    <a:pt x="72" y="26"/>
                    <a:pt x="72" y="42"/>
                  </a:cubicBezTo>
                  <a:cubicBezTo>
                    <a:pt x="72" y="58"/>
                    <a:pt x="59" y="71"/>
                    <a:pt x="42" y="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23" name="Oval 208"/>
            <p:cNvSpPr>
              <a:spLocks noChangeArrowheads="1"/>
            </p:cNvSpPr>
            <p:nvPr userDrawn="1"/>
          </p:nvSpPr>
          <p:spPr bwMode="auto">
            <a:xfrm>
              <a:off x="3256" y="2517"/>
              <a:ext cx="21" cy="2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24" name="Freeform 209"/>
            <p:cNvSpPr>
              <a:spLocks noEditPoints="1"/>
            </p:cNvSpPr>
            <p:nvPr userDrawn="1"/>
          </p:nvSpPr>
          <p:spPr bwMode="auto">
            <a:xfrm>
              <a:off x="3201" y="2509"/>
              <a:ext cx="38" cy="38"/>
            </a:xfrm>
            <a:custGeom>
              <a:avLst/>
              <a:gdLst>
                <a:gd name="T0" fmla="*/ 42 w 83"/>
                <a:gd name="T1" fmla="*/ 0 h 84"/>
                <a:gd name="T2" fmla="*/ 0 w 83"/>
                <a:gd name="T3" fmla="*/ 42 h 84"/>
                <a:gd name="T4" fmla="*/ 42 w 83"/>
                <a:gd name="T5" fmla="*/ 84 h 84"/>
                <a:gd name="T6" fmla="*/ 83 w 83"/>
                <a:gd name="T7" fmla="*/ 42 h 84"/>
                <a:gd name="T8" fmla="*/ 42 w 83"/>
                <a:gd name="T9" fmla="*/ 0 h 84"/>
                <a:gd name="T10" fmla="*/ 42 w 83"/>
                <a:gd name="T11" fmla="*/ 71 h 84"/>
                <a:gd name="T12" fmla="*/ 12 w 83"/>
                <a:gd name="T13" fmla="*/ 42 h 84"/>
                <a:gd name="T14" fmla="*/ 42 w 83"/>
                <a:gd name="T15" fmla="*/ 12 h 84"/>
                <a:gd name="T16" fmla="*/ 71 w 83"/>
                <a:gd name="T17" fmla="*/ 42 h 84"/>
                <a:gd name="T18" fmla="*/ 42 w 83"/>
                <a:gd name="T19" fmla="*/ 71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3" h="84">
                  <a:moveTo>
                    <a:pt x="42" y="0"/>
                  </a:moveTo>
                  <a:cubicBezTo>
                    <a:pt x="18" y="0"/>
                    <a:pt x="0" y="19"/>
                    <a:pt x="0" y="42"/>
                  </a:cubicBezTo>
                  <a:cubicBezTo>
                    <a:pt x="0" y="65"/>
                    <a:pt x="18" y="84"/>
                    <a:pt x="42" y="84"/>
                  </a:cubicBezTo>
                  <a:cubicBezTo>
                    <a:pt x="65" y="84"/>
                    <a:pt x="83" y="65"/>
                    <a:pt x="83" y="42"/>
                  </a:cubicBezTo>
                  <a:cubicBezTo>
                    <a:pt x="83" y="19"/>
                    <a:pt x="65" y="0"/>
                    <a:pt x="42" y="0"/>
                  </a:cubicBezTo>
                  <a:close/>
                  <a:moveTo>
                    <a:pt x="42" y="71"/>
                  </a:moveTo>
                  <a:cubicBezTo>
                    <a:pt x="25" y="71"/>
                    <a:pt x="12" y="58"/>
                    <a:pt x="12" y="42"/>
                  </a:cubicBezTo>
                  <a:cubicBezTo>
                    <a:pt x="12" y="26"/>
                    <a:pt x="25" y="12"/>
                    <a:pt x="42" y="12"/>
                  </a:cubicBezTo>
                  <a:cubicBezTo>
                    <a:pt x="58" y="12"/>
                    <a:pt x="71" y="26"/>
                    <a:pt x="71" y="42"/>
                  </a:cubicBezTo>
                  <a:cubicBezTo>
                    <a:pt x="71" y="58"/>
                    <a:pt x="58" y="71"/>
                    <a:pt x="42" y="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25" name="Oval 210"/>
            <p:cNvSpPr>
              <a:spLocks noChangeArrowheads="1"/>
            </p:cNvSpPr>
            <p:nvPr userDrawn="1"/>
          </p:nvSpPr>
          <p:spPr bwMode="auto">
            <a:xfrm>
              <a:off x="3210" y="2517"/>
              <a:ext cx="21" cy="2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26" name="Freeform 211"/>
            <p:cNvSpPr>
              <a:spLocks noEditPoints="1"/>
            </p:cNvSpPr>
            <p:nvPr userDrawn="1"/>
          </p:nvSpPr>
          <p:spPr bwMode="auto">
            <a:xfrm>
              <a:off x="3155" y="2509"/>
              <a:ext cx="38" cy="38"/>
            </a:xfrm>
            <a:custGeom>
              <a:avLst/>
              <a:gdLst>
                <a:gd name="T0" fmla="*/ 42 w 84"/>
                <a:gd name="T1" fmla="*/ 0 h 84"/>
                <a:gd name="T2" fmla="*/ 0 w 84"/>
                <a:gd name="T3" fmla="*/ 42 h 84"/>
                <a:gd name="T4" fmla="*/ 42 w 84"/>
                <a:gd name="T5" fmla="*/ 84 h 84"/>
                <a:gd name="T6" fmla="*/ 84 w 84"/>
                <a:gd name="T7" fmla="*/ 42 h 84"/>
                <a:gd name="T8" fmla="*/ 42 w 84"/>
                <a:gd name="T9" fmla="*/ 0 h 84"/>
                <a:gd name="T10" fmla="*/ 42 w 84"/>
                <a:gd name="T11" fmla="*/ 71 h 84"/>
                <a:gd name="T12" fmla="*/ 12 w 84"/>
                <a:gd name="T13" fmla="*/ 42 h 84"/>
                <a:gd name="T14" fmla="*/ 42 w 84"/>
                <a:gd name="T15" fmla="*/ 12 h 84"/>
                <a:gd name="T16" fmla="*/ 71 w 84"/>
                <a:gd name="T17" fmla="*/ 42 h 84"/>
                <a:gd name="T18" fmla="*/ 42 w 84"/>
                <a:gd name="T19" fmla="*/ 71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65"/>
                    <a:pt x="19" y="84"/>
                    <a:pt x="42" y="84"/>
                  </a:cubicBezTo>
                  <a:cubicBezTo>
                    <a:pt x="65" y="84"/>
                    <a:pt x="84" y="65"/>
                    <a:pt x="84" y="42"/>
                  </a:cubicBezTo>
                  <a:cubicBezTo>
                    <a:pt x="84" y="19"/>
                    <a:pt x="65" y="0"/>
                    <a:pt x="42" y="0"/>
                  </a:cubicBezTo>
                  <a:close/>
                  <a:moveTo>
                    <a:pt x="42" y="71"/>
                  </a:moveTo>
                  <a:cubicBezTo>
                    <a:pt x="26" y="71"/>
                    <a:pt x="12" y="58"/>
                    <a:pt x="12" y="42"/>
                  </a:cubicBezTo>
                  <a:cubicBezTo>
                    <a:pt x="12" y="26"/>
                    <a:pt x="26" y="12"/>
                    <a:pt x="42" y="12"/>
                  </a:cubicBezTo>
                  <a:cubicBezTo>
                    <a:pt x="58" y="12"/>
                    <a:pt x="71" y="26"/>
                    <a:pt x="71" y="42"/>
                  </a:cubicBezTo>
                  <a:cubicBezTo>
                    <a:pt x="71" y="58"/>
                    <a:pt x="58" y="71"/>
                    <a:pt x="42" y="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27" name="Oval 212"/>
            <p:cNvSpPr>
              <a:spLocks noChangeArrowheads="1"/>
            </p:cNvSpPr>
            <p:nvPr userDrawn="1"/>
          </p:nvSpPr>
          <p:spPr bwMode="auto">
            <a:xfrm>
              <a:off x="3163" y="2517"/>
              <a:ext cx="22" cy="2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28" name="Freeform 213"/>
            <p:cNvSpPr>
              <a:spLocks noEditPoints="1"/>
            </p:cNvSpPr>
            <p:nvPr userDrawn="1"/>
          </p:nvSpPr>
          <p:spPr bwMode="auto">
            <a:xfrm>
              <a:off x="3029" y="2509"/>
              <a:ext cx="38" cy="38"/>
            </a:xfrm>
            <a:custGeom>
              <a:avLst/>
              <a:gdLst>
                <a:gd name="T0" fmla="*/ 42 w 84"/>
                <a:gd name="T1" fmla="*/ 0 h 84"/>
                <a:gd name="T2" fmla="*/ 0 w 84"/>
                <a:gd name="T3" fmla="*/ 42 h 84"/>
                <a:gd name="T4" fmla="*/ 42 w 84"/>
                <a:gd name="T5" fmla="*/ 84 h 84"/>
                <a:gd name="T6" fmla="*/ 84 w 84"/>
                <a:gd name="T7" fmla="*/ 42 h 84"/>
                <a:gd name="T8" fmla="*/ 42 w 84"/>
                <a:gd name="T9" fmla="*/ 0 h 84"/>
                <a:gd name="T10" fmla="*/ 42 w 84"/>
                <a:gd name="T11" fmla="*/ 71 h 84"/>
                <a:gd name="T12" fmla="*/ 12 w 84"/>
                <a:gd name="T13" fmla="*/ 42 h 84"/>
                <a:gd name="T14" fmla="*/ 42 w 84"/>
                <a:gd name="T15" fmla="*/ 12 h 84"/>
                <a:gd name="T16" fmla="*/ 71 w 84"/>
                <a:gd name="T17" fmla="*/ 42 h 84"/>
                <a:gd name="T18" fmla="*/ 42 w 84"/>
                <a:gd name="T19" fmla="*/ 71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65"/>
                    <a:pt x="19" y="84"/>
                    <a:pt x="42" y="84"/>
                  </a:cubicBezTo>
                  <a:cubicBezTo>
                    <a:pt x="65" y="84"/>
                    <a:pt x="84" y="65"/>
                    <a:pt x="84" y="42"/>
                  </a:cubicBezTo>
                  <a:cubicBezTo>
                    <a:pt x="84" y="19"/>
                    <a:pt x="65" y="0"/>
                    <a:pt x="42" y="0"/>
                  </a:cubicBezTo>
                  <a:close/>
                  <a:moveTo>
                    <a:pt x="42" y="71"/>
                  </a:moveTo>
                  <a:cubicBezTo>
                    <a:pt x="25" y="71"/>
                    <a:pt x="12" y="58"/>
                    <a:pt x="12" y="42"/>
                  </a:cubicBezTo>
                  <a:cubicBezTo>
                    <a:pt x="12" y="26"/>
                    <a:pt x="25" y="12"/>
                    <a:pt x="42" y="12"/>
                  </a:cubicBezTo>
                  <a:cubicBezTo>
                    <a:pt x="58" y="12"/>
                    <a:pt x="71" y="26"/>
                    <a:pt x="71" y="42"/>
                  </a:cubicBezTo>
                  <a:cubicBezTo>
                    <a:pt x="71" y="58"/>
                    <a:pt x="58" y="71"/>
                    <a:pt x="42" y="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29" name="Oval 214"/>
            <p:cNvSpPr>
              <a:spLocks noChangeArrowheads="1"/>
            </p:cNvSpPr>
            <p:nvPr userDrawn="1"/>
          </p:nvSpPr>
          <p:spPr bwMode="auto">
            <a:xfrm>
              <a:off x="3037" y="2517"/>
              <a:ext cx="22" cy="2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30" name="Freeform 215"/>
            <p:cNvSpPr>
              <a:spLocks noEditPoints="1"/>
            </p:cNvSpPr>
            <p:nvPr userDrawn="1"/>
          </p:nvSpPr>
          <p:spPr bwMode="auto">
            <a:xfrm>
              <a:off x="2983" y="2509"/>
              <a:ext cx="37" cy="38"/>
            </a:xfrm>
            <a:custGeom>
              <a:avLst/>
              <a:gdLst>
                <a:gd name="T0" fmla="*/ 42 w 84"/>
                <a:gd name="T1" fmla="*/ 0 h 84"/>
                <a:gd name="T2" fmla="*/ 0 w 84"/>
                <a:gd name="T3" fmla="*/ 42 h 84"/>
                <a:gd name="T4" fmla="*/ 42 w 84"/>
                <a:gd name="T5" fmla="*/ 84 h 84"/>
                <a:gd name="T6" fmla="*/ 84 w 84"/>
                <a:gd name="T7" fmla="*/ 42 h 84"/>
                <a:gd name="T8" fmla="*/ 42 w 84"/>
                <a:gd name="T9" fmla="*/ 0 h 84"/>
                <a:gd name="T10" fmla="*/ 42 w 84"/>
                <a:gd name="T11" fmla="*/ 71 h 84"/>
                <a:gd name="T12" fmla="*/ 12 w 84"/>
                <a:gd name="T13" fmla="*/ 42 h 84"/>
                <a:gd name="T14" fmla="*/ 42 w 84"/>
                <a:gd name="T15" fmla="*/ 12 h 84"/>
                <a:gd name="T16" fmla="*/ 71 w 84"/>
                <a:gd name="T17" fmla="*/ 42 h 84"/>
                <a:gd name="T18" fmla="*/ 42 w 84"/>
                <a:gd name="T19" fmla="*/ 71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65"/>
                    <a:pt x="19" y="84"/>
                    <a:pt x="42" y="84"/>
                  </a:cubicBezTo>
                  <a:cubicBezTo>
                    <a:pt x="65" y="84"/>
                    <a:pt x="84" y="65"/>
                    <a:pt x="84" y="42"/>
                  </a:cubicBezTo>
                  <a:cubicBezTo>
                    <a:pt x="84" y="19"/>
                    <a:pt x="65" y="0"/>
                    <a:pt x="42" y="0"/>
                  </a:cubicBezTo>
                  <a:close/>
                  <a:moveTo>
                    <a:pt x="42" y="71"/>
                  </a:moveTo>
                  <a:cubicBezTo>
                    <a:pt x="26" y="71"/>
                    <a:pt x="12" y="58"/>
                    <a:pt x="12" y="42"/>
                  </a:cubicBezTo>
                  <a:cubicBezTo>
                    <a:pt x="12" y="26"/>
                    <a:pt x="26" y="12"/>
                    <a:pt x="42" y="12"/>
                  </a:cubicBezTo>
                  <a:cubicBezTo>
                    <a:pt x="58" y="12"/>
                    <a:pt x="71" y="26"/>
                    <a:pt x="71" y="42"/>
                  </a:cubicBezTo>
                  <a:cubicBezTo>
                    <a:pt x="71" y="58"/>
                    <a:pt x="58" y="71"/>
                    <a:pt x="42" y="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31" name="Oval 216"/>
            <p:cNvSpPr>
              <a:spLocks noChangeArrowheads="1"/>
            </p:cNvSpPr>
            <p:nvPr userDrawn="1"/>
          </p:nvSpPr>
          <p:spPr bwMode="auto">
            <a:xfrm>
              <a:off x="2991" y="2517"/>
              <a:ext cx="21" cy="2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32" name="Freeform 217"/>
            <p:cNvSpPr>
              <a:spLocks noEditPoints="1"/>
            </p:cNvSpPr>
            <p:nvPr userDrawn="1"/>
          </p:nvSpPr>
          <p:spPr bwMode="auto">
            <a:xfrm>
              <a:off x="2936" y="2509"/>
              <a:ext cx="38" cy="38"/>
            </a:xfrm>
            <a:custGeom>
              <a:avLst/>
              <a:gdLst>
                <a:gd name="T0" fmla="*/ 42 w 84"/>
                <a:gd name="T1" fmla="*/ 0 h 84"/>
                <a:gd name="T2" fmla="*/ 0 w 84"/>
                <a:gd name="T3" fmla="*/ 42 h 84"/>
                <a:gd name="T4" fmla="*/ 42 w 84"/>
                <a:gd name="T5" fmla="*/ 84 h 84"/>
                <a:gd name="T6" fmla="*/ 84 w 84"/>
                <a:gd name="T7" fmla="*/ 42 h 84"/>
                <a:gd name="T8" fmla="*/ 42 w 84"/>
                <a:gd name="T9" fmla="*/ 0 h 84"/>
                <a:gd name="T10" fmla="*/ 42 w 84"/>
                <a:gd name="T11" fmla="*/ 71 h 84"/>
                <a:gd name="T12" fmla="*/ 13 w 84"/>
                <a:gd name="T13" fmla="*/ 42 h 84"/>
                <a:gd name="T14" fmla="*/ 42 w 84"/>
                <a:gd name="T15" fmla="*/ 12 h 84"/>
                <a:gd name="T16" fmla="*/ 72 w 84"/>
                <a:gd name="T17" fmla="*/ 42 h 84"/>
                <a:gd name="T18" fmla="*/ 42 w 84"/>
                <a:gd name="T19" fmla="*/ 71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65"/>
                    <a:pt x="19" y="84"/>
                    <a:pt x="42" y="84"/>
                  </a:cubicBezTo>
                  <a:cubicBezTo>
                    <a:pt x="65" y="84"/>
                    <a:pt x="84" y="65"/>
                    <a:pt x="84" y="42"/>
                  </a:cubicBezTo>
                  <a:cubicBezTo>
                    <a:pt x="84" y="19"/>
                    <a:pt x="65" y="0"/>
                    <a:pt x="42" y="0"/>
                  </a:cubicBezTo>
                  <a:close/>
                  <a:moveTo>
                    <a:pt x="42" y="71"/>
                  </a:moveTo>
                  <a:cubicBezTo>
                    <a:pt x="26" y="71"/>
                    <a:pt x="13" y="58"/>
                    <a:pt x="13" y="42"/>
                  </a:cubicBezTo>
                  <a:cubicBezTo>
                    <a:pt x="13" y="26"/>
                    <a:pt x="26" y="12"/>
                    <a:pt x="42" y="12"/>
                  </a:cubicBezTo>
                  <a:cubicBezTo>
                    <a:pt x="58" y="12"/>
                    <a:pt x="72" y="26"/>
                    <a:pt x="72" y="42"/>
                  </a:cubicBezTo>
                  <a:cubicBezTo>
                    <a:pt x="72" y="58"/>
                    <a:pt x="58" y="71"/>
                    <a:pt x="42" y="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33" name="Oval 218"/>
            <p:cNvSpPr>
              <a:spLocks noChangeArrowheads="1"/>
            </p:cNvSpPr>
            <p:nvPr userDrawn="1"/>
          </p:nvSpPr>
          <p:spPr bwMode="auto">
            <a:xfrm>
              <a:off x="2944" y="2517"/>
              <a:ext cx="22" cy="2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34" name="Freeform 219"/>
            <p:cNvSpPr>
              <a:spLocks/>
            </p:cNvSpPr>
            <p:nvPr userDrawn="1"/>
          </p:nvSpPr>
          <p:spPr bwMode="auto">
            <a:xfrm>
              <a:off x="2894" y="2394"/>
              <a:ext cx="457" cy="127"/>
            </a:xfrm>
            <a:custGeom>
              <a:avLst/>
              <a:gdLst>
                <a:gd name="T0" fmla="*/ 996 w 1014"/>
                <a:gd name="T1" fmla="*/ 209 h 280"/>
                <a:gd name="T2" fmla="*/ 979 w 1014"/>
                <a:gd name="T3" fmla="*/ 226 h 280"/>
                <a:gd name="T4" fmla="*/ 951 w 1014"/>
                <a:gd name="T5" fmla="*/ 226 h 280"/>
                <a:gd name="T6" fmla="*/ 933 w 1014"/>
                <a:gd name="T7" fmla="*/ 0 h 280"/>
                <a:gd name="T8" fmla="*/ 503 w 1014"/>
                <a:gd name="T9" fmla="*/ 0 h 280"/>
                <a:gd name="T10" fmla="*/ 74 w 1014"/>
                <a:gd name="T11" fmla="*/ 0 h 280"/>
                <a:gd name="T12" fmla="*/ 53 w 1014"/>
                <a:gd name="T13" fmla="*/ 216 h 280"/>
                <a:gd name="T14" fmla="*/ 36 w 1014"/>
                <a:gd name="T15" fmla="*/ 216 h 280"/>
                <a:gd name="T16" fmla="*/ 19 w 1014"/>
                <a:gd name="T17" fmla="*/ 197 h 280"/>
                <a:gd name="T18" fmla="*/ 0 w 1014"/>
                <a:gd name="T19" fmla="*/ 230 h 280"/>
                <a:gd name="T20" fmla="*/ 19 w 1014"/>
                <a:gd name="T21" fmla="*/ 264 h 280"/>
                <a:gd name="T22" fmla="*/ 36 w 1014"/>
                <a:gd name="T23" fmla="*/ 244 h 280"/>
                <a:gd name="T24" fmla="*/ 64 w 1014"/>
                <a:gd name="T25" fmla="*/ 244 h 280"/>
                <a:gd name="T26" fmla="*/ 87 w 1014"/>
                <a:gd name="T27" fmla="*/ 269 h 280"/>
                <a:gd name="T28" fmla="*/ 135 w 1014"/>
                <a:gd name="T29" fmla="*/ 241 h 280"/>
                <a:gd name="T30" fmla="*/ 187 w 1014"/>
                <a:gd name="T31" fmla="*/ 276 h 280"/>
                <a:gd name="T32" fmla="*/ 238 w 1014"/>
                <a:gd name="T33" fmla="*/ 241 h 280"/>
                <a:gd name="T34" fmla="*/ 289 w 1014"/>
                <a:gd name="T35" fmla="*/ 276 h 280"/>
                <a:gd name="T36" fmla="*/ 341 w 1014"/>
                <a:gd name="T37" fmla="*/ 241 h 280"/>
                <a:gd name="T38" fmla="*/ 391 w 1014"/>
                <a:gd name="T39" fmla="*/ 273 h 280"/>
                <a:gd name="T40" fmla="*/ 435 w 1014"/>
                <a:gd name="T41" fmla="*/ 240 h 280"/>
                <a:gd name="T42" fmla="*/ 503 w 1014"/>
                <a:gd name="T43" fmla="*/ 240 h 280"/>
                <a:gd name="T44" fmla="*/ 572 w 1014"/>
                <a:gd name="T45" fmla="*/ 240 h 280"/>
                <a:gd name="T46" fmla="*/ 587 w 1014"/>
                <a:gd name="T47" fmla="*/ 252 h 280"/>
                <a:gd name="T48" fmla="*/ 621 w 1014"/>
                <a:gd name="T49" fmla="*/ 241 h 280"/>
                <a:gd name="T50" fmla="*/ 672 w 1014"/>
                <a:gd name="T51" fmla="*/ 276 h 280"/>
                <a:gd name="T52" fmla="*/ 724 w 1014"/>
                <a:gd name="T53" fmla="*/ 241 h 280"/>
                <a:gd name="T54" fmla="*/ 775 w 1014"/>
                <a:gd name="T55" fmla="*/ 276 h 280"/>
                <a:gd name="T56" fmla="*/ 826 w 1014"/>
                <a:gd name="T57" fmla="*/ 241 h 280"/>
                <a:gd name="T58" fmla="*/ 879 w 1014"/>
                <a:gd name="T59" fmla="*/ 280 h 280"/>
                <a:gd name="T60" fmla="*/ 910 w 1014"/>
                <a:gd name="T61" fmla="*/ 280 h 280"/>
                <a:gd name="T62" fmla="*/ 934 w 1014"/>
                <a:gd name="T63" fmla="*/ 254 h 280"/>
                <a:gd name="T64" fmla="*/ 979 w 1014"/>
                <a:gd name="T65" fmla="*/ 254 h 280"/>
                <a:gd name="T66" fmla="*/ 996 w 1014"/>
                <a:gd name="T67" fmla="*/ 271 h 280"/>
                <a:gd name="T68" fmla="*/ 1014 w 1014"/>
                <a:gd name="T69" fmla="*/ 240 h 280"/>
                <a:gd name="T70" fmla="*/ 996 w 1014"/>
                <a:gd name="T71" fmla="*/ 209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14" h="280">
                  <a:moveTo>
                    <a:pt x="996" y="209"/>
                  </a:moveTo>
                  <a:cubicBezTo>
                    <a:pt x="989" y="209"/>
                    <a:pt x="982" y="216"/>
                    <a:pt x="979" y="226"/>
                  </a:cubicBezTo>
                  <a:cubicBezTo>
                    <a:pt x="951" y="226"/>
                    <a:pt x="951" y="226"/>
                    <a:pt x="951" y="226"/>
                  </a:cubicBezTo>
                  <a:cubicBezTo>
                    <a:pt x="999" y="51"/>
                    <a:pt x="933" y="0"/>
                    <a:pt x="933" y="0"/>
                  </a:cubicBezTo>
                  <a:cubicBezTo>
                    <a:pt x="503" y="0"/>
                    <a:pt x="503" y="0"/>
                    <a:pt x="503" y="0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74" y="0"/>
                    <a:pt x="10" y="49"/>
                    <a:pt x="53" y="216"/>
                  </a:cubicBezTo>
                  <a:cubicBezTo>
                    <a:pt x="36" y="216"/>
                    <a:pt x="36" y="216"/>
                    <a:pt x="36" y="216"/>
                  </a:cubicBezTo>
                  <a:cubicBezTo>
                    <a:pt x="33" y="205"/>
                    <a:pt x="26" y="197"/>
                    <a:pt x="19" y="197"/>
                  </a:cubicBezTo>
                  <a:cubicBezTo>
                    <a:pt x="8" y="197"/>
                    <a:pt x="0" y="212"/>
                    <a:pt x="0" y="230"/>
                  </a:cubicBezTo>
                  <a:cubicBezTo>
                    <a:pt x="0" y="249"/>
                    <a:pt x="8" y="264"/>
                    <a:pt x="19" y="264"/>
                  </a:cubicBezTo>
                  <a:cubicBezTo>
                    <a:pt x="26" y="264"/>
                    <a:pt x="33" y="256"/>
                    <a:pt x="36" y="244"/>
                  </a:cubicBezTo>
                  <a:cubicBezTo>
                    <a:pt x="64" y="244"/>
                    <a:pt x="64" y="244"/>
                    <a:pt x="64" y="244"/>
                  </a:cubicBezTo>
                  <a:cubicBezTo>
                    <a:pt x="87" y="269"/>
                    <a:pt x="87" y="269"/>
                    <a:pt x="87" y="269"/>
                  </a:cubicBezTo>
                  <a:cubicBezTo>
                    <a:pt x="96" y="252"/>
                    <a:pt x="114" y="241"/>
                    <a:pt x="135" y="241"/>
                  </a:cubicBezTo>
                  <a:cubicBezTo>
                    <a:pt x="159" y="241"/>
                    <a:pt x="178" y="255"/>
                    <a:pt x="187" y="276"/>
                  </a:cubicBezTo>
                  <a:cubicBezTo>
                    <a:pt x="195" y="255"/>
                    <a:pt x="215" y="241"/>
                    <a:pt x="238" y="241"/>
                  </a:cubicBezTo>
                  <a:cubicBezTo>
                    <a:pt x="261" y="241"/>
                    <a:pt x="281" y="255"/>
                    <a:pt x="289" y="276"/>
                  </a:cubicBezTo>
                  <a:cubicBezTo>
                    <a:pt x="297" y="255"/>
                    <a:pt x="317" y="241"/>
                    <a:pt x="341" y="241"/>
                  </a:cubicBezTo>
                  <a:cubicBezTo>
                    <a:pt x="363" y="241"/>
                    <a:pt x="382" y="254"/>
                    <a:pt x="391" y="273"/>
                  </a:cubicBezTo>
                  <a:cubicBezTo>
                    <a:pt x="435" y="240"/>
                    <a:pt x="435" y="240"/>
                    <a:pt x="435" y="240"/>
                  </a:cubicBezTo>
                  <a:cubicBezTo>
                    <a:pt x="503" y="240"/>
                    <a:pt x="503" y="240"/>
                    <a:pt x="503" y="240"/>
                  </a:cubicBezTo>
                  <a:cubicBezTo>
                    <a:pt x="572" y="240"/>
                    <a:pt x="572" y="240"/>
                    <a:pt x="572" y="240"/>
                  </a:cubicBezTo>
                  <a:cubicBezTo>
                    <a:pt x="587" y="252"/>
                    <a:pt x="587" y="252"/>
                    <a:pt x="587" y="252"/>
                  </a:cubicBezTo>
                  <a:cubicBezTo>
                    <a:pt x="597" y="245"/>
                    <a:pt x="608" y="241"/>
                    <a:pt x="621" y="241"/>
                  </a:cubicBezTo>
                  <a:cubicBezTo>
                    <a:pt x="644" y="241"/>
                    <a:pt x="664" y="255"/>
                    <a:pt x="672" y="276"/>
                  </a:cubicBezTo>
                  <a:cubicBezTo>
                    <a:pt x="680" y="255"/>
                    <a:pt x="700" y="241"/>
                    <a:pt x="724" y="241"/>
                  </a:cubicBezTo>
                  <a:cubicBezTo>
                    <a:pt x="747" y="241"/>
                    <a:pt x="767" y="255"/>
                    <a:pt x="775" y="276"/>
                  </a:cubicBezTo>
                  <a:cubicBezTo>
                    <a:pt x="783" y="255"/>
                    <a:pt x="803" y="241"/>
                    <a:pt x="826" y="241"/>
                  </a:cubicBezTo>
                  <a:cubicBezTo>
                    <a:pt x="851" y="241"/>
                    <a:pt x="872" y="257"/>
                    <a:pt x="879" y="280"/>
                  </a:cubicBezTo>
                  <a:cubicBezTo>
                    <a:pt x="910" y="280"/>
                    <a:pt x="910" y="280"/>
                    <a:pt x="910" y="280"/>
                  </a:cubicBezTo>
                  <a:cubicBezTo>
                    <a:pt x="934" y="254"/>
                    <a:pt x="934" y="254"/>
                    <a:pt x="934" y="254"/>
                  </a:cubicBezTo>
                  <a:cubicBezTo>
                    <a:pt x="979" y="254"/>
                    <a:pt x="979" y="254"/>
                    <a:pt x="979" y="254"/>
                  </a:cubicBezTo>
                  <a:cubicBezTo>
                    <a:pt x="982" y="264"/>
                    <a:pt x="989" y="271"/>
                    <a:pt x="996" y="271"/>
                  </a:cubicBezTo>
                  <a:cubicBezTo>
                    <a:pt x="1006" y="271"/>
                    <a:pt x="1014" y="257"/>
                    <a:pt x="1014" y="240"/>
                  </a:cubicBezTo>
                  <a:cubicBezTo>
                    <a:pt x="1014" y="223"/>
                    <a:pt x="1006" y="209"/>
                    <a:pt x="996" y="20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35" name="Freeform 220"/>
            <p:cNvSpPr>
              <a:spLocks/>
            </p:cNvSpPr>
            <p:nvPr userDrawn="1"/>
          </p:nvSpPr>
          <p:spPr bwMode="auto">
            <a:xfrm>
              <a:off x="2960" y="2364"/>
              <a:ext cx="339" cy="27"/>
            </a:xfrm>
            <a:custGeom>
              <a:avLst/>
              <a:gdLst>
                <a:gd name="T0" fmla="*/ 733 w 752"/>
                <a:gd name="T1" fmla="*/ 44 h 59"/>
                <a:gd name="T2" fmla="*/ 710 w 752"/>
                <a:gd name="T3" fmla="*/ 23 h 59"/>
                <a:gd name="T4" fmla="*/ 698 w 752"/>
                <a:gd name="T5" fmla="*/ 26 h 59"/>
                <a:gd name="T6" fmla="*/ 699 w 752"/>
                <a:gd name="T7" fmla="*/ 23 h 59"/>
                <a:gd name="T8" fmla="*/ 676 w 752"/>
                <a:gd name="T9" fmla="*/ 0 h 59"/>
                <a:gd name="T10" fmla="*/ 660 w 752"/>
                <a:gd name="T11" fmla="*/ 7 h 59"/>
                <a:gd name="T12" fmla="*/ 644 w 752"/>
                <a:gd name="T13" fmla="*/ 0 h 59"/>
                <a:gd name="T14" fmla="*/ 628 w 752"/>
                <a:gd name="T15" fmla="*/ 7 h 59"/>
                <a:gd name="T16" fmla="*/ 611 w 752"/>
                <a:gd name="T17" fmla="*/ 0 h 59"/>
                <a:gd name="T18" fmla="*/ 595 w 752"/>
                <a:gd name="T19" fmla="*/ 7 h 59"/>
                <a:gd name="T20" fmla="*/ 579 w 752"/>
                <a:gd name="T21" fmla="*/ 0 h 59"/>
                <a:gd name="T22" fmla="*/ 563 w 752"/>
                <a:gd name="T23" fmla="*/ 7 h 59"/>
                <a:gd name="T24" fmla="*/ 547 w 752"/>
                <a:gd name="T25" fmla="*/ 0 h 59"/>
                <a:gd name="T26" fmla="*/ 531 w 752"/>
                <a:gd name="T27" fmla="*/ 7 h 59"/>
                <a:gd name="T28" fmla="*/ 515 w 752"/>
                <a:gd name="T29" fmla="*/ 0 h 59"/>
                <a:gd name="T30" fmla="*/ 499 w 752"/>
                <a:gd name="T31" fmla="*/ 7 h 59"/>
                <a:gd name="T32" fmla="*/ 482 w 752"/>
                <a:gd name="T33" fmla="*/ 0 h 59"/>
                <a:gd name="T34" fmla="*/ 466 w 752"/>
                <a:gd name="T35" fmla="*/ 7 h 59"/>
                <a:gd name="T36" fmla="*/ 450 w 752"/>
                <a:gd name="T37" fmla="*/ 0 h 59"/>
                <a:gd name="T38" fmla="*/ 434 w 752"/>
                <a:gd name="T39" fmla="*/ 7 h 59"/>
                <a:gd name="T40" fmla="*/ 418 w 752"/>
                <a:gd name="T41" fmla="*/ 0 h 59"/>
                <a:gd name="T42" fmla="*/ 402 w 752"/>
                <a:gd name="T43" fmla="*/ 7 h 59"/>
                <a:gd name="T44" fmla="*/ 386 w 752"/>
                <a:gd name="T45" fmla="*/ 0 h 59"/>
                <a:gd name="T46" fmla="*/ 370 w 752"/>
                <a:gd name="T47" fmla="*/ 7 h 59"/>
                <a:gd name="T48" fmla="*/ 353 w 752"/>
                <a:gd name="T49" fmla="*/ 0 h 59"/>
                <a:gd name="T50" fmla="*/ 337 w 752"/>
                <a:gd name="T51" fmla="*/ 7 h 59"/>
                <a:gd name="T52" fmla="*/ 321 w 752"/>
                <a:gd name="T53" fmla="*/ 0 h 59"/>
                <a:gd name="T54" fmla="*/ 305 w 752"/>
                <a:gd name="T55" fmla="*/ 7 h 59"/>
                <a:gd name="T56" fmla="*/ 289 w 752"/>
                <a:gd name="T57" fmla="*/ 0 h 59"/>
                <a:gd name="T58" fmla="*/ 273 w 752"/>
                <a:gd name="T59" fmla="*/ 7 h 59"/>
                <a:gd name="T60" fmla="*/ 257 w 752"/>
                <a:gd name="T61" fmla="*/ 0 h 59"/>
                <a:gd name="T62" fmla="*/ 241 w 752"/>
                <a:gd name="T63" fmla="*/ 7 h 59"/>
                <a:gd name="T64" fmla="*/ 224 w 752"/>
                <a:gd name="T65" fmla="*/ 0 h 59"/>
                <a:gd name="T66" fmla="*/ 208 w 752"/>
                <a:gd name="T67" fmla="*/ 7 h 59"/>
                <a:gd name="T68" fmla="*/ 192 w 752"/>
                <a:gd name="T69" fmla="*/ 0 h 59"/>
                <a:gd name="T70" fmla="*/ 176 w 752"/>
                <a:gd name="T71" fmla="*/ 7 h 59"/>
                <a:gd name="T72" fmla="*/ 160 w 752"/>
                <a:gd name="T73" fmla="*/ 0 h 59"/>
                <a:gd name="T74" fmla="*/ 144 w 752"/>
                <a:gd name="T75" fmla="*/ 7 h 59"/>
                <a:gd name="T76" fmla="*/ 128 w 752"/>
                <a:gd name="T77" fmla="*/ 0 h 59"/>
                <a:gd name="T78" fmla="*/ 112 w 752"/>
                <a:gd name="T79" fmla="*/ 7 h 59"/>
                <a:gd name="T80" fmla="*/ 96 w 752"/>
                <a:gd name="T81" fmla="*/ 0 h 59"/>
                <a:gd name="T82" fmla="*/ 79 w 752"/>
                <a:gd name="T83" fmla="*/ 7 h 59"/>
                <a:gd name="T84" fmla="*/ 63 w 752"/>
                <a:gd name="T85" fmla="*/ 0 h 59"/>
                <a:gd name="T86" fmla="*/ 41 w 752"/>
                <a:gd name="T87" fmla="*/ 23 h 59"/>
                <a:gd name="T88" fmla="*/ 41 w 752"/>
                <a:gd name="T89" fmla="*/ 24 h 59"/>
                <a:gd name="T90" fmla="*/ 33 w 752"/>
                <a:gd name="T91" fmla="*/ 23 h 59"/>
                <a:gd name="T92" fmla="*/ 10 w 752"/>
                <a:gd name="T93" fmla="*/ 46 h 59"/>
                <a:gd name="T94" fmla="*/ 10 w 752"/>
                <a:gd name="T95" fmla="*/ 47 h 59"/>
                <a:gd name="T96" fmla="*/ 0 w 752"/>
                <a:gd name="T97" fmla="*/ 59 h 59"/>
                <a:gd name="T98" fmla="*/ 752 w 752"/>
                <a:gd name="T99" fmla="*/ 59 h 59"/>
                <a:gd name="T100" fmla="*/ 733 w 752"/>
                <a:gd name="T101" fmla="*/ 44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752" h="59">
                  <a:moveTo>
                    <a:pt x="733" y="44"/>
                  </a:moveTo>
                  <a:cubicBezTo>
                    <a:pt x="732" y="32"/>
                    <a:pt x="722" y="23"/>
                    <a:pt x="710" y="23"/>
                  </a:cubicBezTo>
                  <a:cubicBezTo>
                    <a:pt x="706" y="23"/>
                    <a:pt x="702" y="24"/>
                    <a:pt x="698" y="26"/>
                  </a:cubicBezTo>
                  <a:cubicBezTo>
                    <a:pt x="699" y="25"/>
                    <a:pt x="699" y="24"/>
                    <a:pt x="699" y="23"/>
                  </a:cubicBezTo>
                  <a:cubicBezTo>
                    <a:pt x="699" y="11"/>
                    <a:pt x="688" y="0"/>
                    <a:pt x="676" y="0"/>
                  </a:cubicBezTo>
                  <a:cubicBezTo>
                    <a:pt x="670" y="0"/>
                    <a:pt x="664" y="3"/>
                    <a:pt x="660" y="7"/>
                  </a:cubicBezTo>
                  <a:cubicBezTo>
                    <a:pt x="656" y="3"/>
                    <a:pt x="650" y="0"/>
                    <a:pt x="644" y="0"/>
                  </a:cubicBezTo>
                  <a:cubicBezTo>
                    <a:pt x="637" y="0"/>
                    <a:pt x="632" y="3"/>
                    <a:pt x="628" y="7"/>
                  </a:cubicBezTo>
                  <a:cubicBezTo>
                    <a:pt x="623" y="3"/>
                    <a:pt x="618" y="0"/>
                    <a:pt x="611" y="0"/>
                  </a:cubicBezTo>
                  <a:cubicBezTo>
                    <a:pt x="605" y="0"/>
                    <a:pt x="599" y="3"/>
                    <a:pt x="595" y="7"/>
                  </a:cubicBezTo>
                  <a:cubicBezTo>
                    <a:pt x="591" y="3"/>
                    <a:pt x="585" y="0"/>
                    <a:pt x="579" y="0"/>
                  </a:cubicBezTo>
                  <a:cubicBezTo>
                    <a:pt x="573" y="0"/>
                    <a:pt x="567" y="3"/>
                    <a:pt x="563" y="7"/>
                  </a:cubicBezTo>
                  <a:cubicBezTo>
                    <a:pt x="559" y="3"/>
                    <a:pt x="553" y="0"/>
                    <a:pt x="547" y="0"/>
                  </a:cubicBezTo>
                  <a:cubicBezTo>
                    <a:pt x="541" y="0"/>
                    <a:pt x="535" y="3"/>
                    <a:pt x="531" y="7"/>
                  </a:cubicBezTo>
                  <a:cubicBezTo>
                    <a:pt x="527" y="3"/>
                    <a:pt x="521" y="0"/>
                    <a:pt x="515" y="0"/>
                  </a:cubicBezTo>
                  <a:cubicBezTo>
                    <a:pt x="508" y="0"/>
                    <a:pt x="503" y="3"/>
                    <a:pt x="499" y="7"/>
                  </a:cubicBezTo>
                  <a:cubicBezTo>
                    <a:pt x="494" y="3"/>
                    <a:pt x="489" y="0"/>
                    <a:pt x="482" y="0"/>
                  </a:cubicBezTo>
                  <a:cubicBezTo>
                    <a:pt x="476" y="0"/>
                    <a:pt x="470" y="3"/>
                    <a:pt x="466" y="7"/>
                  </a:cubicBezTo>
                  <a:cubicBezTo>
                    <a:pt x="462" y="3"/>
                    <a:pt x="456" y="0"/>
                    <a:pt x="450" y="0"/>
                  </a:cubicBezTo>
                  <a:cubicBezTo>
                    <a:pt x="444" y="0"/>
                    <a:pt x="438" y="3"/>
                    <a:pt x="434" y="7"/>
                  </a:cubicBezTo>
                  <a:cubicBezTo>
                    <a:pt x="430" y="3"/>
                    <a:pt x="424" y="0"/>
                    <a:pt x="418" y="0"/>
                  </a:cubicBezTo>
                  <a:cubicBezTo>
                    <a:pt x="412" y="0"/>
                    <a:pt x="406" y="3"/>
                    <a:pt x="402" y="7"/>
                  </a:cubicBezTo>
                  <a:cubicBezTo>
                    <a:pt x="398" y="3"/>
                    <a:pt x="392" y="0"/>
                    <a:pt x="386" y="0"/>
                  </a:cubicBezTo>
                  <a:cubicBezTo>
                    <a:pt x="379" y="0"/>
                    <a:pt x="374" y="3"/>
                    <a:pt x="370" y="7"/>
                  </a:cubicBezTo>
                  <a:cubicBezTo>
                    <a:pt x="365" y="3"/>
                    <a:pt x="360" y="0"/>
                    <a:pt x="353" y="0"/>
                  </a:cubicBezTo>
                  <a:cubicBezTo>
                    <a:pt x="347" y="0"/>
                    <a:pt x="341" y="3"/>
                    <a:pt x="337" y="7"/>
                  </a:cubicBezTo>
                  <a:cubicBezTo>
                    <a:pt x="333" y="3"/>
                    <a:pt x="328" y="0"/>
                    <a:pt x="321" y="0"/>
                  </a:cubicBezTo>
                  <a:cubicBezTo>
                    <a:pt x="315" y="0"/>
                    <a:pt x="309" y="3"/>
                    <a:pt x="305" y="7"/>
                  </a:cubicBezTo>
                  <a:cubicBezTo>
                    <a:pt x="301" y="3"/>
                    <a:pt x="295" y="0"/>
                    <a:pt x="289" y="0"/>
                  </a:cubicBezTo>
                  <a:cubicBezTo>
                    <a:pt x="283" y="0"/>
                    <a:pt x="277" y="3"/>
                    <a:pt x="273" y="7"/>
                  </a:cubicBezTo>
                  <a:cubicBezTo>
                    <a:pt x="269" y="3"/>
                    <a:pt x="263" y="0"/>
                    <a:pt x="257" y="0"/>
                  </a:cubicBezTo>
                  <a:cubicBezTo>
                    <a:pt x="250" y="0"/>
                    <a:pt x="245" y="3"/>
                    <a:pt x="241" y="7"/>
                  </a:cubicBezTo>
                  <a:cubicBezTo>
                    <a:pt x="237" y="3"/>
                    <a:pt x="231" y="0"/>
                    <a:pt x="224" y="0"/>
                  </a:cubicBezTo>
                  <a:cubicBezTo>
                    <a:pt x="218" y="0"/>
                    <a:pt x="212" y="3"/>
                    <a:pt x="208" y="7"/>
                  </a:cubicBezTo>
                  <a:cubicBezTo>
                    <a:pt x="204" y="3"/>
                    <a:pt x="199" y="0"/>
                    <a:pt x="192" y="0"/>
                  </a:cubicBezTo>
                  <a:cubicBezTo>
                    <a:pt x="186" y="0"/>
                    <a:pt x="180" y="3"/>
                    <a:pt x="176" y="7"/>
                  </a:cubicBezTo>
                  <a:cubicBezTo>
                    <a:pt x="172" y="3"/>
                    <a:pt x="166" y="0"/>
                    <a:pt x="160" y="0"/>
                  </a:cubicBezTo>
                  <a:cubicBezTo>
                    <a:pt x="154" y="0"/>
                    <a:pt x="148" y="3"/>
                    <a:pt x="144" y="7"/>
                  </a:cubicBezTo>
                  <a:cubicBezTo>
                    <a:pt x="140" y="3"/>
                    <a:pt x="134" y="0"/>
                    <a:pt x="128" y="0"/>
                  </a:cubicBezTo>
                  <a:cubicBezTo>
                    <a:pt x="121" y="0"/>
                    <a:pt x="116" y="3"/>
                    <a:pt x="112" y="7"/>
                  </a:cubicBezTo>
                  <a:cubicBezTo>
                    <a:pt x="108" y="3"/>
                    <a:pt x="102" y="0"/>
                    <a:pt x="96" y="0"/>
                  </a:cubicBezTo>
                  <a:cubicBezTo>
                    <a:pt x="89" y="0"/>
                    <a:pt x="84" y="3"/>
                    <a:pt x="79" y="7"/>
                  </a:cubicBezTo>
                  <a:cubicBezTo>
                    <a:pt x="75" y="3"/>
                    <a:pt x="70" y="0"/>
                    <a:pt x="63" y="0"/>
                  </a:cubicBezTo>
                  <a:cubicBezTo>
                    <a:pt x="51" y="0"/>
                    <a:pt x="41" y="11"/>
                    <a:pt x="41" y="23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38" y="24"/>
                    <a:pt x="36" y="23"/>
                    <a:pt x="33" y="23"/>
                  </a:cubicBezTo>
                  <a:cubicBezTo>
                    <a:pt x="20" y="23"/>
                    <a:pt x="10" y="33"/>
                    <a:pt x="10" y="46"/>
                  </a:cubicBezTo>
                  <a:cubicBezTo>
                    <a:pt x="10" y="46"/>
                    <a:pt x="10" y="47"/>
                    <a:pt x="10" y="47"/>
                  </a:cubicBezTo>
                  <a:cubicBezTo>
                    <a:pt x="6" y="50"/>
                    <a:pt x="2" y="54"/>
                    <a:pt x="0" y="59"/>
                  </a:cubicBezTo>
                  <a:cubicBezTo>
                    <a:pt x="752" y="59"/>
                    <a:pt x="752" y="59"/>
                    <a:pt x="752" y="59"/>
                  </a:cubicBezTo>
                  <a:cubicBezTo>
                    <a:pt x="749" y="51"/>
                    <a:pt x="742" y="45"/>
                    <a:pt x="733" y="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36" name="Freeform 221"/>
            <p:cNvSpPr>
              <a:spLocks noEditPoints="1"/>
            </p:cNvSpPr>
            <p:nvPr userDrawn="1"/>
          </p:nvSpPr>
          <p:spPr bwMode="auto">
            <a:xfrm>
              <a:off x="2768" y="2509"/>
              <a:ext cx="38" cy="38"/>
            </a:xfrm>
            <a:custGeom>
              <a:avLst/>
              <a:gdLst>
                <a:gd name="T0" fmla="*/ 42 w 84"/>
                <a:gd name="T1" fmla="*/ 0 h 84"/>
                <a:gd name="T2" fmla="*/ 0 w 84"/>
                <a:gd name="T3" fmla="*/ 42 h 84"/>
                <a:gd name="T4" fmla="*/ 42 w 84"/>
                <a:gd name="T5" fmla="*/ 84 h 84"/>
                <a:gd name="T6" fmla="*/ 84 w 84"/>
                <a:gd name="T7" fmla="*/ 42 h 84"/>
                <a:gd name="T8" fmla="*/ 42 w 84"/>
                <a:gd name="T9" fmla="*/ 0 h 84"/>
                <a:gd name="T10" fmla="*/ 42 w 84"/>
                <a:gd name="T11" fmla="*/ 71 h 84"/>
                <a:gd name="T12" fmla="*/ 13 w 84"/>
                <a:gd name="T13" fmla="*/ 42 h 84"/>
                <a:gd name="T14" fmla="*/ 42 w 84"/>
                <a:gd name="T15" fmla="*/ 12 h 84"/>
                <a:gd name="T16" fmla="*/ 72 w 84"/>
                <a:gd name="T17" fmla="*/ 42 h 84"/>
                <a:gd name="T18" fmla="*/ 42 w 84"/>
                <a:gd name="T19" fmla="*/ 71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65"/>
                    <a:pt x="19" y="84"/>
                    <a:pt x="42" y="84"/>
                  </a:cubicBezTo>
                  <a:cubicBezTo>
                    <a:pt x="65" y="84"/>
                    <a:pt x="84" y="65"/>
                    <a:pt x="84" y="42"/>
                  </a:cubicBezTo>
                  <a:cubicBezTo>
                    <a:pt x="84" y="19"/>
                    <a:pt x="65" y="0"/>
                    <a:pt x="42" y="0"/>
                  </a:cubicBezTo>
                  <a:close/>
                  <a:moveTo>
                    <a:pt x="42" y="71"/>
                  </a:moveTo>
                  <a:cubicBezTo>
                    <a:pt x="26" y="71"/>
                    <a:pt x="13" y="58"/>
                    <a:pt x="13" y="42"/>
                  </a:cubicBezTo>
                  <a:cubicBezTo>
                    <a:pt x="13" y="26"/>
                    <a:pt x="26" y="12"/>
                    <a:pt x="42" y="12"/>
                  </a:cubicBezTo>
                  <a:cubicBezTo>
                    <a:pt x="59" y="12"/>
                    <a:pt x="72" y="26"/>
                    <a:pt x="72" y="42"/>
                  </a:cubicBezTo>
                  <a:cubicBezTo>
                    <a:pt x="72" y="58"/>
                    <a:pt x="59" y="71"/>
                    <a:pt x="42" y="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37" name="Oval 222"/>
            <p:cNvSpPr>
              <a:spLocks noChangeArrowheads="1"/>
            </p:cNvSpPr>
            <p:nvPr userDrawn="1"/>
          </p:nvSpPr>
          <p:spPr bwMode="auto">
            <a:xfrm>
              <a:off x="2776" y="2517"/>
              <a:ext cx="22" cy="2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38" name="Freeform 223"/>
            <p:cNvSpPr>
              <a:spLocks noEditPoints="1"/>
            </p:cNvSpPr>
            <p:nvPr userDrawn="1"/>
          </p:nvSpPr>
          <p:spPr bwMode="auto">
            <a:xfrm>
              <a:off x="2724" y="2509"/>
              <a:ext cx="38" cy="38"/>
            </a:xfrm>
            <a:custGeom>
              <a:avLst/>
              <a:gdLst>
                <a:gd name="T0" fmla="*/ 42 w 83"/>
                <a:gd name="T1" fmla="*/ 0 h 84"/>
                <a:gd name="T2" fmla="*/ 0 w 83"/>
                <a:gd name="T3" fmla="*/ 42 h 84"/>
                <a:gd name="T4" fmla="*/ 42 w 83"/>
                <a:gd name="T5" fmla="*/ 84 h 84"/>
                <a:gd name="T6" fmla="*/ 83 w 83"/>
                <a:gd name="T7" fmla="*/ 42 h 84"/>
                <a:gd name="T8" fmla="*/ 42 w 83"/>
                <a:gd name="T9" fmla="*/ 0 h 84"/>
                <a:gd name="T10" fmla="*/ 42 w 83"/>
                <a:gd name="T11" fmla="*/ 71 h 84"/>
                <a:gd name="T12" fmla="*/ 12 w 83"/>
                <a:gd name="T13" fmla="*/ 42 h 84"/>
                <a:gd name="T14" fmla="*/ 42 w 83"/>
                <a:gd name="T15" fmla="*/ 12 h 84"/>
                <a:gd name="T16" fmla="*/ 71 w 83"/>
                <a:gd name="T17" fmla="*/ 42 h 84"/>
                <a:gd name="T18" fmla="*/ 42 w 83"/>
                <a:gd name="T19" fmla="*/ 71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3" h="84">
                  <a:moveTo>
                    <a:pt x="42" y="0"/>
                  </a:moveTo>
                  <a:cubicBezTo>
                    <a:pt x="18" y="0"/>
                    <a:pt x="0" y="19"/>
                    <a:pt x="0" y="42"/>
                  </a:cubicBezTo>
                  <a:cubicBezTo>
                    <a:pt x="0" y="65"/>
                    <a:pt x="18" y="84"/>
                    <a:pt x="42" y="84"/>
                  </a:cubicBezTo>
                  <a:cubicBezTo>
                    <a:pt x="65" y="84"/>
                    <a:pt x="83" y="65"/>
                    <a:pt x="83" y="42"/>
                  </a:cubicBezTo>
                  <a:cubicBezTo>
                    <a:pt x="83" y="19"/>
                    <a:pt x="65" y="0"/>
                    <a:pt x="42" y="0"/>
                  </a:cubicBezTo>
                  <a:close/>
                  <a:moveTo>
                    <a:pt x="42" y="71"/>
                  </a:moveTo>
                  <a:cubicBezTo>
                    <a:pt x="25" y="71"/>
                    <a:pt x="12" y="58"/>
                    <a:pt x="12" y="42"/>
                  </a:cubicBezTo>
                  <a:cubicBezTo>
                    <a:pt x="12" y="26"/>
                    <a:pt x="25" y="12"/>
                    <a:pt x="42" y="12"/>
                  </a:cubicBezTo>
                  <a:cubicBezTo>
                    <a:pt x="58" y="12"/>
                    <a:pt x="71" y="26"/>
                    <a:pt x="71" y="42"/>
                  </a:cubicBezTo>
                  <a:cubicBezTo>
                    <a:pt x="71" y="58"/>
                    <a:pt x="58" y="71"/>
                    <a:pt x="42" y="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39" name="Oval 224"/>
            <p:cNvSpPr>
              <a:spLocks noChangeArrowheads="1"/>
            </p:cNvSpPr>
            <p:nvPr userDrawn="1"/>
          </p:nvSpPr>
          <p:spPr bwMode="auto">
            <a:xfrm>
              <a:off x="2732" y="2517"/>
              <a:ext cx="22" cy="2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40" name="Freeform 225"/>
            <p:cNvSpPr>
              <a:spLocks noEditPoints="1"/>
            </p:cNvSpPr>
            <p:nvPr userDrawn="1"/>
          </p:nvSpPr>
          <p:spPr bwMode="auto">
            <a:xfrm>
              <a:off x="2680" y="2509"/>
              <a:ext cx="38" cy="38"/>
            </a:xfrm>
            <a:custGeom>
              <a:avLst/>
              <a:gdLst>
                <a:gd name="T0" fmla="*/ 42 w 84"/>
                <a:gd name="T1" fmla="*/ 0 h 84"/>
                <a:gd name="T2" fmla="*/ 0 w 84"/>
                <a:gd name="T3" fmla="*/ 42 h 84"/>
                <a:gd name="T4" fmla="*/ 42 w 84"/>
                <a:gd name="T5" fmla="*/ 84 h 84"/>
                <a:gd name="T6" fmla="*/ 84 w 84"/>
                <a:gd name="T7" fmla="*/ 42 h 84"/>
                <a:gd name="T8" fmla="*/ 42 w 84"/>
                <a:gd name="T9" fmla="*/ 0 h 84"/>
                <a:gd name="T10" fmla="*/ 42 w 84"/>
                <a:gd name="T11" fmla="*/ 71 h 84"/>
                <a:gd name="T12" fmla="*/ 12 w 84"/>
                <a:gd name="T13" fmla="*/ 42 h 84"/>
                <a:gd name="T14" fmla="*/ 42 w 84"/>
                <a:gd name="T15" fmla="*/ 12 h 84"/>
                <a:gd name="T16" fmla="*/ 71 w 84"/>
                <a:gd name="T17" fmla="*/ 42 h 84"/>
                <a:gd name="T18" fmla="*/ 42 w 84"/>
                <a:gd name="T19" fmla="*/ 71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65"/>
                    <a:pt x="19" y="84"/>
                    <a:pt x="42" y="84"/>
                  </a:cubicBezTo>
                  <a:cubicBezTo>
                    <a:pt x="65" y="84"/>
                    <a:pt x="84" y="65"/>
                    <a:pt x="84" y="42"/>
                  </a:cubicBezTo>
                  <a:cubicBezTo>
                    <a:pt x="84" y="19"/>
                    <a:pt x="65" y="0"/>
                    <a:pt x="42" y="0"/>
                  </a:cubicBezTo>
                  <a:close/>
                  <a:moveTo>
                    <a:pt x="42" y="71"/>
                  </a:moveTo>
                  <a:cubicBezTo>
                    <a:pt x="26" y="71"/>
                    <a:pt x="12" y="58"/>
                    <a:pt x="12" y="42"/>
                  </a:cubicBezTo>
                  <a:cubicBezTo>
                    <a:pt x="12" y="26"/>
                    <a:pt x="26" y="12"/>
                    <a:pt x="42" y="12"/>
                  </a:cubicBezTo>
                  <a:cubicBezTo>
                    <a:pt x="58" y="12"/>
                    <a:pt x="71" y="26"/>
                    <a:pt x="71" y="42"/>
                  </a:cubicBezTo>
                  <a:cubicBezTo>
                    <a:pt x="71" y="58"/>
                    <a:pt x="58" y="71"/>
                    <a:pt x="42" y="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41" name="Oval 226"/>
            <p:cNvSpPr>
              <a:spLocks noChangeArrowheads="1"/>
            </p:cNvSpPr>
            <p:nvPr userDrawn="1"/>
          </p:nvSpPr>
          <p:spPr bwMode="auto">
            <a:xfrm>
              <a:off x="2688" y="2517"/>
              <a:ext cx="22" cy="2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42" name="Freeform 227"/>
            <p:cNvSpPr>
              <a:spLocks noEditPoints="1"/>
            </p:cNvSpPr>
            <p:nvPr userDrawn="1"/>
          </p:nvSpPr>
          <p:spPr bwMode="auto">
            <a:xfrm>
              <a:off x="2543" y="2509"/>
              <a:ext cx="38" cy="38"/>
            </a:xfrm>
            <a:custGeom>
              <a:avLst/>
              <a:gdLst>
                <a:gd name="T0" fmla="*/ 42 w 84"/>
                <a:gd name="T1" fmla="*/ 0 h 84"/>
                <a:gd name="T2" fmla="*/ 0 w 84"/>
                <a:gd name="T3" fmla="*/ 42 h 84"/>
                <a:gd name="T4" fmla="*/ 42 w 84"/>
                <a:gd name="T5" fmla="*/ 84 h 84"/>
                <a:gd name="T6" fmla="*/ 84 w 84"/>
                <a:gd name="T7" fmla="*/ 42 h 84"/>
                <a:gd name="T8" fmla="*/ 42 w 84"/>
                <a:gd name="T9" fmla="*/ 0 h 84"/>
                <a:gd name="T10" fmla="*/ 42 w 84"/>
                <a:gd name="T11" fmla="*/ 71 h 84"/>
                <a:gd name="T12" fmla="*/ 13 w 84"/>
                <a:gd name="T13" fmla="*/ 42 h 84"/>
                <a:gd name="T14" fmla="*/ 42 w 84"/>
                <a:gd name="T15" fmla="*/ 12 h 84"/>
                <a:gd name="T16" fmla="*/ 72 w 84"/>
                <a:gd name="T17" fmla="*/ 42 h 84"/>
                <a:gd name="T18" fmla="*/ 42 w 84"/>
                <a:gd name="T19" fmla="*/ 71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65"/>
                    <a:pt x="19" y="84"/>
                    <a:pt x="42" y="84"/>
                  </a:cubicBezTo>
                  <a:cubicBezTo>
                    <a:pt x="65" y="84"/>
                    <a:pt x="84" y="65"/>
                    <a:pt x="84" y="42"/>
                  </a:cubicBezTo>
                  <a:cubicBezTo>
                    <a:pt x="84" y="19"/>
                    <a:pt x="65" y="0"/>
                    <a:pt x="42" y="0"/>
                  </a:cubicBezTo>
                  <a:close/>
                  <a:moveTo>
                    <a:pt x="42" y="71"/>
                  </a:moveTo>
                  <a:cubicBezTo>
                    <a:pt x="26" y="71"/>
                    <a:pt x="13" y="58"/>
                    <a:pt x="13" y="42"/>
                  </a:cubicBezTo>
                  <a:cubicBezTo>
                    <a:pt x="13" y="26"/>
                    <a:pt x="26" y="12"/>
                    <a:pt x="42" y="12"/>
                  </a:cubicBezTo>
                  <a:cubicBezTo>
                    <a:pt x="58" y="12"/>
                    <a:pt x="72" y="26"/>
                    <a:pt x="72" y="42"/>
                  </a:cubicBezTo>
                  <a:cubicBezTo>
                    <a:pt x="72" y="58"/>
                    <a:pt x="58" y="71"/>
                    <a:pt x="42" y="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43" name="Oval 228"/>
            <p:cNvSpPr>
              <a:spLocks noChangeArrowheads="1"/>
            </p:cNvSpPr>
            <p:nvPr userDrawn="1"/>
          </p:nvSpPr>
          <p:spPr bwMode="auto">
            <a:xfrm>
              <a:off x="2551" y="2517"/>
              <a:ext cx="22" cy="2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44" name="Freeform 229"/>
            <p:cNvSpPr>
              <a:spLocks noEditPoints="1"/>
            </p:cNvSpPr>
            <p:nvPr userDrawn="1"/>
          </p:nvSpPr>
          <p:spPr bwMode="auto">
            <a:xfrm>
              <a:off x="2499" y="2509"/>
              <a:ext cx="38" cy="38"/>
            </a:xfrm>
            <a:custGeom>
              <a:avLst/>
              <a:gdLst>
                <a:gd name="T0" fmla="*/ 41 w 83"/>
                <a:gd name="T1" fmla="*/ 0 h 84"/>
                <a:gd name="T2" fmla="*/ 0 w 83"/>
                <a:gd name="T3" fmla="*/ 42 h 84"/>
                <a:gd name="T4" fmla="*/ 41 w 83"/>
                <a:gd name="T5" fmla="*/ 84 h 84"/>
                <a:gd name="T6" fmla="*/ 83 w 83"/>
                <a:gd name="T7" fmla="*/ 42 h 84"/>
                <a:gd name="T8" fmla="*/ 41 w 83"/>
                <a:gd name="T9" fmla="*/ 0 h 84"/>
                <a:gd name="T10" fmla="*/ 41 w 83"/>
                <a:gd name="T11" fmla="*/ 71 h 84"/>
                <a:gd name="T12" fmla="*/ 12 w 83"/>
                <a:gd name="T13" fmla="*/ 42 h 84"/>
                <a:gd name="T14" fmla="*/ 41 w 83"/>
                <a:gd name="T15" fmla="*/ 12 h 84"/>
                <a:gd name="T16" fmla="*/ 71 w 83"/>
                <a:gd name="T17" fmla="*/ 42 h 84"/>
                <a:gd name="T18" fmla="*/ 41 w 83"/>
                <a:gd name="T19" fmla="*/ 71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3" h="84">
                  <a:moveTo>
                    <a:pt x="41" y="0"/>
                  </a:moveTo>
                  <a:cubicBezTo>
                    <a:pt x="18" y="0"/>
                    <a:pt x="0" y="19"/>
                    <a:pt x="0" y="42"/>
                  </a:cubicBezTo>
                  <a:cubicBezTo>
                    <a:pt x="0" y="65"/>
                    <a:pt x="18" y="84"/>
                    <a:pt x="41" y="84"/>
                  </a:cubicBezTo>
                  <a:cubicBezTo>
                    <a:pt x="65" y="84"/>
                    <a:pt x="83" y="65"/>
                    <a:pt x="83" y="42"/>
                  </a:cubicBezTo>
                  <a:cubicBezTo>
                    <a:pt x="83" y="19"/>
                    <a:pt x="65" y="0"/>
                    <a:pt x="41" y="0"/>
                  </a:cubicBezTo>
                  <a:close/>
                  <a:moveTo>
                    <a:pt x="41" y="71"/>
                  </a:moveTo>
                  <a:cubicBezTo>
                    <a:pt x="25" y="71"/>
                    <a:pt x="12" y="58"/>
                    <a:pt x="12" y="42"/>
                  </a:cubicBezTo>
                  <a:cubicBezTo>
                    <a:pt x="12" y="26"/>
                    <a:pt x="25" y="12"/>
                    <a:pt x="41" y="12"/>
                  </a:cubicBezTo>
                  <a:cubicBezTo>
                    <a:pt x="58" y="12"/>
                    <a:pt x="71" y="26"/>
                    <a:pt x="71" y="42"/>
                  </a:cubicBezTo>
                  <a:cubicBezTo>
                    <a:pt x="71" y="58"/>
                    <a:pt x="58" y="71"/>
                    <a:pt x="41" y="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45" name="Oval 230"/>
            <p:cNvSpPr>
              <a:spLocks noChangeArrowheads="1"/>
            </p:cNvSpPr>
            <p:nvPr userDrawn="1"/>
          </p:nvSpPr>
          <p:spPr bwMode="auto">
            <a:xfrm>
              <a:off x="2507" y="2517"/>
              <a:ext cx="22" cy="2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46" name="Freeform 231"/>
            <p:cNvSpPr>
              <a:spLocks noEditPoints="1"/>
            </p:cNvSpPr>
            <p:nvPr userDrawn="1"/>
          </p:nvSpPr>
          <p:spPr bwMode="auto">
            <a:xfrm>
              <a:off x="2455" y="2509"/>
              <a:ext cx="38" cy="38"/>
            </a:xfrm>
            <a:custGeom>
              <a:avLst/>
              <a:gdLst>
                <a:gd name="T0" fmla="*/ 42 w 84"/>
                <a:gd name="T1" fmla="*/ 0 h 84"/>
                <a:gd name="T2" fmla="*/ 0 w 84"/>
                <a:gd name="T3" fmla="*/ 42 h 84"/>
                <a:gd name="T4" fmla="*/ 42 w 84"/>
                <a:gd name="T5" fmla="*/ 84 h 84"/>
                <a:gd name="T6" fmla="*/ 84 w 84"/>
                <a:gd name="T7" fmla="*/ 42 h 84"/>
                <a:gd name="T8" fmla="*/ 42 w 84"/>
                <a:gd name="T9" fmla="*/ 0 h 84"/>
                <a:gd name="T10" fmla="*/ 42 w 84"/>
                <a:gd name="T11" fmla="*/ 71 h 84"/>
                <a:gd name="T12" fmla="*/ 12 w 84"/>
                <a:gd name="T13" fmla="*/ 42 h 84"/>
                <a:gd name="T14" fmla="*/ 42 w 84"/>
                <a:gd name="T15" fmla="*/ 12 h 84"/>
                <a:gd name="T16" fmla="*/ 71 w 84"/>
                <a:gd name="T17" fmla="*/ 42 h 84"/>
                <a:gd name="T18" fmla="*/ 42 w 84"/>
                <a:gd name="T19" fmla="*/ 71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65"/>
                    <a:pt x="19" y="84"/>
                    <a:pt x="42" y="84"/>
                  </a:cubicBezTo>
                  <a:cubicBezTo>
                    <a:pt x="65" y="84"/>
                    <a:pt x="84" y="65"/>
                    <a:pt x="84" y="42"/>
                  </a:cubicBezTo>
                  <a:cubicBezTo>
                    <a:pt x="84" y="19"/>
                    <a:pt x="65" y="0"/>
                    <a:pt x="42" y="0"/>
                  </a:cubicBezTo>
                  <a:close/>
                  <a:moveTo>
                    <a:pt x="42" y="71"/>
                  </a:moveTo>
                  <a:cubicBezTo>
                    <a:pt x="25" y="71"/>
                    <a:pt x="12" y="58"/>
                    <a:pt x="12" y="42"/>
                  </a:cubicBezTo>
                  <a:cubicBezTo>
                    <a:pt x="12" y="26"/>
                    <a:pt x="25" y="12"/>
                    <a:pt x="42" y="12"/>
                  </a:cubicBezTo>
                  <a:cubicBezTo>
                    <a:pt x="58" y="12"/>
                    <a:pt x="71" y="26"/>
                    <a:pt x="71" y="42"/>
                  </a:cubicBezTo>
                  <a:cubicBezTo>
                    <a:pt x="71" y="58"/>
                    <a:pt x="58" y="71"/>
                    <a:pt x="42" y="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47" name="Oval 232"/>
            <p:cNvSpPr>
              <a:spLocks noChangeArrowheads="1"/>
            </p:cNvSpPr>
            <p:nvPr userDrawn="1"/>
          </p:nvSpPr>
          <p:spPr bwMode="auto">
            <a:xfrm>
              <a:off x="2463" y="2517"/>
              <a:ext cx="22" cy="2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48" name="Freeform 233"/>
            <p:cNvSpPr>
              <a:spLocks noEditPoints="1"/>
            </p:cNvSpPr>
            <p:nvPr userDrawn="1"/>
          </p:nvSpPr>
          <p:spPr bwMode="auto">
            <a:xfrm>
              <a:off x="2375" y="2322"/>
              <a:ext cx="507" cy="206"/>
            </a:xfrm>
            <a:custGeom>
              <a:avLst/>
              <a:gdLst>
                <a:gd name="T0" fmla="*/ 1079 w 1125"/>
                <a:gd name="T1" fmla="*/ 347 h 455"/>
                <a:gd name="T2" fmla="*/ 1008 w 1125"/>
                <a:gd name="T3" fmla="*/ 355 h 455"/>
                <a:gd name="T4" fmla="*/ 1079 w 1125"/>
                <a:gd name="T5" fmla="*/ 343 h 455"/>
                <a:gd name="T6" fmla="*/ 1022 w 1125"/>
                <a:gd name="T7" fmla="*/ 120 h 455"/>
                <a:gd name="T8" fmla="*/ 958 w 1125"/>
                <a:gd name="T9" fmla="*/ 29 h 455"/>
                <a:gd name="T10" fmla="*/ 795 w 1125"/>
                <a:gd name="T11" fmla="*/ 29 h 455"/>
                <a:gd name="T12" fmla="*/ 780 w 1125"/>
                <a:gd name="T13" fmla="*/ 0 h 455"/>
                <a:gd name="T14" fmla="*/ 779 w 1125"/>
                <a:gd name="T15" fmla="*/ 0 h 455"/>
                <a:gd name="T16" fmla="*/ 765 w 1125"/>
                <a:gd name="T17" fmla="*/ 29 h 455"/>
                <a:gd name="T18" fmla="*/ 577 w 1125"/>
                <a:gd name="T19" fmla="*/ 15 h 455"/>
                <a:gd name="T20" fmla="*/ 562 w 1125"/>
                <a:gd name="T21" fmla="*/ 0 h 455"/>
                <a:gd name="T22" fmla="*/ 547 w 1125"/>
                <a:gd name="T23" fmla="*/ 15 h 455"/>
                <a:gd name="T24" fmla="*/ 360 w 1125"/>
                <a:gd name="T25" fmla="*/ 29 h 455"/>
                <a:gd name="T26" fmla="*/ 345 w 1125"/>
                <a:gd name="T27" fmla="*/ 0 h 455"/>
                <a:gd name="T28" fmla="*/ 344 w 1125"/>
                <a:gd name="T29" fmla="*/ 0 h 455"/>
                <a:gd name="T30" fmla="*/ 329 w 1125"/>
                <a:gd name="T31" fmla="*/ 29 h 455"/>
                <a:gd name="T32" fmla="*/ 166 w 1125"/>
                <a:gd name="T33" fmla="*/ 29 h 455"/>
                <a:gd name="T34" fmla="*/ 102 w 1125"/>
                <a:gd name="T35" fmla="*/ 120 h 455"/>
                <a:gd name="T36" fmla="*/ 46 w 1125"/>
                <a:gd name="T37" fmla="*/ 343 h 455"/>
                <a:gd name="T38" fmla="*/ 117 w 1125"/>
                <a:gd name="T39" fmla="*/ 355 h 455"/>
                <a:gd name="T40" fmla="*/ 46 w 1125"/>
                <a:gd name="T41" fmla="*/ 347 h 455"/>
                <a:gd name="T42" fmla="*/ 0 w 1125"/>
                <a:gd name="T43" fmla="*/ 355 h 455"/>
                <a:gd name="T44" fmla="*/ 8 w 1125"/>
                <a:gd name="T45" fmla="*/ 413 h 455"/>
                <a:gd name="T46" fmla="*/ 54 w 1125"/>
                <a:gd name="T47" fmla="*/ 406 h 455"/>
                <a:gd name="T48" fmla="*/ 157 w 1125"/>
                <a:gd name="T49" fmla="*/ 455 h 455"/>
                <a:gd name="T50" fmla="*/ 158 w 1125"/>
                <a:gd name="T51" fmla="*/ 455 h 455"/>
                <a:gd name="T52" fmla="*/ 269 w 1125"/>
                <a:gd name="T53" fmla="*/ 417 h 455"/>
                <a:gd name="T54" fmla="*/ 366 w 1125"/>
                <a:gd name="T55" fmla="*/ 417 h 455"/>
                <a:gd name="T56" fmla="*/ 477 w 1125"/>
                <a:gd name="T57" fmla="*/ 455 h 455"/>
                <a:gd name="T58" fmla="*/ 657 w 1125"/>
                <a:gd name="T59" fmla="*/ 455 h 455"/>
                <a:gd name="T60" fmla="*/ 719 w 1125"/>
                <a:gd name="T61" fmla="*/ 393 h 455"/>
                <a:gd name="T62" fmla="*/ 817 w 1125"/>
                <a:gd name="T63" fmla="*/ 393 h 455"/>
                <a:gd name="T64" fmla="*/ 914 w 1125"/>
                <a:gd name="T65" fmla="*/ 393 h 455"/>
                <a:gd name="T66" fmla="*/ 996 w 1125"/>
                <a:gd name="T67" fmla="*/ 406 h 455"/>
                <a:gd name="T68" fmla="*/ 1079 w 1125"/>
                <a:gd name="T69" fmla="*/ 413 h 455"/>
                <a:gd name="T70" fmla="*/ 1125 w 1125"/>
                <a:gd name="T71" fmla="*/ 405 h 455"/>
                <a:gd name="T72" fmla="*/ 1117 w 1125"/>
                <a:gd name="T73" fmla="*/ 347 h 455"/>
                <a:gd name="T74" fmla="*/ 157 w 1125"/>
                <a:gd name="T75" fmla="*/ 368 h 455"/>
                <a:gd name="T76" fmla="*/ 968 w 1125"/>
                <a:gd name="T77" fmla="*/ 344 h 455"/>
                <a:gd name="T78" fmla="*/ 159 w 1125"/>
                <a:gd name="T79" fmla="*/ 326 h 455"/>
                <a:gd name="T80" fmla="*/ 210 w 1125"/>
                <a:gd name="T81" fmla="*/ 120 h 455"/>
                <a:gd name="T82" fmla="*/ 159 w 1125"/>
                <a:gd name="T83" fmla="*/ 326 h 455"/>
                <a:gd name="T84" fmla="*/ 914 w 1125"/>
                <a:gd name="T85" fmla="*/ 120 h 455"/>
                <a:gd name="T86" fmla="*/ 965 w 1125"/>
                <a:gd name="T87" fmla="*/ 326 h 455"/>
                <a:gd name="T88" fmla="*/ 990 w 1125"/>
                <a:gd name="T89" fmla="*/ 85 h 455"/>
                <a:gd name="T90" fmla="*/ 745 w 1125"/>
                <a:gd name="T91" fmla="*/ 85 h 455"/>
                <a:gd name="T92" fmla="*/ 729 w 1125"/>
                <a:gd name="T93" fmla="*/ 340 h 455"/>
                <a:gd name="T94" fmla="*/ 570 w 1125"/>
                <a:gd name="T95" fmla="*/ 85 h 455"/>
                <a:gd name="T96" fmla="*/ 554 w 1125"/>
                <a:gd name="T97" fmla="*/ 340 h 455"/>
                <a:gd name="T98" fmla="*/ 396 w 1125"/>
                <a:gd name="T99" fmla="*/ 85 h 455"/>
                <a:gd name="T100" fmla="*/ 380 w 1125"/>
                <a:gd name="T101" fmla="*/ 340 h 455"/>
                <a:gd name="T102" fmla="*/ 210 w 1125"/>
                <a:gd name="T103" fmla="*/ 85 h 455"/>
                <a:gd name="T104" fmla="*/ 126 w 1125"/>
                <a:gd name="T105" fmla="*/ 77 h 455"/>
                <a:gd name="T106" fmla="*/ 210 w 1125"/>
                <a:gd name="T107" fmla="*/ 69 h 455"/>
                <a:gd name="T108" fmla="*/ 990 w 1125"/>
                <a:gd name="T109" fmla="*/ 69 h 455"/>
                <a:gd name="T110" fmla="*/ 990 w 1125"/>
                <a:gd name="T111" fmla="*/ 85 h 4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25" h="455">
                  <a:moveTo>
                    <a:pt x="1117" y="347"/>
                  </a:moveTo>
                  <a:cubicBezTo>
                    <a:pt x="1079" y="347"/>
                    <a:pt x="1079" y="347"/>
                    <a:pt x="1079" y="347"/>
                  </a:cubicBezTo>
                  <a:cubicBezTo>
                    <a:pt x="1074" y="347"/>
                    <a:pt x="1071" y="351"/>
                    <a:pt x="1071" y="355"/>
                  </a:cubicBezTo>
                  <a:cubicBezTo>
                    <a:pt x="1008" y="355"/>
                    <a:pt x="1008" y="355"/>
                    <a:pt x="1008" y="355"/>
                  </a:cubicBezTo>
                  <a:cubicBezTo>
                    <a:pt x="1011" y="351"/>
                    <a:pt x="1014" y="347"/>
                    <a:pt x="1016" y="343"/>
                  </a:cubicBezTo>
                  <a:cubicBezTo>
                    <a:pt x="1079" y="343"/>
                    <a:pt x="1079" y="343"/>
                    <a:pt x="1079" y="343"/>
                  </a:cubicBezTo>
                  <a:cubicBezTo>
                    <a:pt x="1079" y="120"/>
                    <a:pt x="1079" y="120"/>
                    <a:pt x="1079" y="120"/>
                  </a:cubicBezTo>
                  <a:cubicBezTo>
                    <a:pt x="1022" y="120"/>
                    <a:pt x="1022" y="120"/>
                    <a:pt x="1022" y="120"/>
                  </a:cubicBezTo>
                  <a:cubicBezTo>
                    <a:pt x="1022" y="89"/>
                    <a:pt x="1022" y="89"/>
                    <a:pt x="1022" y="89"/>
                  </a:cubicBezTo>
                  <a:cubicBezTo>
                    <a:pt x="1022" y="56"/>
                    <a:pt x="993" y="29"/>
                    <a:pt x="958" y="29"/>
                  </a:cubicBezTo>
                  <a:cubicBezTo>
                    <a:pt x="914" y="29"/>
                    <a:pt x="914" y="29"/>
                    <a:pt x="914" y="29"/>
                  </a:cubicBezTo>
                  <a:cubicBezTo>
                    <a:pt x="795" y="29"/>
                    <a:pt x="795" y="29"/>
                    <a:pt x="795" y="29"/>
                  </a:cubicBezTo>
                  <a:cubicBezTo>
                    <a:pt x="795" y="15"/>
                    <a:pt x="795" y="15"/>
                    <a:pt x="795" y="15"/>
                  </a:cubicBezTo>
                  <a:cubicBezTo>
                    <a:pt x="795" y="7"/>
                    <a:pt x="789" y="0"/>
                    <a:pt x="780" y="0"/>
                  </a:cubicBezTo>
                  <a:cubicBezTo>
                    <a:pt x="780" y="0"/>
                    <a:pt x="780" y="0"/>
                    <a:pt x="780" y="0"/>
                  </a:cubicBezTo>
                  <a:cubicBezTo>
                    <a:pt x="780" y="0"/>
                    <a:pt x="780" y="0"/>
                    <a:pt x="779" y="0"/>
                  </a:cubicBezTo>
                  <a:cubicBezTo>
                    <a:pt x="771" y="0"/>
                    <a:pt x="765" y="7"/>
                    <a:pt x="765" y="15"/>
                  </a:cubicBezTo>
                  <a:cubicBezTo>
                    <a:pt x="765" y="29"/>
                    <a:pt x="765" y="29"/>
                    <a:pt x="765" y="29"/>
                  </a:cubicBezTo>
                  <a:cubicBezTo>
                    <a:pt x="577" y="29"/>
                    <a:pt x="577" y="29"/>
                    <a:pt x="577" y="29"/>
                  </a:cubicBezTo>
                  <a:cubicBezTo>
                    <a:pt x="577" y="15"/>
                    <a:pt x="577" y="15"/>
                    <a:pt x="577" y="15"/>
                  </a:cubicBezTo>
                  <a:cubicBezTo>
                    <a:pt x="577" y="7"/>
                    <a:pt x="571" y="0"/>
                    <a:pt x="563" y="0"/>
                  </a:cubicBezTo>
                  <a:cubicBezTo>
                    <a:pt x="562" y="0"/>
                    <a:pt x="562" y="0"/>
                    <a:pt x="562" y="0"/>
                  </a:cubicBezTo>
                  <a:cubicBezTo>
                    <a:pt x="562" y="0"/>
                    <a:pt x="562" y="0"/>
                    <a:pt x="562" y="0"/>
                  </a:cubicBezTo>
                  <a:cubicBezTo>
                    <a:pt x="554" y="0"/>
                    <a:pt x="547" y="7"/>
                    <a:pt x="547" y="15"/>
                  </a:cubicBezTo>
                  <a:cubicBezTo>
                    <a:pt x="547" y="29"/>
                    <a:pt x="547" y="29"/>
                    <a:pt x="547" y="29"/>
                  </a:cubicBezTo>
                  <a:cubicBezTo>
                    <a:pt x="360" y="29"/>
                    <a:pt x="360" y="29"/>
                    <a:pt x="360" y="29"/>
                  </a:cubicBezTo>
                  <a:cubicBezTo>
                    <a:pt x="360" y="15"/>
                    <a:pt x="360" y="15"/>
                    <a:pt x="360" y="15"/>
                  </a:cubicBezTo>
                  <a:cubicBezTo>
                    <a:pt x="360" y="7"/>
                    <a:pt x="353" y="0"/>
                    <a:pt x="345" y="0"/>
                  </a:cubicBezTo>
                  <a:cubicBezTo>
                    <a:pt x="345" y="0"/>
                    <a:pt x="345" y="0"/>
                    <a:pt x="344" y="0"/>
                  </a:cubicBezTo>
                  <a:cubicBezTo>
                    <a:pt x="344" y="0"/>
                    <a:pt x="344" y="0"/>
                    <a:pt x="344" y="0"/>
                  </a:cubicBezTo>
                  <a:cubicBezTo>
                    <a:pt x="336" y="0"/>
                    <a:pt x="329" y="7"/>
                    <a:pt x="329" y="15"/>
                  </a:cubicBezTo>
                  <a:cubicBezTo>
                    <a:pt x="329" y="29"/>
                    <a:pt x="329" y="29"/>
                    <a:pt x="329" y="29"/>
                  </a:cubicBezTo>
                  <a:cubicBezTo>
                    <a:pt x="210" y="29"/>
                    <a:pt x="210" y="29"/>
                    <a:pt x="210" y="29"/>
                  </a:cubicBezTo>
                  <a:cubicBezTo>
                    <a:pt x="166" y="29"/>
                    <a:pt x="166" y="29"/>
                    <a:pt x="166" y="29"/>
                  </a:cubicBezTo>
                  <a:cubicBezTo>
                    <a:pt x="131" y="29"/>
                    <a:pt x="102" y="56"/>
                    <a:pt x="102" y="89"/>
                  </a:cubicBezTo>
                  <a:cubicBezTo>
                    <a:pt x="102" y="120"/>
                    <a:pt x="102" y="120"/>
                    <a:pt x="102" y="120"/>
                  </a:cubicBezTo>
                  <a:cubicBezTo>
                    <a:pt x="46" y="120"/>
                    <a:pt x="46" y="120"/>
                    <a:pt x="46" y="120"/>
                  </a:cubicBezTo>
                  <a:cubicBezTo>
                    <a:pt x="46" y="343"/>
                    <a:pt x="46" y="343"/>
                    <a:pt x="46" y="343"/>
                  </a:cubicBezTo>
                  <a:cubicBezTo>
                    <a:pt x="109" y="343"/>
                    <a:pt x="109" y="343"/>
                    <a:pt x="109" y="343"/>
                  </a:cubicBezTo>
                  <a:cubicBezTo>
                    <a:pt x="111" y="347"/>
                    <a:pt x="114" y="351"/>
                    <a:pt x="117" y="355"/>
                  </a:cubicBezTo>
                  <a:cubicBezTo>
                    <a:pt x="54" y="355"/>
                    <a:pt x="54" y="355"/>
                    <a:pt x="54" y="355"/>
                  </a:cubicBezTo>
                  <a:cubicBezTo>
                    <a:pt x="53" y="351"/>
                    <a:pt x="50" y="347"/>
                    <a:pt x="46" y="347"/>
                  </a:cubicBezTo>
                  <a:cubicBezTo>
                    <a:pt x="8" y="347"/>
                    <a:pt x="8" y="347"/>
                    <a:pt x="8" y="347"/>
                  </a:cubicBezTo>
                  <a:cubicBezTo>
                    <a:pt x="3" y="347"/>
                    <a:pt x="0" y="351"/>
                    <a:pt x="0" y="355"/>
                  </a:cubicBezTo>
                  <a:cubicBezTo>
                    <a:pt x="0" y="405"/>
                    <a:pt x="0" y="405"/>
                    <a:pt x="0" y="405"/>
                  </a:cubicBezTo>
                  <a:cubicBezTo>
                    <a:pt x="0" y="410"/>
                    <a:pt x="3" y="413"/>
                    <a:pt x="8" y="413"/>
                  </a:cubicBezTo>
                  <a:cubicBezTo>
                    <a:pt x="46" y="413"/>
                    <a:pt x="46" y="413"/>
                    <a:pt x="46" y="413"/>
                  </a:cubicBezTo>
                  <a:cubicBezTo>
                    <a:pt x="50" y="413"/>
                    <a:pt x="53" y="410"/>
                    <a:pt x="54" y="406"/>
                  </a:cubicBezTo>
                  <a:cubicBezTo>
                    <a:pt x="129" y="406"/>
                    <a:pt x="129" y="406"/>
                    <a:pt x="129" y="406"/>
                  </a:cubicBezTo>
                  <a:cubicBezTo>
                    <a:pt x="129" y="427"/>
                    <a:pt x="140" y="445"/>
                    <a:pt x="157" y="455"/>
                  </a:cubicBezTo>
                  <a:cubicBezTo>
                    <a:pt x="158" y="455"/>
                    <a:pt x="158" y="455"/>
                    <a:pt x="158" y="455"/>
                  </a:cubicBezTo>
                  <a:cubicBezTo>
                    <a:pt x="158" y="455"/>
                    <a:pt x="158" y="455"/>
                    <a:pt x="158" y="455"/>
                  </a:cubicBezTo>
                  <a:cubicBezTo>
                    <a:pt x="158" y="421"/>
                    <a:pt x="186" y="393"/>
                    <a:pt x="220" y="393"/>
                  </a:cubicBezTo>
                  <a:cubicBezTo>
                    <a:pt x="240" y="393"/>
                    <a:pt x="257" y="402"/>
                    <a:pt x="269" y="417"/>
                  </a:cubicBezTo>
                  <a:cubicBezTo>
                    <a:pt x="280" y="402"/>
                    <a:pt x="298" y="393"/>
                    <a:pt x="317" y="393"/>
                  </a:cubicBezTo>
                  <a:cubicBezTo>
                    <a:pt x="337" y="393"/>
                    <a:pt x="355" y="402"/>
                    <a:pt x="366" y="417"/>
                  </a:cubicBezTo>
                  <a:cubicBezTo>
                    <a:pt x="378" y="402"/>
                    <a:pt x="395" y="393"/>
                    <a:pt x="415" y="393"/>
                  </a:cubicBezTo>
                  <a:cubicBezTo>
                    <a:pt x="449" y="393"/>
                    <a:pt x="477" y="421"/>
                    <a:pt x="477" y="455"/>
                  </a:cubicBezTo>
                  <a:cubicBezTo>
                    <a:pt x="477" y="455"/>
                    <a:pt x="477" y="455"/>
                    <a:pt x="477" y="455"/>
                  </a:cubicBezTo>
                  <a:cubicBezTo>
                    <a:pt x="657" y="455"/>
                    <a:pt x="657" y="455"/>
                    <a:pt x="657" y="455"/>
                  </a:cubicBezTo>
                  <a:cubicBezTo>
                    <a:pt x="657" y="455"/>
                    <a:pt x="657" y="455"/>
                    <a:pt x="657" y="455"/>
                  </a:cubicBezTo>
                  <a:cubicBezTo>
                    <a:pt x="657" y="421"/>
                    <a:pt x="685" y="393"/>
                    <a:pt x="719" y="393"/>
                  </a:cubicBezTo>
                  <a:cubicBezTo>
                    <a:pt x="739" y="393"/>
                    <a:pt x="756" y="402"/>
                    <a:pt x="768" y="417"/>
                  </a:cubicBezTo>
                  <a:cubicBezTo>
                    <a:pt x="779" y="402"/>
                    <a:pt x="797" y="393"/>
                    <a:pt x="817" y="393"/>
                  </a:cubicBezTo>
                  <a:cubicBezTo>
                    <a:pt x="836" y="393"/>
                    <a:pt x="854" y="402"/>
                    <a:pt x="865" y="417"/>
                  </a:cubicBezTo>
                  <a:cubicBezTo>
                    <a:pt x="877" y="402"/>
                    <a:pt x="894" y="393"/>
                    <a:pt x="914" y="393"/>
                  </a:cubicBezTo>
                  <a:cubicBezTo>
                    <a:pt x="946" y="393"/>
                    <a:pt x="973" y="418"/>
                    <a:pt x="976" y="449"/>
                  </a:cubicBezTo>
                  <a:cubicBezTo>
                    <a:pt x="988" y="438"/>
                    <a:pt x="995" y="423"/>
                    <a:pt x="996" y="406"/>
                  </a:cubicBezTo>
                  <a:cubicBezTo>
                    <a:pt x="1071" y="406"/>
                    <a:pt x="1071" y="406"/>
                    <a:pt x="1071" y="406"/>
                  </a:cubicBezTo>
                  <a:cubicBezTo>
                    <a:pt x="1071" y="410"/>
                    <a:pt x="1074" y="413"/>
                    <a:pt x="1079" y="413"/>
                  </a:cubicBezTo>
                  <a:cubicBezTo>
                    <a:pt x="1117" y="413"/>
                    <a:pt x="1117" y="413"/>
                    <a:pt x="1117" y="413"/>
                  </a:cubicBezTo>
                  <a:cubicBezTo>
                    <a:pt x="1121" y="413"/>
                    <a:pt x="1125" y="410"/>
                    <a:pt x="1125" y="405"/>
                  </a:cubicBezTo>
                  <a:cubicBezTo>
                    <a:pt x="1125" y="355"/>
                    <a:pt x="1125" y="355"/>
                    <a:pt x="1125" y="355"/>
                  </a:cubicBezTo>
                  <a:cubicBezTo>
                    <a:pt x="1125" y="351"/>
                    <a:pt x="1121" y="347"/>
                    <a:pt x="1117" y="347"/>
                  </a:cubicBezTo>
                  <a:close/>
                  <a:moveTo>
                    <a:pt x="968" y="368"/>
                  </a:moveTo>
                  <a:cubicBezTo>
                    <a:pt x="157" y="368"/>
                    <a:pt x="157" y="368"/>
                    <a:pt x="157" y="368"/>
                  </a:cubicBezTo>
                  <a:cubicBezTo>
                    <a:pt x="157" y="344"/>
                    <a:pt x="157" y="344"/>
                    <a:pt x="157" y="344"/>
                  </a:cubicBezTo>
                  <a:cubicBezTo>
                    <a:pt x="968" y="344"/>
                    <a:pt x="968" y="344"/>
                    <a:pt x="968" y="344"/>
                  </a:cubicBezTo>
                  <a:lnTo>
                    <a:pt x="968" y="368"/>
                  </a:lnTo>
                  <a:close/>
                  <a:moveTo>
                    <a:pt x="159" y="326"/>
                  </a:moveTo>
                  <a:cubicBezTo>
                    <a:pt x="159" y="120"/>
                    <a:pt x="159" y="120"/>
                    <a:pt x="159" y="120"/>
                  </a:cubicBezTo>
                  <a:cubicBezTo>
                    <a:pt x="210" y="120"/>
                    <a:pt x="210" y="120"/>
                    <a:pt x="210" y="120"/>
                  </a:cubicBezTo>
                  <a:cubicBezTo>
                    <a:pt x="210" y="326"/>
                    <a:pt x="210" y="326"/>
                    <a:pt x="210" y="326"/>
                  </a:cubicBezTo>
                  <a:lnTo>
                    <a:pt x="159" y="326"/>
                  </a:lnTo>
                  <a:close/>
                  <a:moveTo>
                    <a:pt x="914" y="326"/>
                  </a:moveTo>
                  <a:cubicBezTo>
                    <a:pt x="914" y="120"/>
                    <a:pt x="914" y="120"/>
                    <a:pt x="914" y="120"/>
                  </a:cubicBezTo>
                  <a:cubicBezTo>
                    <a:pt x="965" y="120"/>
                    <a:pt x="965" y="120"/>
                    <a:pt x="965" y="120"/>
                  </a:cubicBezTo>
                  <a:cubicBezTo>
                    <a:pt x="965" y="326"/>
                    <a:pt x="965" y="326"/>
                    <a:pt x="965" y="326"/>
                  </a:cubicBezTo>
                  <a:lnTo>
                    <a:pt x="914" y="326"/>
                  </a:lnTo>
                  <a:close/>
                  <a:moveTo>
                    <a:pt x="990" y="85"/>
                  </a:moveTo>
                  <a:cubicBezTo>
                    <a:pt x="914" y="85"/>
                    <a:pt x="914" y="85"/>
                    <a:pt x="914" y="85"/>
                  </a:cubicBezTo>
                  <a:cubicBezTo>
                    <a:pt x="745" y="85"/>
                    <a:pt x="745" y="85"/>
                    <a:pt x="745" y="85"/>
                  </a:cubicBezTo>
                  <a:cubicBezTo>
                    <a:pt x="745" y="340"/>
                    <a:pt x="745" y="340"/>
                    <a:pt x="745" y="340"/>
                  </a:cubicBezTo>
                  <a:cubicBezTo>
                    <a:pt x="729" y="340"/>
                    <a:pt x="729" y="340"/>
                    <a:pt x="729" y="340"/>
                  </a:cubicBezTo>
                  <a:cubicBezTo>
                    <a:pt x="729" y="85"/>
                    <a:pt x="729" y="85"/>
                    <a:pt x="729" y="85"/>
                  </a:cubicBezTo>
                  <a:cubicBezTo>
                    <a:pt x="570" y="85"/>
                    <a:pt x="570" y="85"/>
                    <a:pt x="570" y="85"/>
                  </a:cubicBezTo>
                  <a:cubicBezTo>
                    <a:pt x="570" y="340"/>
                    <a:pt x="570" y="340"/>
                    <a:pt x="570" y="340"/>
                  </a:cubicBezTo>
                  <a:cubicBezTo>
                    <a:pt x="554" y="340"/>
                    <a:pt x="554" y="340"/>
                    <a:pt x="554" y="340"/>
                  </a:cubicBezTo>
                  <a:cubicBezTo>
                    <a:pt x="554" y="85"/>
                    <a:pt x="554" y="85"/>
                    <a:pt x="554" y="85"/>
                  </a:cubicBezTo>
                  <a:cubicBezTo>
                    <a:pt x="396" y="85"/>
                    <a:pt x="396" y="85"/>
                    <a:pt x="396" y="85"/>
                  </a:cubicBezTo>
                  <a:cubicBezTo>
                    <a:pt x="396" y="340"/>
                    <a:pt x="396" y="340"/>
                    <a:pt x="396" y="340"/>
                  </a:cubicBezTo>
                  <a:cubicBezTo>
                    <a:pt x="380" y="340"/>
                    <a:pt x="380" y="340"/>
                    <a:pt x="380" y="340"/>
                  </a:cubicBezTo>
                  <a:cubicBezTo>
                    <a:pt x="380" y="85"/>
                    <a:pt x="380" y="85"/>
                    <a:pt x="380" y="85"/>
                  </a:cubicBezTo>
                  <a:cubicBezTo>
                    <a:pt x="210" y="85"/>
                    <a:pt x="210" y="85"/>
                    <a:pt x="210" y="85"/>
                  </a:cubicBezTo>
                  <a:cubicBezTo>
                    <a:pt x="134" y="85"/>
                    <a:pt x="134" y="85"/>
                    <a:pt x="134" y="85"/>
                  </a:cubicBezTo>
                  <a:cubicBezTo>
                    <a:pt x="129" y="85"/>
                    <a:pt x="126" y="82"/>
                    <a:pt x="126" y="77"/>
                  </a:cubicBezTo>
                  <a:cubicBezTo>
                    <a:pt x="126" y="73"/>
                    <a:pt x="129" y="69"/>
                    <a:pt x="134" y="69"/>
                  </a:cubicBezTo>
                  <a:cubicBezTo>
                    <a:pt x="210" y="69"/>
                    <a:pt x="210" y="69"/>
                    <a:pt x="210" y="69"/>
                  </a:cubicBezTo>
                  <a:cubicBezTo>
                    <a:pt x="914" y="69"/>
                    <a:pt x="914" y="69"/>
                    <a:pt x="914" y="69"/>
                  </a:cubicBezTo>
                  <a:cubicBezTo>
                    <a:pt x="990" y="69"/>
                    <a:pt x="990" y="69"/>
                    <a:pt x="990" y="69"/>
                  </a:cubicBezTo>
                  <a:cubicBezTo>
                    <a:pt x="995" y="69"/>
                    <a:pt x="999" y="73"/>
                    <a:pt x="999" y="77"/>
                  </a:cubicBezTo>
                  <a:cubicBezTo>
                    <a:pt x="999" y="82"/>
                    <a:pt x="995" y="85"/>
                    <a:pt x="990" y="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49" name="Freeform 234"/>
            <p:cNvSpPr>
              <a:spLocks noEditPoints="1"/>
            </p:cNvSpPr>
            <p:nvPr userDrawn="1"/>
          </p:nvSpPr>
          <p:spPr bwMode="auto">
            <a:xfrm>
              <a:off x="2257" y="2509"/>
              <a:ext cx="38" cy="38"/>
            </a:xfrm>
            <a:custGeom>
              <a:avLst/>
              <a:gdLst>
                <a:gd name="T0" fmla="*/ 42 w 83"/>
                <a:gd name="T1" fmla="*/ 0 h 84"/>
                <a:gd name="T2" fmla="*/ 0 w 83"/>
                <a:gd name="T3" fmla="*/ 42 h 84"/>
                <a:gd name="T4" fmla="*/ 42 w 83"/>
                <a:gd name="T5" fmla="*/ 84 h 84"/>
                <a:gd name="T6" fmla="*/ 83 w 83"/>
                <a:gd name="T7" fmla="*/ 42 h 84"/>
                <a:gd name="T8" fmla="*/ 42 w 83"/>
                <a:gd name="T9" fmla="*/ 0 h 84"/>
                <a:gd name="T10" fmla="*/ 42 w 83"/>
                <a:gd name="T11" fmla="*/ 71 h 84"/>
                <a:gd name="T12" fmla="*/ 12 w 83"/>
                <a:gd name="T13" fmla="*/ 42 h 84"/>
                <a:gd name="T14" fmla="*/ 42 w 83"/>
                <a:gd name="T15" fmla="*/ 12 h 84"/>
                <a:gd name="T16" fmla="*/ 71 w 83"/>
                <a:gd name="T17" fmla="*/ 42 h 84"/>
                <a:gd name="T18" fmla="*/ 42 w 83"/>
                <a:gd name="T19" fmla="*/ 71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3" h="84">
                  <a:moveTo>
                    <a:pt x="42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65"/>
                    <a:pt x="19" y="84"/>
                    <a:pt x="42" y="84"/>
                  </a:cubicBezTo>
                  <a:cubicBezTo>
                    <a:pt x="65" y="84"/>
                    <a:pt x="83" y="65"/>
                    <a:pt x="83" y="42"/>
                  </a:cubicBezTo>
                  <a:cubicBezTo>
                    <a:pt x="83" y="19"/>
                    <a:pt x="65" y="0"/>
                    <a:pt x="42" y="0"/>
                  </a:cubicBezTo>
                  <a:close/>
                  <a:moveTo>
                    <a:pt x="42" y="71"/>
                  </a:moveTo>
                  <a:cubicBezTo>
                    <a:pt x="25" y="71"/>
                    <a:pt x="12" y="58"/>
                    <a:pt x="12" y="42"/>
                  </a:cubicBezTo>
                  <a:cubicBezTo>
                    <a:pt x="12" y="26"/>
                    <a:pt x="25" y="12"/>
                    <a:pt x="42" y="12"/>
                  </a:cubicBezTo>
                  <a:cubicBezTo>
                    <a:pt x="58" y="12"/>
                    <a:pt x="71" y="26"/>
                    <a:pt x="71" y="42"/>
                  </a:cubicBezTo>
                  <a:cubicBezTo>
                    <a:pt x="71" y="58"/>
                    <a:pt x="58" y="71"/>
                    <a:pt x="42" y="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50" name="Oval 235"/>
            <p:cNvSpPr>
              <a:spLocks noChangeArrowheads="1"/>
            </p:cNvSpPr>
            <p:nvPr userDrawn="1"/>
          </p:nvSpPr>
          <p:spPr bwMode="auto">
            <a:xfrm>
              <a:off x="2265" y="2517"/>
              <a:ext cx="22" cy="2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51" name="Freeform 236"/>
            <p:cNvSpPr>
              <a:spLocks noEditPoints="1"/>
            </p:cNvSpPr>
            <p:nvPr userDrawn="1"/>
          </p:nvSpPr>
          <p:spPr bwMode="auto">
            <a:xfrm>
              <a:off x="2213" y="2509"/>
              <a:ext cx="38" cy="38"/>
            </a:xfrm>
            <a:custGeom>
              <a:avLst/>
              <a:gdLst>
                <a:gd name="T0" fmla="*/ 42 w 84"/>
                <a:gd name="T1" fmla="*/ 0 h 84"/>
                <a:gd name="T2" fmla="*/ 0 w 84"/>
                <a:gd name="T3" fmla="*/ 42 h 84"/>
                <a:gd name="T4" fmla="*/ 42 w 84"/>
                <a:gd name="T5" fmla="*/ 84 h 84"/>
                <a:gd name="T6" fmla="*/ 84 w 84"/>
                <a:gd name="T7" fmla="*/ 42 h 84"/>
                <a:gd name="T8" fmla="*/ 42 w 84"/>
                <a:gd name="T9" fmla="*/ 0 h 84"/>
                <a:gd name="T10" fmla="*/ 42 w 84"/>
                <a:gd name="T11" fmla="*/ 71 h 84"/>
                <a:gd name="T12" fmla="*/ 12 w 84"/>
                <a:gd name="T13" fmla="*/ 42 h 84"/>
                <a:gd name="T14" fmla="*/ 42 w 84"/>
                <a:gd name="T15" fmla="*/ 12 h 84"/>
                <a:gd name="T16" fmla="*/ 71 w 84"/>
                <a:gd name="T17" fmla="*/ 42 h 84"/>
                <a:gd name="T18" fmla="*/ 42 w 84"/>
                <a:gd name="T19" fmla="*/ 71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65"/>
                    <a:pt x="19" y="84"/>
                    <a:pt x="42" y="84"/>
                  </a:cubicBezTo>
                  <a:cubicBezTo>
                    <a:pt x="65" y="84"/>
                    <a:pt x="84" y="65"/>
                    <a:pt x="84" y="42"/>
                  </a:cubicBezTo>
                  <a:cubicBezTo>
                    <a:pt x="84" y="19"/>
                    <a:pt x="65" y="0"/>
                    <a:pt x="42" y="0"/>
                  </a:cubicBezTo>
                  <a:close/>
                  <a:moveTo>
                    <a:pt x="42" y="71"/>
                  </a:moveTo>
                  <a:cubicBezTo>
                    <a:pt x="26" y="71"/>
                    <a:pt x="12" y="58"/>
                    <a:pt x="12" y="42"/>
                  </a:cubicBezTo>
                  <a:cubicBezTo>
                    <a:pt x="12" y="26"/>
                    <a:pt x="26" y="12"/>
                    <a:pt x="42" y="12"/>
                  </a:cubicBezTo>
                  <a:cubicBezTo>
                    <a:pt x="58" y="12"/>
                    <a:pt x="71" y="26"/>
                    <a:pt x="71" y="42"/>
                  </a:cubicBezTo>
                  <a:cubicBezTo>
                    <a:pt x="71" y="58"/>
                    <a:pt x="58" y="71"/>
                    <a:pt x="42" y="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52" name="Oval 237"/>
            <p:cNvSpPr>
              <a:spLocks noChangeArrowheads="1"/>
            </p:cNvSpPr>
            <p:nvPr userDrawn="1"/>
          </p:nvSpPr>
          <p:spPr bwMode="auto">
            <a:xfrm>
              <a:off x="2221" y="2517"/>
              <a:ext cx="22" cy="2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53" name="Freeform 238"/>
            <p:cNvSpPr>
              <a:spLocks noEditPoints="1"/>
            </p:cNvSpPr>
            <p:nvPr userDrawn="1"/>
          </p:nvSpPr>
          <p:spPr bwMode="auto">
            <a:xfrm>
              <a:off x="2169" y="2509"/>
              <a:ext cx="38" cy="38"/>
            </a:xfrm>
            <a:custGeom>
              <a:avLst/>
              <a:gdLst>
                <a:gd name="T0" fmla="*/ 42 w 84"/>
                <a:gd name="T1" fmla="*/ 0 h 84"/>
                <a:gd name="T2" fmla="*/ 0 w 84"/>
                <a:gd name="T3" fmla="*/ 42 h 84"/>
                <a:gd name="T4" fmla="*/ 42 w 84"/>
                <a:gd name="T5" fmla="*/ 84 h 84"/>
                <a:gd name="T6" fmla="*/ 84 w 84"/>
                <a:gd name="T7" fmla="*/ 42 h 84"/>
                <a:gd name="T8" fmla="*/ 42 w 84"/>
                <a:gd name="T9" fmla="*/ 0 h 84"/>
                <a:gd name="T10" fmla="*/ 42 w 84"/>
                <a:gd name="T11" fmla="*/ 71 h 84"/>
                <a:gd name="T12" fmla="*/ 13 w 84"/>
                <a:gd name="T13" fmla="*/ 42 h 84"/>
                <a:gd name="T14" fmla="*/ 42 w 84"/>
                <a:gd name="T15" fmla="*/ 12 h 84"/>
                <a:gd name="T16" fmla="*/ 72 w 84"/>
                <a:gd name="T17" fmla="*/ 42 h 84"/>
                <a:gd name="T18" fmla="*/ 42 w 84"/>
                <a:gd name="T19" fmla="*/ 71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65"/>
                    <a:pt x="19" y="84"/>
                    <a:pt x="42" y="84"/>
                  </a:cubicBezTo>
                  <a:cubicBezTo>
                    <a:pt x="65" y="84"/>
                    <a:pt x="84" y="65"/>
                    <a:pt x="84" y="42"/>
                  </a:cubicBezTo>
                  <a:cubicBezTo>
                    <a:pt x="84" y="19"/>
                    <a:pt x="65" y="0"/>
                    <a:pt x="42" y="0"/>
                  </a:cubicBezTo>
                  <a:close/>
                  <a:moveTo>
                    <a:pt x="42" y="71"/>
                  </a:moveTo>
                  <a:cubicBezTo>
                    <a:pt x="26" y="71"/>
                    <a:pt x="13" y="58"/>
                    <a:pt x="13" y="42"/>
                  </a:cubicBezTo>
                  <a:cubicBezTo>
                    <a:pt x="13" y="26"/>
                    <a:pt x="26" y="12"/>
                    <a:pt x="42" y="12"/>
                  </a:cubicBezTo>
                  <a:cubicBezTo>
                    <a:pt x="59" y="12"/>
                    <a:pt x="72" y="26"/>
                    <a:pt x="72" y="42"/>
                  </a:cubicBezTo>
                  <a:cubicBezTo>
                    <a:pt x="72" y="58"/>
                    <a:pt x="59" y="71"/>
                    <a:pt x="42" y="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54" name="Oval 239"/>
            <p:cNvSpPr>
              <a:spLocks noChangeArrowheads="1"/>
            </p:cNvSpPr>
            <p:nvPr userDrawn="1"/>
          </p:nvSpPr>
          <p:spPr bwMode="auto">
            <a:xfrm>
              <a:off x="2177" y="2517"/>
              <a:ext cx="22" cy="2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55" name="Freeform 240"/>
            <p:cNvSpPr>
              <a:spLocks noEditPoints="1"/>
            </p:cNvSpPr>
            <p:nvPr userDrawn="1"/>
          </p:nvSpPr>
          <p:spPr bwMode="auto">
            <a:xfrm>
              <a:off x="2033" y="2509"/>
              <a:ext cx="37" cy="38"/>
            </a:xfrm>
            <a:custGeom>
              <a:avLst/>
              <a:gdLst>
                <a:gd name="T0" fmla="*/ 42 w 83"/>
                <a:gd name="T1" fmla="*/ 0 h 84"/>
                <a:gd name="T2" fmla="*/ 0 w 83"/>
                <a:gd name="T3" fmla="*/ 42 h 84"/>
                <a:gd name="T4" fmla="*/ 42 w 83"/>
                <a:gd name="T5" fmla="*/ 84 h 84"/>
                <a:gd name="T6" fmla="*/ 83 w 83"/>
                <a:gd name="T7" fmla="*/ 42 h 84"/>
                <a:gd name="T8" fmla="*/ 42 w 83"/>
                <a:gd name="T9" fmla="*/ 0 h 84"/>
                <a:gd name="T10" fmla="*/ 42 w 83"/>
                <a:gd name="T11" fmla="*/ 71 h 84"/>
                <a:gd name="T12" fmla="*/ 12 w 83"/>
                <a:gd name="T13" fmla="*/ 42 h 84"/>
                <a:gd name="T14" fmla="*/ 42 w 83"/>
                <a:gd name="T15" fmla="*/ 12 h 84"/>
                <a:gd name="T16" fmla="*/ 71 w 83"/>
                <a:gd name="T17" fmla="*/ 42 h 84"/>
                <a:gd name="T18" fmla="*/ 42 w 83"/>
                <a:gd name="T19" fmla="*/ 71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3" h="84">
                  <a:moveTo>
                    <a:pt x="42" y="0"/>
                  </a:moveTo>
                  <a:cubicBezTo>
                    <a:pt x="18" y="0"/>
                    <a:pt x="0" y="19"/>
                    <a:pt x="0" y="42"/>
                  </a:cubicBezTo>
                  <a:cubicBezTo>
                    <a:pt x="0" y="65"/>
                    <a:pt x="18" y="84"/>
                    <a:pt x="42" y="84"/>
                  </a:cubicBezTo>
                  <a:cubicBezTo>
                    <a:pt x="65" y="84"/>
                    <a:pt x="83" y="65"/>
                    <a:pt x="83" y="42"/>
                  </a:cubicBezTo>
                  <a:cubicBezTo>
                    <a:pt x="83" y="19"/>
                    <a:pt x="65" y="0"/>
                    <a:pt x="42" y="0"/>
                  </a:cubicBezTo>
                  <a:close/>
                  <a:moveTo>
                    <a:pt x="42" y="71"/>
                  </a:moveTo>
                  <a:cubicBezTo>
                    <a:pt x="25" y="71"/>
                    <a:pt x="12" y="58"/>
                    <a:pt x="12" y="42"/>
                  </a:cubicBezTo>
                  <a:cubicBezTo>
                    <a:pt x="12" y="26"/>
                    <a:pt x="25" y="12"/>
                    <a:pt x="42" y="12"/>
                  </a:cubicBezTo>
                  <a:cubicBezTo>
                    <a:pt x="58" y="12"/>
                    <a:pt x="71" y="26"/>
                    <a:pt x="71" y="42"/>
                  </a:cubicBezTo>
                  <a:cubicBezTo>
                    <a:pt x="71" y="58"/>
                    <a:pt x="58" y="71"/>
                    <a:pt x="42" y="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56" name="Oval 241"/>
            <p:cNvSpPr>
              <a:spLocks noChangeArrowheads="1"/>
            </p:cNvSpPr>
            <p:nvPr userDrawn="1"/>
          </p:nvSpPr>
          <p:spPr bwMode="auto">
            <a:xfrm>
              <a:off x="2041" y="2517"/>
              <a:ext cx="21" cy="2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57" name="Freeform 242"/>
            <p:cNvSpPr>
              <a:spLocks noEditPoints="1"/>
            </p:cNvSpPr>
            <p:nvPr userDrawn="1"/>
          </p:nvSpPr>
          <p:spPr bwMode="auto">
            <a:xfrm>
              <a:off x="1988" y="2509"/>
              <a:ext cx="38" cy="38"/>
            </a:xfrm>
            <a:custGeom>
              <a:avLst/>
              <a:gdLst>
                <a:gd name="T0" fmla="*/ 42 w 84"/>
                <a:gd name="T1" fmla="*/ 0 h 84"/>
                <a:gd name="T2" fmla="*/ 0 w 84"/>
                <a:gd name="T3" fmla="*/ 42 h 84"/>
                <a:gd name="T4" fmla="*/ 42 w 84"/>
                <a:gd name="T5" fmla="*/ 84 h 84"/>
                <a:gd name="T6" fmla="*/ 84 w 84"/>
                <a:gd name="T7" fmla="*/ 42 h 84"/>
                <a:gd name="T8" fmla="*/ 42 w 84"/>
                <a:gd name="T9" fmla="*/ 0 h 84"/>
                <a:gd name="T10" fmla="*/ 42 w 84"/>
                <a:gd name="T11" fmla="*/ 71 h 84"/>
                <a:gd name="T12" fmla="*/ 12 w 84"/>
                <a:gd name="T13" fmla="*/ 42 h 84"/>
                <a:gd name="T14" fmla="*/ 42 w 84"/>
                <a:gd name="T15" fmla="*/ 12 h 84"/>
                <a:gd name="T16" fmla="*/ 71 w 84"/>
                <a:gd name="T17" fmla="*/ 42 h 84"/>
                <a:gd name="T18" fmla="*/ 42 w 84"/>
                <a:gd name="T19" fmla="*/ 71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65"/>
                    <a:pt x="19" y="84"/>
                    <a:pt x="42" y="84"/>
                  </a:cubicBezTo>
                  <a:cubicBezTo>
                    <a:pt x="65" y="84"/>
                    <a:pt x="84" y="65"/>
                    <a:pt x="84" y="42"/>
                  </a:cubicBezTo>
                  <a:cubicBezTo>
                    <a:pt x="84" y="19"/>
                    <a:pt x="65" y="0"/>
                    <a:pt x="42" y="0"/>
                  </a:cubicBezTo>
                  <a:close/>
                  <a:moveTo>
                    <a:pt x="42" y="71"/>
                  </a:moveTo>
                  <a:cubicBezTo>
                    <a:pt x="26" y="71"/>
                    <a:pt x="12" y="58"/>
                    <a:pt x="12" y="42"/>
                  </a:cubicBezTo>
                  <a:cubicBezTo>
                    <a:pt x="12" y="26"/>
                    <a:pt x="26" y="12"/>
                    <a:pt x="42" y="12"/>
                  </a:cubicBezTo>
                  <a:cubicBezTo>
                    <a:pt x="58" y="12"/>
                    <a:pt x="71" y="26"/>
                    <a:pt x="71" y="42"/>
                  </a:cubicBezTo>
                  <a:cubicBezTo>
                    <a:pt x="71" y="58"/>
                    <a:pt x="58" y="71"/>
                    <a:pt x="42" y="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58" name="Oval 243"/>
            <p:cNvSpPr>
              <a:spLocks noChangeArrowheads="1"/>
            </p:cNvSpPr>
            <p:nvPr userDrawn="1"/>
          </p:nvSpPr>
          <p:spPr bwMode="auto">
            <a:xfrm>
              <a:off x="1996" y="2517"/>
              <a:ext cx="22" cy="2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59" name="Freeform 244"/>
            <p:cNvSpPr>
              <a:spLocks noEditPoints="1"/>
            </p:cNvSpPr>
            <p:nvPr userDrawn="1"/>
          </p:nvSpPr>
          <p:spPr bwMode="auto">
            <a:xfrm>
              <a:off x="1944" y="2509"/>
              <a:ext cx="38" cy="38"/>
            </a:xfrm>
            <a:custGeom>
              <a:avLst/>
              <a:gdLst>
                <a:gd name="T0" fmla="*/ 42 w 84"/>
                <a:gd name="T1" fmla="*/ 0 h 84"/>
                <a:gd name="T2" fmla="*/ 0 w 84"/>
                <a:gd name="T3" fmla="*/ 42 h 84"/>
                <a:gd name="T4" fmla="*/ 42 w 84"/>
                <a:gd name="T5" fmla="*/ 84 h 84"/>
                <a:gd name="T6" fmla="*/ 84 w 84"/>
                <a:gd name="T7" fmla="*/ 42 h 84"/>
                <a:gd name="T8" fmla="*/ 42 w 84"/>
                <a:gd name="T9" fmla="*/ 0 h 84"/>
                <a:gd name="T10" fmla="*/ 42 w 84"/>
                <a:gd name="T11" fmla="*/ 71 h 84"/>
                <a:gd name="T12" fmla="*/ 13 w 84"/>
                <a:gd name="T13" fmla="*/ 42 h 84"/>
                <a:gd name="T14" fmla="*/ 42 w 84"/>
                <a:gd name="T15" fmla="*/ 12 h 84"/>
                <a:gd name="T16" fmla="*/ 72 w 84"/>
                <a:gd name="T17" fmla="*/ 42 h 84"/>
                <a:gd name="T18" fmla="*/ 42 w 84"/>
                <a:gd name="T19" fmla="*/ 71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65"/>
                    <a:pt x="19" y="84"/>
                    <a:pt x="42" y="84"/>
                  </a:cubicBezTo>
                  <a:cubicBezTo>
                    <a:pt x="65" y="84"/>
                    <a:pt x="84" y="65"/>
                    <a:pt x="84" y="42"/>
                  </a:cubicBezTo>
                  <a:cubicBezTo>
                    <a:pt x="84" y="19"/>
                    <a:pt x="65" y="0"/>
                    <a:pt x="42" y="0"/>
                  </a:cubicBezTo>
                  <a:close/>
                  <a:moveTo>
                    <a:pt x="42" y="71"/>
                  </a:moveTo>
                  <a:cubicBezTo>
                    <a:pt x="26" y="71"/>
                    <a:pt x="13" y="58"/>
                    <a:pt x="13" y="42"/>
                  </a:cubicBezTo>
                  <a:cubicBezTo>
                    <a:pt x="13" y="26"/>
                    <a:pt x="26" y="12"/>
                    <a:pt x="42" y="12"/>
                  </a:cubicBezTo>
                  <a:cubicBezTo>
                    <a:pt x="58" y="12"/>
                    <a:pt x="72" y="26"/>
                    <a:pt x="72" y="42"/>
                  </a:cubicBezTo>
                  <a:cubicBezTo>
                    <a:pt x="72" y="58"/>
                    <a:pt x="58" y="71"/>
                    <a:pt x="42" y="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60" name="Oval 245"/>
            <p:cNvSpPr>
              <a:spLocks noChangeArrowheads="1"/>
            </p:cNvSpPr>
            <p:nvPr userDrawn="1"/>
          </p:nvSpPr>
          <p:spPr bwMode="auto">
            <a:xfrm>
              <a:off x="1952" y="2517"/>
              <a:ext cx="22" cy="2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61" name="Freeform 246"/>
            <p:cNvSpPr>
              <a:spLocks noEditPoints="1"/>
            </p:cNvSpPr>
            <p:nvPr userDrawn="1"/>
          </p:nvSpPr>
          <p:spPr bwMode="auto">
            <a:xfrm>
              <a:off x="1864" y="2322"/>
              <a:ext cx="507" cy="206"/>
            </a:xfrm>
            <a:custGeom>
              <a:avLst/>
              <a:gdLst>
                <a:gd name="T0" fmla="*/ 1079 w 1125"/>
                <a:gd name="T1" fmla="*/ 347 h 455"/>
                <a:gd name="T2" fmla="*/ 1008 w 1125"/>
                <a:gd name="T3" fmla="*/ 355 h 455"/>
                <a:gd name="T4" fmla="*/ 1079 w 1125"/>
                <a:gd name="T5" fmla="*/ 343 h 455"/>
                <a:gd name="T6" fmla="*/ 1023 w 1125"/>
                <a:gd name="T7" fmla="*/ 120 h 455"/>
                <a:gd name="T8" fmla="*/ 958 w 1125"/>
                <a:gd name="T9" fmla="*/ 29 h 455"/>
                <a:gd name="T10" fmla="*/ 796 w 1125"/>
                <a:gd name="T11" fmla="*/ 29 h 455"/>
                <a:gd name="T12" fmla="*/ 781 w 1125"/>
                <a:gd name="T13" fmla="*/ 0 h 455"/>
                <a:gd name="T14" fmla="*/ 780 w 1125"/>
                <a:gd name="T15" fmla="*/ 0 h 455"/>
                <a:gd name="T16" fmla="*/ 765 w 1125"/>
                <a:gd name="T17" fmla="*/ 29 h 455"/>
                <a:gd name="T18" fmla="*/ 578 w 1125"/>
                <a:gd name="T19" fmla="*/ 15 h 455"/>
                <a:gd name="T20" fmla="*/ 563 w 1125"/>
                <a:gd name="T21" fmla="*/ 0 h 455"/>
                <a:gd name="T22" fmla="*/ 547 w 1125"/>
                <a:gd name="T23" fmla="*/ 15 h 455"/>
                <a:gd name="T24" fmla="*/ 360 w 1125"/>
                <a:gd name="T25" fmla="*/ 29 h 455"/>
                <a:gd name="T26" fmla="*/ 345 w 1125"/>
                <a:gd name="T27" fmla="*/ 0 h 455"/>
                <a:gd name="T28" fmla="*/ 344 w 1125"/>
                <a:gd name="T29" fmla="*/ 0 h 455"/>
                <a:gd name="T30" fmla="*/ 330 w 1125"/>
                <a:gd name="T31" fmla="*/ 29 h 455"/>
                <a:gd name="T32" fmla="*/ 167 w 1125"/>
                <a:gd name="T33" fmla="*/ 29 h 455"/>
                <a:gd name="T34" fmla="*/ 102 w 1125"/>
                <a:gd name="T35" fmla="*/ 120 h 455"/>
                <a:gd name="T36" fmla="*/ 46 w 1125"/>
                <a:gd name="T37" fmla="*/ 343 h 455"/>
                <a:gd name="T38" fmla="*/ 117 w 1125"/>
                <a:gd name="T39" fmla="*/ 355 h 455"/>
                <a:gd name="T40" fmla="*/ 46 w 1125"/>
                <a:gd name="T41" fmla="*/ 347 h 455"/>
                <a:gd name="T42" fmla="*/ 0 w 1125"/>
                <a:gd name="T43" fmla="*/ 355 h 455"/>
                <a:gd name="T44" fmla="*/ 8 w 1125"/>
                <a:gd name="T45" fmla="*/ 413 h 455"/>
                <a:gd name="T46" fmla="*/ 54 w 1125"/>
                <a:gd name="T47" fmla="*/ 406 h 455"/>
                <a:gd name="T48" fmla="*/ 157 w 1125"/>
                <a:gd name="T49" fmla="*/ 455 h 455"/>
                <a:gd name="T50" fmla="*/ 158 w 1125"/>
                <a:gd name="T51" fmla="*/ 455 h 455"/>
                <a:gd name="T52" fmla="*/ 269 w 1125"/>
                <a:gd name="T53" fmla="*/ 417 h 455"/>
                <a:gd name="T54" fmla="*/ 367 w 1125"/>
                <a:gd name="T55" fmla="*/ 417 h 455"/>
                <a:gd name="T56" fmla="*/ 477 w 1125"/>
                <a:gd name="T57" fmla="*/ 455 h 455"/>
                <a:gd name="T58" fmla="*/ 657 w 1125"/>
                <a:gd name="T59" fmla="*/ 455 h 455"/>
                <a:gd name="T60" fmla="*/ 719 w 1125"/>
                <a:gd name="T61" fmla="*/ 393 h 455"/>
                <a:gd name="T62" fmla="*/ 817 w 1125"/>
                <a:gd name="T63" fmla="*/ 393 h 455"/>
                <a:gd name="T64" fmla="*/ 915 w 1125"/>
                <a:gd name="T65" fmla="*/ 393 h 455"/>
                <a:gd name="T66" fmla="*/ 996 w 1125"/>
                <a:gd name="T67" fmla="*/ 406 h 455"/>
                <a:gd name="T68" fmla="*/ 1079 w 1125"/>
                <a:gd name="T69" fmla="*/ 413 h 455"/>
                <a:gd name="T70" fmla="*/ 1125 w 1125"/>
                <a:gd name="T71" fmla="*/ 405 h 455"/>
                <a:gd name="T72" fmla="*/ 1117 w 1125"/>
                <a:gd name="T73" fmla="*/ 347 h 455"/>
                <a:gd name="T74" fmla="*/ 157 w 1125"/>
                <a:gd name="T75" fmla="*/ 368 h 455"/>
                <a:gd name="T76" fmla="*/ 969 w 1125"/>
                <a:gd name="T77" fmla="*/ 344 h 455"/>
                <a:gd name="T78" fmla="*/ 159 w 1125"/>
                <a:gd name="T79" fmla="*/ 326 h 455"/>
                <a:gd name="T80" fmla="*/ 210 w 1125"/>
                <a:gd name="T81" fmla="*/ 120 h 455"/>
                <a:gd name="T82" fmla="*/ 159 w 1125"/>
                <a:gd name="T83" fmla="*/ 326 h 455"/>
                <a:gd name="T84" fmla="*/ 915 w 1125"/>
                <a:gd name="T85" fmla="*/ 120 h 455"/>
                <a:gd name="T86" fmla="*/ 966 w 1125"/>
                <a:gd name="T87" fmla="*/ 326 h 455"/>
                <a:gd name="T88" fmla="*/ 991 w 1125"/>
                <a:gd name="T89" fmla="*/ 85 h 455"/>
                <a:gd name="T90" fmla="*/ 745 w 1125"/>
                <a:gd name="T91" fmla="*/ 85 h 455"/>
                <a:gd name="T92" fmla="*/ 729 w 1125"/>
                <a:gd name="T93" fmla="*/ 340 h 455"/>
                <a:gd name="T94" fmla="*/ 571 w 1125"/>
                <a:gd name="T95" fmla="*/ 85 h 455"/>
                <a:gd name="T96" fmla="*/ 555 w 1125"/>
                <a:gd name="T97" fmla="*/ 340 h 455"/>
                <a:gd name="T98" fmla="*/ 396 w 1125"/>
                <a:gd name="T99" fmla="*/ 85 h 455"/>
                <a:gd name="T100" fmla="*/ 380 w 1125"/>
                <a:gd name="T101" fmla="*/ 340 h 455"/>
                <a:gd name="T102" fmla="*/ 210 w 1125"/>
                <a:gd name="T103" fmla="*/ 85 h 455"/>
                <a:gd name="T104" fmla="*/ 126 w 1125"/>
                <a:gd name="T105" fmla="*/ 77 h 455"/>
                <a:gd name="T106" fmla="*/ 210 w 1125"/>
                <a:gd name="T107" fmla="*/ 69 h 455"/>
                <a:gd name="T108" fmla="*/ 991 w 1125"/>
                <a:gd name="T109" fmla="*/ 69 h 455"/>
                <a:gd name="T110" fmla="*/ 991 w 1125"/>
                <a:gd name="T111" fmla="*/ 85 h 4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25" h="455">
                  <a:moveTo>
                    <a:pt x="1117" y="347"/>
                  </a:moveTo>
                  <a:cubicBezTo>
                    <a:pt x="1079" y="347"/>
                    <a:pt x="1079" y="347"/>
                    <a:pt x="1079" y="347"/>
                  </a:cubicBezTo>
                  <a:cubicBezTo>
                    <a:pt x="1075" y="347"/>
                    <a:pt x="1071" y="351"/>
                    <a:pt x="1071" y="355"/>
                  </a:cubicBezTo>
                  <a:cubicBezTo>
                    <a:pt x="1008" y="355"/>
                    <a:pt x="1008" y="355"/>
                    <a:pt x="1008" y="355"/>
                  </a:cubicBezTo>
                  <a:cubicBezTo>
                    <a:pt x="1011" y="351"/>
                    <a:pt x="1014" y="347"/>
                    <a:pt x="1016" y="343"/>
                  </a:cubicBezTo>
                  <a:cubicBezTo>
                    <a:pt x="1079" y="343"/>
                    <a:pt x="1079" y="343"/>
                    <a:pt x="1079" y="343"/>
                  </a:cubicBezTo>
                  <a:cubicBezTo>
                    <a:pt x="1079" y="120"/>
                    <a:pt x="1079" y="120"/>
                    <a:pt x="1079" y="120"/>
                  </a:cubicBezTo>
                  <a:cubicBezTo>
                    <a:pt x="1023" y="120"/>
                    <a:pt x="1023" y="120"/>
                    <a:pt x="1023" y="120"/>
                  </a:cubicBezTo>
                  <a:cubicBezTo>
                    <a:pt x="1023" y="89"/>
                    <a:pt x="1023" y="89"/>
                    <a:pt x="1023" y="89"/>
                  </a:cubicBezTo>
                  <a:cubicBezTo>
                    <a:pt x="1023" y="56"/>
                    <a:pt x="994" y="29"/>
                    <a:pt x="958" y="29"/>
                  </a:cubicBezTo>
                  <a:cubicBezTo>
                    <a:pt x="915" y="29"/>
                    <a:pt x="915" y="29"/>
                    <a:pt x="915" y="29"/>
                  </a:cubicBezTo>
                  <a:cubicBezTo>
                    <a:pt x="796" y="29"/>
                    <a:pt x="796" y="29"/>
                    <a:pt x="796" y="29"/>
                  </a:cubicBezTo>
                  <a:cubicBezTo>
                    <a:pt x="796" y="15"/>
                    <a:pt x="796" y="15"/>
                    <a:pt x="796" y="15"/>
                  </a:cubicBezTo>
                  <a:cubicBezTo>
                    <a:pt x="796" y="7"/>
                    <a:pt x="789" y="0"/>
                    <a:pt x="781" y="0"/>
                  </a:cubicBezTo>
                  <a:cubicBezTo>
                    <a:pt x="781" y="0"/>
                    <a:pt x="780" y="0"/>
                    <a:pt x="780" y="0"/>
                  </a:cubicBezTo>
                  <a:cubicBezTo>
                    <a:pt x="780" y="0"/>
                    <a:pt x="780" y="0"/>
                    <a:pt x="780" y="0"/>
                  </a:cubicBezTo>
                  <a:cubicBezTo>
                    <a:pt x="772" y="0"/>
                    <a:pt x="765" y="7"/>
                    <a:pt x="765" y="15"/>
                  </a:cubicBezTo>
                  <a:cubicBezTo>
                    <a:pt x="765" y="29"/>
                    <a:pt x="765" y="29"/>
                    <a:pt x="765" y="29"/>
                  </a:cubicBezTo>
                  <a:cubicBezTo>
                    <a:pt x="578" y="29"/>
                    <a:pt x="578" y="29"/>
                    <a:pt x="578" y="29"/>
                  </a:cubicBezTo>
                  <a:cubicBezTo>
                    <a:pt x="578" y="15"/>
                    <a:pt x="578" y="15"/>
                    <a:pt x="578" y="15"/>
                  </a:cubicBezTo>
                  <a:cubicBezTo>
                    <a:pt x="578" y="7"/>
                    <a:pt x="571" y="0"/>
                    <a:pt x="563" y="0"/>
                  </a:cubicBezTo>
                  <a:cubicBezTo>
                    <a:pt x="563" y="0"/>
                    <a:pt x="563" y="0"/>
                    <a:pt x="563" y="0"/>
                  </a:cubicBezTo>
                  <a:cubicBezTo>
                    <a:pt x="562" y="0"/>
                    <a:pt x="562" y="0"/>
                    <a:pt x="562" y="0"/>
                  </a:cubicBezTo>
                  <a:cubicBezTo>
                    <a:pt x="554" y="0"/>
                    <a:pt x="547" y="7"/>
                    <a:pt x="547" y="15"/>
                  </a:cubicBezTo>
                  <a:cubicBezTo>
                    <a:pt x="547" y="29"/>
                    <a:pt x="547" y="29"/>
                    <a:pt x="547" y="29"/>
                  </a:cubicBezTo>
                  <a:cubicBezTo>
                    <a:pt x="360" y="29"/>
                    <a:pt x="360" y="29"/>
                    <a:pt x="360" y="29"/>
                  </a:cubicBezTo>
                  <a:cubicBezTo>
                    <a:pt x="360" y="15"/>
                    <a:pt x="360" y="15"/>
                    <a:pt x="360" y="15"/>
                  </a:cubicBezTo>
                  <a:cubicBezTo>
                    <a:pt x="360" y="7"/>
                    <a:pt x="353" y="0"/>
                    <a:pt x="345" y="0"/>
                  </a:cubicBezTo>
                  <a:cubicBezTo>
                    <a:pt x="345" y="0"/>
                    <a:pt x="345" y="0"/>
                    <a:pt x="345" y="0"/>
                  </a:cubicBezTo>
                  <a:cubicBezTo>
                    <a:pt x="345" y="0"/>
                    <a:pt x="344" y="0"/>
                    <a:pt x="344" y="0"/>
                  </a:cubicBezTo>
                  <a:cubicBezTo>
                    <a:pt x="336" y="0"/>
                    <a:pt x="330" y="7"/>
                    <a:pt x="330" y="15"/>
                  </a:cubicBezTo>
                  <a:cubicBezTo>
                    <a:pt x="330" y="29"/>
                    <a:pt x="330" y="29"/>
                    <a:pt x="330" y="29"/>
                  </a:cubicBezTo>
                  <a:cubicBezTo>
                    <a:pt x="210" y="29"/>
                    <a:pt x="210" y="29"/>
                    <a:pt x="210" y="29"/>
                  </a:cubicBezTo>
                  <a:cubicBezTo>
                    <a:pt x="167" y="29"/>
                    <a:pt x="167" y="29"/>
                    <a:pt x="167" y="29"/>
                  </a:cubicBezTo>
                  <a:cubicBezTo>
                    <a:pt x="131" y="29"/>
                    <a:pt x="102" y="56"/>
                    <a:pt x="102" y="89"/>
                  </a:cubicBezTo>
                  <a:cubicBezTo>
                    <a:pt x="102" y="120"/>
                    <a:pt x="102" y="120"/>
                    <a:pt x="102" y="120"/>
                  </a:cubicBezTo>
                  <a:cubicBezTo>
                    <a:pt x="46" y="120"/>
                    <a:pt x="46" y="120"/>
                    <a:pt x="46" y="120"/>
                  </a:cubicBezTo>
                  <a:cubicBezTo>
                    <a:pt x="46" y="343"/>
                    <a:pt x="46" y="343"/>
                    <a:pt x="46" y="343"/>
                  </a:cubicBezTo>
                  <a:cubicBezTo>
                    <a:pt x="109" y="343"/>
                    <a:pt x="109" y="343"/>
                    <a:pt x="109" y="343"/>
                  </a:cubicBezTo>
                  <a:cubicBezTo>
                    <a:pt x="111" y="347"/>
                    <a:pt x="114" y="351"/>
                    <a:pt x="117" y="355"/>
                  </a:cubicBezTo>
                  <a:cubicBezTo>
                    <a:pt x="54" y="355"/>
                    <a:pt x="54" y="355"/>
                    <a:pt x="54" y="355"/>
                  </a:cubicBezTo>
                  <a:cubicBezTo>
                    <a:pt x="54" y="351"/>
                    <a:pt x="50" y="347"/>
                    <a:pt x="46" y="347"/>
                  </a:cubicBezTo>
                  <a:cubicBezTo>
                    <a:pt x="8" y="347"/>
                    <a:pt x="8" y="347"/>
                    <a:pt x="8" y="347"/>
                  </a:cubicBezTo>
                  <a:cubicBezTo>
                    <a:pt x="4" y="347"/>
                    <a:pt x="0" y="351"/>
                    <a:pt x="0" y="355"/>
                  </a:cubicBezTo>
                  <a:cubicBezTo>
                    <a:pt x="0" y="405"/>
                    <a:pt x="0" y="405"/>
                    <a:pt x="0" y="405"/>
                  </a:cubicBezTo>
                  <a:cubicBezTo>
                    <a:pt x="0" y="410"/>
                    <a:pt x="4" y="413"/>
                    <a:pt x="8" y="413"/>
                  </a:cubicBezTo>
                  <a:cubicBezTo>
                    <a:pt x="46" y="413"/>
                    <a:pt x="46" y="413"/>
                    <a:pt x="46" y="413"/>
                  </a:cubicBezTo>
                  <a:cubicBezTo>
                    <a:pt x="50" y="413"/>
                    <a:pt x="54" y="410"/>
                    <a:pt x="54" y="406"/>
                  </a:cubicBezTo>
                  <a:cubicBezTo>
                    <a:pt x="129" y="406"/>
                    <a:pt x="129" y="406"/>
                    <a:pt x="129" y="406"/>
                  </a:cubicBezTo>
                  <a:cubicBezTo>
                    <a:pt x="129" y="427"/>
                    <a:pt x="140" y="445"/>
                    <a:pt x="157" y="455"/>
                  </a:cubicBezTo>
                  <a:cubicBezTo>
                    <a:pt x="158" y="455"/>
                    <a:pt x="158" y="455"/>
                    <a:pt x="158" y="455"/>
                  </a:cubicBezTo>
                  <a:cubicBezTo>
                    <a:pt x="158" y="455"/>
                    <a:pt x="158" y="455"/>
                    <a:pt x="158" y="455"/>
                  </a:cubicBezTo>
                  <a:cubicBezTo>
                    <a:pt x="158" y="421"/>
                    <a:pt x="186" y="393"/>
                    <a:pt x="220" y="393"/>
                  </a:cubicBezTo>
                  <a:cubicBezTo>
                    <a:pt x="240" y="393"/>
                    <a:pt x="258" y="402"/>
                    <a:pt x="269" y="417"/>
                  </a:cubicBezTo>
                  <a:cubicBezTo>
                    <a:pt x="280" y="402"/>
                    <a:pt x="298" y="393"/>
                    <a:pt x="318" y="393"/>
                  </a:cubicBezTo>
                  <a:cubicBezTo>
                    <a:pt x="338" y="393"/>
                    <a:pt x="355" y="402"/>
                    <a:pt x="367" y="417"/>
                  </a:cubicBezTo>
                  <a:cubicBezTo>
                    <a:pt x="378" y="402"/>
                    <a:pt x="396" y="393"/>
                    <a:pt x="416" y="393"/>
                  </a:cubicBezTo>
                  <a:cubicBezTo>
                    <a:pt x="450" y="393"/>
                    <a:pt x="477" y="421"/>
                    <a:pt x="477" y="455"/>
                  </a:cubicBezTo>
                  <a:cubicBezTo>
                    <a:pt x="477" y="455"/>
                    <a:pt x="477" y="455"/>
                    <a:pt x="477" y="455"/>
                  </a:cubicBezTo>
                  <a:cubicBezTo>
                    <a:pt x="657" y="455"/>
                    <a:pt x="657" y="455"/>
                    <a:pt x="657" y="455"/>
                  </a:cubicBezTo>
                  <a:cubicBezTo>
                    <a:pt x="657" y="455"/>
                    <a:pt x="657" y="455"/>
                    <a:pt x="657" y="455"/>
                  </a:cubicBezTo>
                  <a:cubicBezTo>
                    <a:pt x="657" y="421"/>
                    <a:pt x="685" y="393"/>
                    <a:pt x="719" y="393"/>
                  </a:cubicBezTo>
                  <a:cubicBezTo>
                    <a:pt x="739" y="393"/>
                    <a:pt x="757" y="402"/>
                    <a:pt x="768" y="417"/>
                  </a:cubicBezTo>
                  <a:cubicBezTo>
                    <a:pt x="779" y="402"/>
                    <a:pt x="797" y="393"/>
                    <a:pt x="817" y="393"/>
                  </a:cubicBezTo>
                  <a:cubicBezTo>
                    <a:pt x="837" y="393"/>
                    <a:pt x="854" y="402"/>
                    <a:pt x="866" y="417"/>
                  </a:cubicBezTo>
                  <a:cubicBezTo>
                    <a:pt x="877" y="402"/>
                    <a:pt x="895" y="393"/>
                    <a:pt x="915" y="393"/>
                  </a:cubicBezTo>
                  <a:cubicBezTo>
                    <a:pt x="947" y="393"/>
                    <a:pt x="973" y="418"/>
                    <a:pt x="976" y="449"/>
                  </a:cubicBezTo>
                  <a:cubicBezTo>
                    <a:pt x="988" y="438"/>
                    <a:pt x="996" y="423"/>
                    <a:pt x="996" y="406"/>
                  </a:cubicBezTo>
                  <a:cubicBezTo>
                    <a:pt x="1071" y="406"/>
                    <a:pt x="1071" y="406"/>
                    <a:pt x="1071" y="406"/>
                  </a:cubicBezTo>
                  <a:cubicBezTo>
                    <a:pt x="1071" y="410"/>
                    <a:pt x="1075" y="413"/>
                    <a:pt x="1079" y="413"/>
                  </a:cubicBezTo>
                  <a:cubicBezTo>
                    <a:pt x="1117" y="413"/>
                    <a:pt x="1117" y="413"/>
                    <a:pt x="1117" y="413"/>
                  </a:cubicBezTo>
                  <a:cubicBezTo>
                    <a:pt x="1121" y="413"/>
                    <a:pt x="1125" y="410"/>
                    <a:pt x="1125" y="405"/>
                  </a:cubicBezTo>
                  <a:cubicBezTo>
                    <a:pt x="1125" y="355"/>
                    <a:pt x="1125" y="355"/>
                    <a:pt x="1125" y="355"/>
                  </a:cubicBezTo>
                  <a:cubicBezTo>
                    <a:pt x="1125" y="351"/>
                    <a:pt x="1121" y="347"/>
                    <a:pt x="1117" y="347"/>
                  </a:cubicBezTo>
                  <a:close/>
                  <a:moveTo>
                    <a:pt x="969" y="368"/>
                  </a:moveTo>
                  <a:cubicBezTo>
                    <a:pt x="157" y="368"/>
                    <a:pt x="157" y="368"/>
                    <a:pt x="157" y="368"/>
                  </a:cubicBezTo>
                  <a:cubicBezTo>
                    <a:pt x="157" y="344"/>
                    <a:pt x="157" y="344"/>
                    <a:pt x="157" y="344"/>
                  </a:cubicBezTo>
                  <a:cubicBezTo>
                    <a:pt x="969" y="344"/>
                    <a:pt x="969" y="344"/>
                    <a:pt x="969" y="344"/>
                  </a:cubicBezTo>
                  <a:lnTo>
                    <a:pt x="969" y="368"/>
                  </a:lnTo>
                  <a:close/>
                  <a:moveTo>
                    <a:pt x="159" y="326"/>
                  </a:moveTo>
                  <a:cubicBezTo>
                    <a:pt x="159" y="120"/>
                    <a:pt x="159" y="120"/>
                    <a:pt x="159" y="120"/>
                  </a:cubicBezTo>
                  <a:cubicBezTo>
                    <a:pt x="210" y="120"/>
                    <a:pt x="210" y="120"/>
                    <a:pt x="210" y="120"/>
                  </a:cubicBezTo>
                  <a:cubicBezTo>
                    <a:pt x="210" y="326"/>
                    <a:pt x="210" y="326"/>
                    <a:pt x="210" y="326"/>
                  </a:cubicBezTo>
                  <a:lnTo>
                    <a:pt x="159" y="326"/>
                  </a:lnTo>
                  <a:close/>
                  <a:moveTo>
                    <a:pt x="915" y="326"/>
                  </a:moveTo>
                  <a:cubicBezTo>
                    <a:pt x="915" y="120"/>
                    <a:pt x="915" y="120"/>
                    <a:pt x="915" y="120"/>
                  </a:cubicBezTo>
                  <a:cubicBezTo>
                    <a:pt x="966" y="120"/>
                    <a:pt x="966" y="120"/>
                    <a:pt x="966" y="120"/>
                  </a:cubicBezTo>
                  <a:cubicBezTo>
                    <a:pt x="966" y="326"/>
                    <a:pt x="966" y="326"/>
                    <a:pt x="966" y="326"/>
                  </a:cubicBezTo>
                  <a:lnTo>
                    <a:pt x="915" y="326"/>
                  </a:lnTo>
                  <a:close/>
                  <a:moveTo>
                    <a:pt x="991" y="85"/>
                  </a:moveTo>
                  <a:cubicBezTo>
                    <a:pt x="915" y="85"/>
                    <a:pt x="915" y="85"/>
                    <a:pt x="915" y="85"/>
                  </a:cubicBezTo>
                  <a:cubicBezTo>
                    <a:pt x="745" y="85"/>
                    <a:pt x="745" y="85"/>
                    <a:pt x="745" y="85"/>
                  </a:cubicBezTo>
                  <a:cubicBezTo>
                    <a:pt x="745" y="340"/>
                    <a:pt x="745" y="340"/>
                    <a:pt x="745" y="340"/>
                  </a:cubicBezTo>
                  <a:cubicBezTo>
                    <a:pt x="729" y="340"/>
                    <a:pt x="729" y="340"/>
                    <a:pt x="729" y="340"/>
                  </a:cubicBezTo>
                  <a:cubicBezTo>
                    <a:pt x="729" y="85"/>
                    <a:pt x="729" y="85"/>
                    <a:pt x="729" y="85"/>
                  </a:cubicBezTo>
                  <a:cubicBezTo>
                    <a:pt x="571" y="85"/>
                    <a:pt x="571" y="85"/>
                    <a:pt x="571" y="85"/>
                  </a:cubicBezTo>
                  <a:cubicBezTo>
                    <a:pt x="571" y="340"/>
                    <a:pt x="571" y="340"/>
                    <a:pt x="571" y="340"/>
                  </a:cubicBezTo>
                  <a:cubicBezTo>
                    <a:pt x="555" y="340"/>
                    <a:pt x="555" y="340"/>
                    <a:pt x="555" y="340"/>
                  </a:cubicBezTo>
                  <a:cubicBezTo>
                    <a:pt x="555" y="85"/>
                    <a:pt x="555" y="85"/>
                    <a:pt x="555" y="85"/>
                  </a:cubicBezTo>
                  <a:cubicBezTo>
                    <a:pt x="396" y="85"/>
                    <a:pt x="396" y="85"/>
                    <a:pt x="396" y="85"/>
                  </a:cubicBezTo>
                  <a:cubicBezTo>
                    <a:pt x="396" y="340"/>
                    <a:pt x="396" y="340"/>
                    <a:pt x="396" y="340"/>
                  </a:cubicBezTo>
                  <a:cubicBezTo>
                    <a:pt x="380" y="340"/>
                    <a:pt x="380" y="340"/>
                    <a:pt x="380" y="340"/>
                  </a:cubicBezTo>
                  <a:cubicBezTo>
                    <a:pt x="380" y="85"/>
                    <a:pt x="380" y="85"/>
                    <a:pt x="380" y="85"/>
                  </a:cubicBezTo>
                  <a:cubicBezTo>
                    <a:pt x="210" y="85"/>
                    <a:pt x="210" y="85"/>
                    <a:pt x="210" y="85"/>
                  </a:cubicBezTo>
                  <a:cubicBezTo>
                    <a:pt x="134" y="85"/>
                    <a:pt x="134" y="85"/>
                    <a:pt x="134" y="85"/>
                  </a:cubicBezTo>
                  <a:cubicBezTo>
                    <a:pt x="130" y="85"/>
                    <a:pt x="126" y="82"/>
                    <a:pt x="126" y="77"/>
                  </a:cubicBezTo>
                  <a:cubicBezTo>
                    <a:pt x="126" y="73"/>
                    <a:pt x="130" y="69"/>
                    <a:pt x="134" y="69"/>
                  </a:cubicBezTo>
                  <a:cubicBezTo>
                    <a:pt x="210" y="69"/>
                    <a:pt x="210" y="69"/>
                    <a:pt x="210" y="69"/>
                  </a:cubicBezTo>
                  <a:cubicBezTo>
                    <a:pt x="915" y="69"/>
                    <a:pt x="915" y="69"/>
                    <a:pt x="915" y="69"/>
                  </a:cubicBezTo>
                  <a:cubicBezTo>
                    <a:pt x="991" y="69"/>
                    <a:pt x="991" y="69"/>
                    <a:pt x="991" y="69"/>
                  </a:cubicBezTo>
                  <a:cubicBezTo>
                    <a:pt x="995" y="69"/>
                    <a:pt x="999" y="73"/>
                    <a:pt x="999" y="77"/>
                  </a:cubicBezTo>
                  <a:cubicBezTo>
                    <a:pt x="999" y="82"/>
                    <a:pt x="995" y="85"/>
                    <a:pt x="991" y="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62" name="Freeform 247"/>
            <p:cNvSpPr>
              <a:spLocks noEditPoints="1"/>
            </p:cNvSpPr>
            <p:nvPr userDrawn="1"/>
          </p:nvSpPr>
          <p:spPr bwMode="auto">
            <a:xfrm>
              <a:off x="1746" y="2509"/>
              <a:ext cx="38" cy="38"/>
            </a:xfrm>
            <a:custGeom>
              <a:avLst/>
              <a:gdLst>
                <a:gd name="T0" fmla="*/ 42 w 84"/>
                <a:gd name="T1" fmla="*/ 0 h 84"/>
                <a:gd name="T2" fmla="*/ 0 w 84"/>
                <a:gd name="T3" fmla="*/ 42 h 84"/>
                <a:gd name="T4" fmla="*/ 42 w 84"/>
                <a:gd name="T5" fmla="*/ 84 h 84"/>
                <a:gd name="T6" fmla="*/ 84 w 84"/>
                <a:gd name="T7" fmla="*/ 42 h 84"/>
                <a:gd name="T8" fmla="*/ 42 w 84"/>
                <a:gd name="T9" fmla="*/ 0 h 84"/>
                <a:gd name="T10" fmla="*/ 42 w 84"/>
                <a:gd name="T11" fmla="*/ 71 h 84"/>
                <a:gd name="T12" fmla="*/ 13 w 84"/>
                <a:gd name="T13" fmla="*/ 42 h 84"/>
                <a:gd name="T14" fmla="*/ 42 w 84"/>
                <a:gd name="T15" fmla="*/ 12 h 84"/>
                <a:gd name="T16" fmla="*/ 72 w 84"/>
                <a:gd name="T17" fmla="*/ 42 h 84"/>
                <a:gd name="T18" fmla="*/ 42 w 84"/>
                <a:gd name="T19" fmla="*/ 71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65"/>
                    <a:pt x="19" y="84"/>
                    <a:pt x="42" y="84"/>
                  </a:cubicBezTo>
                  <a:cubicBezTo>
                    <a:pt x="65" y="84"/>
                    <a:pt x="84" y="65"/>
                    <a:pt x="84" y="42"/>
                  </a:cubicBezTo>
                  <a:cubicBezTo>
                    <a:pt x="84" y="19"/>
                    <a:pt x="65" y="0"/>
                    <a:pt x="42" y="0"/>
                  </a:cubicBezTo>
                  <a:close/>
                  <a:moveTo>
                    <a:pt x="42" y="71"/>
                  </a:moveTo>
                  <a:cubicBezTo>
                    <a:pt x="26" y="71"/>
                    <a:pt x="13" y="58"/>
                    <a:pt x="13" y="42"/>
                  </a:cubicBezTo>
                  <a:cubicBezTo>
                    <a:pt x="13" y="26"/>
                    <a:pt x="26" y="12"/>
                    <a:pt x="42" y="12"/>
                  </a:cubicBezTo>
                  <a:cubicBezTo>
                    <a:pt x="59" y="12"/>
                    <a:pt x="72" y="26"/>
                    <a:pt x="72" y="42"/>
                  </a:cubicBezTo>
                  <a:cubicBezTo>
                    <a:pt x="72" y="58"/>
                    <a:pt x="59" y="71"/>
                    <a:pt x="42" y="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63" name="Oval 248"/>
            <p:cNvSpPr>
              <a:spLocks noChangeArrowheads="1"/>
            </p:cNvSpPr>
            <p:nvPr userDrawn="1"/>
          </p:nvSpPr>
          <p:spPr bwMode="auto">
            <a:xfrm>
              <a:off x="1754" y="2517"/>
              <a:ext cx="22" cy="2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64" name="Freeform 249"/>
            <p:cNvSpPr>
              <a:spLocks noEditPoints="1"/>
            </p:cNvSpPr>
            <p:nvPr userDrawn="1"/>
          </p:nvSpPr>
          <p:spPr bwMode="auto">
            <a:xfrm>
              <a:off x="1702" y="2509"/>
              <a:ext cx="38" cy="38"/>
            </a:xfrm>
            <a:custGeom>
              <a:avLst/>
              <a:gdLst>
                <a:gd name="T0" fmla="*/ 42 w 83"/>
                <a:gd name="T1" fmla="*/ 0 h 84"/>
                <a:gd name="T2" fmla="*/ 0 w 83"/>
                <a:gd name="T3" fmla="*/ 42 h 84"/>
                <a:gd name="T4" fmla="*/ 42 w 83"/>
                <a:gd name="T5" fmla="*/ 84 h 84"/>
                <a:gd name="T6" fmla="*/ 83 w 83"/>
                <a:gd name="T7" fmla="*/ 42 h 84"/>
                <a:gd name="T8" fmla="*/ 42 w 83"/>
                <a:gd name="T9" fmla="*/ 0 h 84"/>
                <a:gd name="T10" fmla="*/ 42 w 83"/>
                <a:gd name="T11" fmla="*/ 71 h 84"/>
                <a:gd name="T12" fmla="*/ 12 w 83"/>
                <a:gd name="T13" fmla="*/ 42 h 84"/>
                <a:gd name="T14" fmla="*/ 42 w 83"/>
                <a:gd name="T15" fmla="*/ 12 h 84"/>
                <a:gd name="T16" fmla="*/ 71 w 83"/>
                <a:gd name="T17" fmla="*/ 42 h 84"/>
                <a:gd name="T18" fmla="*/ 42 w 83"/>
                <a:gd name="T19" fmla="*/ 71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3" h="84">
                  <a:moveTo>
                    <a:pt x="42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65"/>
                    <a:pt x="19" y="84"/>
                    <a:pt x="42" y="84"/>
                  </a:cubicBezTo>
                  <a:cubicBezTo>
                    <a:pt x="65" y="84"/>
                    <a:pt x="83" y="65"/>
                    <a:pt x="83" y="42"/>
                  </a:cubicBezTo>
                  <a:cubicBezTo>
                    <a:pt x="83" y="19"/>
                    <a:pt x="65" y="0"/>
                    <a:pt x="42" y="0"/>
                  </a:cubicBezTo>
                  <a:close/>
                  <a:moveTo>
                    <a:pt x="42" y="71"/>
                  </a:moveTo>
                  <a:cubicBezTo>
                    <a:pt x="25" y="71"/>
                    <a:pt x="12" y="58"/>
                    <a:pt x="12" y="42"/>
                  </a:cubicBezTo>
                  <a:cubicBezTo>
                    <a:pt x="12" y="26"/>
                    <a:pt x="25" y="12"/>
                    <a:pt x="42" y="12"/>
                  </a:cubicBezTo>
                  <a:cubicBezTo>
                    <a:pt x="58" y="12"/>
                    <a:pt x="71" y="26"/>
                    <a:pt x="71" y="42"/>
                  </a:cubicBezTo>
                  <a:cubicBezTo>
                    <a:pt x="71" y="58"/>
                    <a:pt x="58" y="71"/>
                    <a:pt x="42" y="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65" name="Oval 250"/>
            <p:cNvSpPr>
              <a:spLocks noChangeArrowheads="1"/>
            </p:cNvSpPr>
            <p:nvPr userDrawn="1"/>
          </p:nvSpPr>
          <p:spPr bwMode="auto">
            <a:xfrm>
              <a:off x="1711" y="2517"/>
              <a:ext cx="21" cy="2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66" name="Freeform 251"/>
            <p:cNvSpPr>
              <a:spLocks noEditPoints="1"/>
            </p:cNvSpPr>
            <p:nvPr userDrawn="1"/>
          </p:nvSpPr>
          <p:spPr bwMode="auto">
            <a:xfrm>
              <a:off x="1658" y="2509"/>
              <a:ext cx="38" cy="38"/>
            </a:xfrm>
            <a:custGeom>
              <a:avLst/>
              <a:gdLst>
                <a:gd name="T0" fmla="*/ 42 w 84"/>
                <a:gd name="T1" fmla="*/ 0 h 84"/>
                <a:gd name="T2" fmla="*/ 0 w 84"/>
                <a:gd name="T3" fmla="*/ 42 h 84"/>
                <a:gd name="T4" fmla="*/ 42 w 84"/>
                <a:gd name="T5" fmla="*/ 84 h 84"/>
                <a:gd name="T6" fmla="*/ 84 w 84"/>
                <a:gd name="T7" fmla="*/ 42 h 84"/>
                <a:gd name="T8" fmla="*/ 42 w 84"/>
                <a:gd name="T9" fmla="*/ 0 h 84"/>
                <a:gd name="T10" fmla="*/ 42 w 84"/>
                <a:gd name="T11" fmla="*/ 71 h 84"/>
                <a:gd name="T12" fmla="*/ 12 w 84"/>
                <a:gd name="T13" fmla="*/ 42 h 84"/>
                <a:gd name="T14" fmla="*/ 42 w 84"/>
                <a:gd name="T15" fmla="*/ 12 h 84"/>
                <a:gd name="T16" fmla="*/ 71 w 84"/>
                <a:gd name="T17" fmla="*/ 42 h 84"/>
                <a:gd name="T18" fmla="*/ 42 w 84"/>
                <a:gd name="T19" fmla="*/ 71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65"/>
                    <a:pt x="19" y="84"/>
                    <a:pt x="42" y="84"/>
                  </a:cubicBezTo>
                  <a:cubicBezTo>
                    <a:pt x="65" y="84"/>
                    <a:pt x="84" y="65"/>
                    <a:pt x="84" y="42"/>
                  </a:cubicBezTo>
                  <a:cubicBezTo>
                    <a:pt x="84" y="19"/>
                    <a:pt x="65" y="0"/>
                    <a:pt x="42" y="0"/>
                  </a:cubicBezTo>
                  <a:close/>
                  <a:moveTo>
                    <a:pt x="42" y="71"/>
                  </a:moveTo>
                  <a:cubicBezTo>
                    <a:pt x="26" y="71"/>
                    <a:pt x="12" y="58"/>
                    <a:pt x="12" y="42"/>
                  </a:cubicBezTo>
                  <a:cubicBezTo>
                    <a:pt x="12" y="26"/>
                    <a:pt x="26" y="12"/>
                    <a:pt x="42" y="12"/>
                  </a:cubicBezTo>
                  <a:cubicBezTo>
                    <a:pt x="58" y="12"/>
                    <a:pt x="71" y="26"/>
                    <a:pt x="71" y="42"/>
                  </a:cubicBezTo>
                  <a:cubicBezTo>
                    <a:pt x="71" y="58"/>
                    <a:pt x="58" y="71"/>
                    <a:pt x="42" y="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67" name="Oval 252"/>
            <p:cNvSpPr>
              <a:spLocks noChangeArrowheads="1"/>
            </p:cNvSpPr>
            <p:nvPr userDrawn="1"/>
          </p:nvSpPr>
          <p:spPr bwMode="auto">
            <a:xfrm>
              <a:off x="1666" y="2517"/>
              <a:ext cx="22" cy="2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68" name="Freeform 253"/>
            <p:cNvSpPr>
              <a:spLocks noEditPoints="1"/>
            </p:cNvSpPr>
            <p:nvPr userDrawn="1"/>
          </p:nvSpPr>
          <p:spPr bwMode="auto">
            <a:xfrm>
              <a:off x="1521" y="2509"/>
              <a:ext cx="38" cy="38"/>
            </a:xfrm>
            <a:custGeom>
              <a:avLst/>
              <a:gdLst>
                <a:gd name="T0" fmla="*/ 42 w 84"/>
                <a:gd name="T1" fmla="*/ 0 h 84"/>
                <a:gd name="T2" fmla="*/ 0 w 84"/>
                <a:gd name="T3" fmla="*/ 42 h 84"/>
                <a:gd name="T4" fmla="*/ 42 w 84"/>
                <a:gd name="T5" fmla="*/ 84 h 84"/>
                <a:gd name="T6" fmla="*/ 84 w 84"/>
                <a:gd name="T7" fmla="*/ 42 h 84"/>
                <a:gd name="T8" fmla="*/ 42 w 84"/>
                <a:gd name="T9" fmla="*/ 0 h 84"/>
                <a:gd name="T10" fmla="*/ 42 w 84"/>
                <a:gd name="T11" fmla="*/ 71 h 84"/>
                <a:gd name="T12" fmla="*/ 13 w 84"/>
                <a:gd name="T13" fmla="*/ 42 h 84"/>
                <a:gd name="T14" fmla="*/ 42 w 84"/>
                <a:gd name="T15" fmla="*/ 12 h 84"/>
                <a:gd name="T16" fmla="*/ 72 w 84"/>
                <a:gd name="T17" fmla="*/ 42 h 84"/>
                <a:gd name="T18" fmla="*/ 42 w 84"/>
                <a:gd name="T19" fmla="*/ 71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65"/>
                    <a:pt x="19" y="84"/>
                    <a:pt x="42" y="84"/>
                  </a:cubicBezTo>
                  <a:cubicBezTo>
                    <a:pt x="65" y="84"/>
                    <a:pt x="84" y="65"/>
                    <a:pt x="84" y="42"/>
                  </a:cubicBezTo>
                  <a:cubicBezTo>
                    <a:pt x="84" y="19"/>
                    <a:pt x="65" y="0"/>
                    <a:pt x="42" y="0"/>
                  </a:cubicBezTo>
                  <a:close/>
                  <a:moveTo>
                    <a:pt x="42" y="71"/>
                  </a:moveTo>
                  <a:cubicBezTo>
                    <a:pt x="26" y="71"/>
                    <a:pt x="13" y="58"/>
                    <a:pt x="13" y="42"/>
                  </a:cubicBezTo>
                  <a:cubicBezTo>
                    <a:pt x="13" y="26"/>
                    <a:pt x="26" y="12"/>
                    <a:pt x="42" y="12"/>
                  </a:cubicBezTo>
                  <a:cubicBezTo>
                    <a:pt x="59" y="12"/>
                    <a:pt x="72" y="26"/>
                    <a:pt x="72" y="42"/>
                  </a:cubicBezTo>
                  <a:cubicBezTo>
                    <a:pt x="72" y="58"/>
                    <a:pt x="59" y="71"/>
                    <a:pt x="42" y="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69" name="Oval 254"/>
            <p:cNvSpPr>
              <a:spLocks noChangeArrowheads="1"/>
            </p:cNvSpPr>
            <p:nvPr userDrawn="1"/>
          </p:nvSpPr>
          <p:spPr bwMode="auto">
            <a:xfrm>
              <a:off x="1530" y="2517"/>
              <a:ext cx="21" cy="2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0" name="Freeform 255"/>
            <p:cNvSpPr>
              <a:spLocks noEditPoints="1"/>
            </p:cNvSpPr>
            <p:nvPr userDrawn="1"/>
          </p:nvSpPr>
          <p:spPr bwMode="auto">
            <a:xfrm>
              <a:off x="1478" y="2509"/>
              <a:ext cx="37" cy="38"/>
            </a:xfrm>
            <a:custGeom>
              <a:avLst/>
              <a:gdLst>
                <a:gd name="T0" fmla="*/ 42 w 83"/>
                <a:gd name="T1" fmla="*/ 0 h 84"/>
                <a:gd name="T2" fmla="*/ 0 w 83"/>
                <a:gd name="T3" fmla="*/ 42 h 84"/>
                <a:gd name="T4" fmla="*/ 42 w 83"/>
                <a:gd name="T5" fmla="*/ 84 h 84"/>
                <a:gd name="T6" fmla="*/ 83 w 83"/>
                <a:gd name="T7" fmla="*/ 42 h 84"/>
                <a:gd name="T8" fmla="*/ 42 w 83"/>
                <a:gd name="T9" fmla="*/ 0 h 84"/>
                <a:gd name="T10" fmla="*/ 42 w 83"/>
                <a:gd name="T11" fmla="*/ 71 h 84"/>
                <a:gd name="T12" fmla="*/ 12 w 83"/>
                <a:gd name="T13" fmla="*/ 42 h 84"/>
                <a:gd name="T14" fmla="*/ 42 w 83"/>
                <a:gd name="T15" fmla="*/ 12 h 84"/>
                <a:gd name="T16" fmla="*/ 71 w 83"/>
                <a:gd name="T17" fmla="*/ 42 h 84"/>
                <a:gd name="T18" fmla="*/ 42 w 83"/>
                <a:gd name="T19" fmla="*/ 71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3" h="84">
                  <a:moveTo>
                    <a:pt x="42" y="0"/>
                  </a:moveTo>
                  <a:cubicBezTo>
                    <a:pt x="18" y="0"/>
                    <a:pt x="0" y="19"/>
                    <a:pt x="0" y="42"/>
                  </a:cubicBezTo>
                  <a:cubicBezTo>
                    <a:pt x="0" y="65"/>
                    <a:pt x="18" y="84"/>
                    <a:pt x="42" y="84"/>
                  </a:cubicBezTo>
                  <a:cubicBezTo>
                    <a:pt x="65" y="84"/>
                    <a:pt x="83" y="65"/>
                    <a:pt x="83" y="42"/>
                  </a:cubicBezTo>
                  <a:cubicBezTo>
                    <a:pt x="83" y="19"/>
                    <a:pt x="65" y="0"/>
                    <a:pt x="42" y="0"/>
                  </a:cubicBezTo>
                  <a:close/>
                  <a:moveTo>
                    <a:pt x="42" y="71"/>
                  </a:moveTo>
                  <a:cubicBezTo>
                    <a:pt x="25" y="71"/>
                    <a:pt x="12" y="58"/>
                    <a:pt x="12" y="42"/>
                  </a:cubicBezTo>
                  <a:cubicBezTo>
                    <a:pt x="12" y="26"/>
                    <a:pt x="25" y="12"/>
                    <a:pt x="42" y="12"/>
                  </a:cubicBezTo>
                  <a:cubicBezTo>
                    <a:pt x="58" y="12"/>
                    <a:pt x="71" y="26"/>
                    <a:pt x="71" y="42"/>
                  </a:cubicBezTo>
                  <a:cubicBezTo>
                    <a:pt x="71" y="58"/>
                    <a:pt x="58" y="71"/>
                    <a:pt x="42" y="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1" name="Oval 256"/>
            <p:cNvSpPr>
              <a:spLocks noChangeArrowheads="1"/>
            </p:cNvSpPr>
            <p:nvPr userDrawn="1"/>
          </p:nvSpPr>
          <p:spPr bwMode="auto">
            <a:xfrm>
              <a:off x="1486" y="2517"/>
              <a:ext cx="21" cy="2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2" name="Freeform 257"/>
            <p:cNvSpPr>
              <a:spLocks noEditPoints="1"/>
            </p:cNvSpPr>
            <p:nvPr userDrawn="1"/>
          </p:nvSpPr>
          <p:spPr bwMode="auto">
            <a:xfrm>
              <a:off x="1434" y="2509"/>
              <a:ext cx="37" cy="38"/>
            </a:xfrm>
            <a:custGeom>
              <a:avLst/>
              <a:gdLst>
                <a:gd name="T0" fmla="*/ 42 w 84"/>
                <a:gd name="T1" fmla="*/ 0 h 84"/>
                <a:gd name="T2" fmla="*/ 0 w 84"/>
                <a:gd name="T3" fmla="*/ 42 h 84"/>
                <a:gd name="T4" fmla="*/ 42 w 84"/>
                <a:gd name="T5" fmla="*/ 84 h 84"/>
                <a:gd name="T6" fmla="*/ 84 w 84"/>
                <a:gd name="T7" fmla="*/ 42 h 84"/>
                <a:gd name="T8" fmla="*/ 42 w 84"/>
                <a:gd name="T9" fmla="*/ 0 h 84"/>
                <a:gd name="T10" fmla="*/ 42 w 84"/>
                <a:gd name="T11" fmla="*/ 71 h 84"/>
                <a:gd name="T12" fmla="*/ 12 w 84"/>
                <a:gd name="T13" fmla="*/ 42 h 84"/>
                <a:gd name="T14" fmla="*/ 42 w 84"/>
                <a:gd name="T15" fmla="*/ 12 h 84"/>
                <a:gd name="T16" fmla="*/ 71 w 84"/>
                <a:gd name="T17" fmla="*/ 42 h 84"/>
                <a:gd name="T18" fmla="*/ 42 w 84"/>
                <a:gd name="T19" fmla="*/ 71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65"/>
                    <a:pt x="19" y="84"/>
                    <a:pt x="42" y="84"/>
                  </a:cubicBezTo>
                  <a:cubicBezTo>
                    <a:pt x="65" y="84"/>
                    <a:pt x="84" y="65"/>
                    <a:pt x="84" y="42"/>
                  </a:cubicBezTo>
                  <a:cubicBezTo>
                    <a:pt x="84" y="19"/>
                    <a:pt x="65" y="0"/>
                    <a:pt x="42" y="0"/>
                  </a:cubicBezTo>
                  <a:close/>
                  <a:moveTo>
                    <a:pt x="42" y="71"/>
                  </a:moveTo>
                  <a:cubicBezTo>
                    <a:pt x="26" y="71"/>
                    <a:pt x="12" y="58"/>
                    <a:pt x="12" y="42"/>
                  </a:cubicBezTo>
                  <a:cubicBezTo>
                    <a:pt x="12" y="26"/>
                    <a:pt x="26" y="12"/>
                    <a:pt x="42" y="12"/>
                  </a:cubicBezTo>
                  <a:cubicBezTo>
                    <a:pt x="58" y="12"/>
                    <a:pt x="71" y="26"/>
                    <a:pt x="71" y="42"/>
                  </a:cubicBezTo>
                  <a:cubicBezTo>
                    <a:pt x="71" y="58"/>
                    <a:pt x="58" y="71"/>
                    <a:pt x="42" y="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3" name="Oval 258"/>
            <p:cNvSpPr>
              <a:spLocks noChangeArrowheads="1"/>
            </p:cNvSpPr>
            <p:nvPr userDrawn="1"/>
          </p:nvSpPr>
          <p:spPr bwMode="auto">
            <a:xfrm>
              <a:off x="1442" y="2517"/>
              <a:ext cx="21" cy="2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4" name="Freeform 259"/>
            <p:cNvSpPr>
              <a:spLocks/>
            </p:cNvSpPr>
            <p:nvPr userDrawn="1"/>
          </p:nvSpPr>
          <p:spPr bwMode="auto">
            <a:xfrm>
              <a:off x="1353" y="2473"/>
              <a:ext cx="507" cy="55"/>
            </a:xfrm>
            <a:custGeom>
              <a:avLst/>
              <a:gdLst>
                <a:gd name="T0" fmla="*/ 1117 w 1125"/>
                <a:gd name="T1" fmla="*/ 13 h 121"/>
                <a:gd name="T2" fmla="*/ 1079 w 1125"/>
                <a:gd name="T3" fmla="*/ 13 h 121"/>
                <a:gd name="T4" fmla="*/ 1071 w 1125"/>
                <a:gd name="T5" fmla="*/ 21 h 121"/>
                <a:gd name="T6" fmla="*/ 1008 w 1125"/>
                <a:gd name="T7" fmla="*/ 21 h 121"/>
                <a:gd name="T8" fmla="*/ 1016 w 1125"/>
                <a:gd name="T9" fmla="*/ 9 h 121"/>
                <a:gd name="T10" fmla="*/ 828 w 1125"/>
                <a:gd name="T11" fmla="*/ 9 h 121"/>
                <a:gd name="T12" fmla="*/ 828 w 1125"/>
                <a:gd name="T13" fmla="*/ 0 h 121"/>
                <a:gd name="T14" fmla="*/ 610 w 1125"/>
                <a:gd name="T15" fmla="*/ 0 h 121"/>
                <a:gd name="T16" fmla="*/ 610 w 1125"/>
                <a:gd name="T17" fmla="*/ 9 h 121"/>
                <a:gd name="T18" fmla="*/ 528 w 1125"/>
                <a:gd name="T19" fmla="*/ 9 h 121"/>
                <a:gd name="T20" fmla="*/ 528 w 1125"/>
                <a:gd name="T21" fmla="*/ 0 h 121"/>
                <a:gd name="T22" fmla="*/ 309 w 1125"/>
                <a:gd name="T23" fmla="*/ 0 h 121"/>
                <a:gd name="T24" fmla="*/ 309 w 1125"/>
                <a:gd name="T25" fmla="*/ 9 h 121"/>
                <a:gd name="T26" fmla="*/ 109 w 1125"/>
                <a:gd name="T27" fmla="*/ 9 h 121"/>
                <a:gd name="T28" fmla="*/ 117 w 1125"/>
                <a:gd name="T29" fmla="*/ 21 h 121"/>
                <a:gd name="T30" fmla="*/ 54 w 1125"/>
                <a:gd name="T31" fmla="*/ 21 h 121"/>
                <a:gd name="T32" fmla="*/ 46 w 1125"/>
                <a:gd name="T33" fmla="*/ 13 h 121"/>
                <a:gd name="T34" fmla="*/ 8 w 1125"/>
                <a:gd name="T35" fmla="*/ 13 h 121"/>
                <a:gd name="T36" fmla="*/ 0 w 1125"/>
                <a:gd name="T37" fmla="*/ 21 h 121"/>
                <a:gd name="T38" fmla="*/ 0 w 1125"/>
                <a:gd name="T39" fmla="*/ 71 h 121"/>
                <a:gd name="T40" fmla="*/ 8 w 1125"/>
                <a:gd name="T41" fmla="*/ 79 h 121"/>
                <a:gd name="T42" fmla="*/ 46 w 1125"/>
                <a:gd name="T43" fmla="*/ 79 h 121"/>
                <a:gd name="T44" fmla="*/ 54 w 1125"/>
                <a:gd name="T45" fmla="*/ 72 h 121"/>
                <a:gd name="T46" fmla="*/ 129 w 1125"/>
                <a:gd name="T47" fmla="*/ 72 h 121"/>
                <a:gd name="T48" fmla="*/ 157 w 1125"/>
                <a:gd name="T49" fmla="*/ 121 h 121"/>
                <a:gd name="T50" fmla="*/ 158 w 1125"/>
                <a:gd name="T51" fmla="*/ 121 h 121"/>
                <a:gd name="T52" fmla="*/ 158 w 1125"/>
                <a:gd name="T53" fmla="*/ 121 h 121"/>
                <a:gd name="T54" fmla="*/ 220 w 1125"/>
                <a:gd name="T55" fmla="*/ 59 h 121"/>
                <a:gd name="T56" fmla="*/ 269 w 1125"/>
                <a:gd name="T57" fmla="*/ 83 h 121"/>
                <a:gd name="T58" fmla="*/ 318 w 1125"/>
                <a:gd name="T59" fmla="*/ 59 h 121"/>
                <a:gd name="T60" fmla="*/ 366 w 1125"/>
                <a:gd name="T61" fmla="*/ 83 h 121"/>
                <a:gd name="T62" fmla="*/ 415 w 1125"/>
                <a:gd name="T63" fmla="*/ 59 h 121"/>
                <a:gd name="T64" fmla="*/ 477 w 1125"/>
                <a:gd name="T65" fmla="*/ 121 h 121"/>
                <a:gd name="T66" fmla="*/ 477 w 1125"/>
                <a:gd name="T67" fmla="*/ 121 h 121"/>
                <a:gd name="T68" fmla="*/ 657 w 1125"/>
                <a:gd name="T69" fmla="*/ 121 h 121"/>
                <a:gd name="T70" fmla="*/ 657 w 1125"/>
                <a:gd name="T71" fmla="*/ 121 h 121"/>
                <a:gd name="T72" fmla="*/ 719 w 1125"/>
                <a:gd name="T73" fmla="*/ 59 h 121"/>
                <a:gd name="T74" fmla="*/ 768 w 1125"/>
                <a:gd name="T75" fmla="*/ 83 h 121"/>
                <a:gd name="T76" fmla="*/ 817 w 1125"/>
                <a:gd name="T77" fmla="*/ 59 h 121"/>
                <a:gd name="T78" fmla="*/ 865 w 1125"/>
                <a:gd name="T79" fmla="*/ 83 h 121"/>
                <a:gd name="T80" fmla="*/ 914 w 1125"/>
                <a:gd name="T81" fmla="*/ 59 h 121"/>
                <a:gd name="T82" fmla="*/ 976 w 1125"/>
                <a:gd name="T83" fmla="*/ 115 h 121"/>
                <a:gd name="T84" fmla="*/ 996 w 1125"/>
                <a:gd name="T85" fmla="*/ 72 h 121"/>
                <a:gd name="T86" fmla="*/ 1071 w 1125"/>
                <a:gd name="T87" fmla="*/ 72 h 121"/>
                <a:gd name="T88" fmla="*/ 1079 w 1125"/>
                <a:gd name="T89" fmla="*/ 79 h 121"/>
                <a:gd name="T90" fmla="*/ 1117 w 1125"/>
                <a:gd name="T91" fmla="*/ 79 h 121"/>
                <a:gd name="T92" fmla="*/ 1125 w 1125"/>
                <a:gd name="T93" fmla="*/ 71 h 121"/>
                <a:gd name="T94" fmla="*/ 1125 w 1125"/>
                <a:gd name="T95" fmla="*/ 21 h 121"/>
                <a:gd name="T96" fmla="*/ 1117 w 1125"/>
                <a:gd name="T97" fmla="*/ 13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125" h="121">
                  <a:moveTo>
                    <a:pt x="1117" y="13"/>
                  </a:moveTo>
                  <a:cubicBezTo>
                    <a:pt x="1079" y="13"/>
                    <a:pt x="1079" y="13"/>
                    <a:pt x="1079" y="13"/>
                  </a:cubicBezTo>
                  <a:cubicBezTo>
                    <a:pt x="1075" y="13"/>
                    <a:pt x="1071" y="17"/>
                    <a:pt x="1071" y="21"/>
                  </a:cubicBezTo>
                  <a:cubicBezTo>
                    <a:pt x="1008" y="21"/>
                    <a:pt x="1008" y="21"/>
                    <a:pt x="1008" y="21"/>
                  </a:cubicBezTo>
                  <a:cubicBezTo>
                    <a:pt x="1011" y="17"/>
                    <a:pt x="1014" y="13"/>
                    <a:pt x="1016" y="9"/>
                  </a:cubicBezTo>
                  <a:cubicBezTo>
                    <a:pt x="828" y="9"/>
                    <a:pt x="828" y="9"/>
                    <a:pt x="828" y="9"/>
                  </a:cubicBezTo>
                  <a:cubicBezTo>
                    <a:pt x="828" y="0"/>
                    <a:pt x="828" y="0"/>
                    <a:pt x="828" y="0"/>
                  </a:cubicBezTo>
                  <a:cubicBezTo>
                    <a:pt x="610" y="0"/>
                    <a:pt x="610" y="0"/>
                    <a:pt x="610" y="0"/>
                  </a:cubicBezTo>
                  <a:cubicBezTo>
                    <a:pt x="610" y="9"/>
                    <a:pt x="610" y="9"/>
                    <a:pt x="610" y="9"/>
                  </a:cubicBezTo>
                  <a:cubicBezTo>
                    <a:pt x="528" y="9"/>
                    <a:pt x="528" y="9"/>
                    <a:pt x="528" y="9"/>
                  </a:cubicBezTo>
                  <a:cubicBezTo>
                    <a:pt x="528" y="0"/>
                    <a:pt x="528" y="0"/>
                    <a:pt x="528" y="0"/>
                  </a:cubicBezTo>
                  <a:cubicBezTo>
                    <a:pt x="309" y="0"/>
                    <a:pt x="309" y="0"/>
                    <a:pt x="309" y="0"/>
                  </a:cubicBezTo>
                  <a:cubicBezTo>
                    <a:pt x="309" y="9"/>
                    <a:pt x="309" y="9"/>
                    <a:pt x="309" y="9"/>
                  </a:cubicBezTo>
                  <a:cubicBezTo>
                    <a:pt x="109" y="9"/>
                    <a:pt x="109" y="9"/>
                    <a:pt x="109" y="9"/>
                  </a:cubicBezTo>
                  <a:cubicBezTo>
                    <a:pt x="111" y="13"/>
                    <a:pt x="114" y="17"/>
                    <a:pt x="117" y="21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53" y="17"/>
                    <a:pt x="50" y="13"/>
                    <a:pt x="46" y="13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3" y="13"/>
                    <a:pt x="0" y="17"/>
                    <a:pt x="0" y="21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76"/>
                    <a:pt x="3" y="79"/>
                    <a:pt x="8" y="79"/>
                  </a:cubicBezTo>
                  <a:cubicBezTo>
                    <a:pt x="46" y="79"/>
                    <a:pt x="46" y="79"/>
                    <a:pt x="46" y="79"/>
                  </a:cubicBezTo>
                  <a:cubicBezTo>
                    <a:pt x="50" y="79"/>
                    <a:pt x="53" y="76"/>
                    <a:pt x="54" y="72"/>
                  </a:cubicBezTo>
                  <a:cubicBezTo>
                    <a:pt x="129" y="72"/>
                    <a:pt x="129" y="72"/>
                    <a:pt x="129" y="72"/>
                  </a:cubicBezTo>
                  <a:cubicBezTo>
                    <a:pt x="129" y="93"/>
                    <a:pt x="140" y="111"/>
                    <a:pt x="157" y="121"/>
                  </a:cubicBezTo>
                  <a:cubicBezTo>
                    <a:pt x="158" y="121"/>
                    <a:pt x="158" y="121"/>
                    <a:pt x="158" y="121"/>
                  </a:cubicBezTo>
                  <a:cubicBezTo>
                    <a:pt x="158" y="121"/>
                    <a:pt x="158" y="121"/>
                    <a:pt x="158" y="121"/>
                  </a:cubicBezTo>
                  <a:cubicBezTo>
                    <a:pt x="158" y="87"/>
                    <a:pt x="186" y="59"/>
                    <a:pt x="220" y="59"/>
                  </a:cubicBezTo>
                  <a:cubicBezTo>
                    <a:pt x="240" y="59"/>
                    <a:pt x="257" y="68"/>
                    <a:pt x="269" y="83"/>
                  </a:cubicBezTo>
                  <a:cubicBezTo>
                    <a:pt x="280" y="68"/>
                    <a:pt x="298" y="59"/>
                    <a:pt x="318" y="59"/>
                  </a:cubicBezTo>
                  <a:cubicBezTo>
                    <a:pt x="337" y="59"/>
                    <a:pt x="355" y="68"/>
                    <a:pt x="366" y="83"/>
                  </a:cubicBezTo>
                  <a:cubicBezTo>
                    <a:pt x="378" y="68"/>
                    <a:pt x="395" y="59"/>
                    <a:pt x="415" y="59"/>
                  </a:cubicBezTo>
                  <a:cubicBezTo>
                    <a:pt x="449" y="59"/>
                    <a:pt x="477" y="87"/>
                    <a:pt x="477" y="121"/>
                  </a:cubicBezTo>
                  <a:cubicBezTo>
                    <a:pt x="477" y="121"/>
                    <a:pt x="477" y="121"/>
                    <a:pt x="477" y="121"/>
                  </a:cubicBezTo>
                  <a:cubicBezTo>
                    <a:pt x="657" y="121"/>
                    <a:pt x="657" y="121"/>
                    <a:pt x="657" y="121"/>
                  </a:cubicBezTo>
                  <a:cubicBezTo>
                    <a:pt x="657" y="121"/>
                    <a:pt x="657" y="121"/>
                    <a:pt x="657" y="121"/>
                  </a:cubicBezTo>
                  <a:cubicBezTo>
                    <a:pt x="657" y="87"/>
                    <a:pt x="685" y="59"/>
                    <a:pt x="719" y="59"/>
                  </a:cubicBezTo>
                  <a:cubicBezTo>
                    <a:pt x="739" y="59"/>
                    <a:pt x="756" y="68"/>
                    <a:pt x="768" y="83"/>
                  </a:cubicBezTo>
                  <a:cubicBezTo>
                    <a:pt x="779" y="68"/>
                    <a:pt x="797" y="59"/>
                    <a:pt x="817" y="59"/>
                  </a:cubicBezTo>
                  <a:cubicBezTo>
                    <a:pt x="836" y="59"/>
                    <a:pt x="854" y="68"/>
                    <a:pt x="865" y="83"/>
                  </a:cubicBezTo>
                  <a:cubicBezTo>
                    <a:pt x="877" y="68"/>
                    <a:pt x="894" y="59"/>
                    <a:pt x="914" y="59"/>
                  </a:cubicBezTo>
                  <a:cubicBezTo>
                    <a:pt x="946" y="59"/>
                    <a:pt x="973" y="84"/>
                    <a:pt x="976" y="115"/>
                  </a:cubicBezTo>
                  <a:cubicBezTo>
                    <a:pt x="988" y="104"/>
                    <a:pt x="996" y="89"/>
                    <a:pt x="996" y="72"/>
                  </a:cubicBezTo>
                  <a:cubicBezTo>
                    <a:pt x="1071" y="72"/>
                    <a:pt x="1071" y="72"/>
                    <a:pt x="1071" y="72"/>
                  </a:cubicBezTo>
                  <a:cubicBezTo>
                    <a:pt x="1071" y="76"/>
                    <a:pt x="1075" y="79"/>
                    <a:pt x="1079" y="79"/>
                  </a:cubicBezTo>
                  <a:cubicBezTo>
                    <a:pt x="1117" y="79"/>
                    <a:pt x="1117" y="79"/>
                    <a:pt x="1117" y="79"/>
                  </a:cubicBezTo>
                  <a:cubicBezTo>
                    <a:pt x="1121" y="79"/>
                    <a:pt x="1125" y="76"/>
                    <a:pt x="1125" y="71"/>
                  </a:cubicBezTo>
                  <a:cubicBezTo>
                    <a:pt x="1125" y="21"/>
                    <a:pt x="1125" y="21"/>
                    <a:pt x="1125" y="21"/>
                  </a:cubicBezTo>
                  <a:cubicBezTo>
                    <a:pt x="1125" y="17"/>
                    <a:pt x="1121" y="13"/>
                    <a:pt x="1117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5" name="Freeform 260"/>
            <p:cNvSpPr>
              <a:spLocks/>
            </p:cNvSpPr>
            <p:nvPr userDrawn="1"/>
          </p:nvSpPr>
          <p:spPr bwMode="auto">
            <a:xfrm>
              <a:off x="1573" y="2325"/>
              <a:ext cx="67" cy="7"/>
            </a:xfrm>
            <a:custGeom>
              <a:avLst/>
              <a:gdLst>
                <a:gd name="T0" fmla="*/ 118 w 148"/>
                <a:gd name="T1" fmla="*/ 0 h 16"/>
                <a:gd name="T2" fmla="*/ 30 w 148"/>
                <a:gd name="T3" fmla="*/ 0 h 16"/>
                <a:gd name="T4" fmla="*/ 0 w 148"/>
                <a:gd name="T5" fmla="*/ 16 h 16"/>
                <a:gd name="T6" fmla="*/ 148 w 148"/>
                <a:gd name="T7" fmla="*/ 16 h 16"/>
                <a:gd name="T8" fmla="*/ 118 w 148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8" h="16">
                  <a:moveTo>
                    <a:pt x="118" y="0"/>
                  </a:moveTo>
                  <a:cubicBezTo>
                    <a:pt x="30" y="0"/>
                    <a:pt x="30" y="0"/>
                    <a:pt x="30" y="0"/>
                  </a:cubicBezTo>
                  <a:cubicBezTo>
                    <a:pt x="18" y="0"/>
                    <a:pt x="7" y="6"/>
                    <a:pt x="0" y="16"/>
                  </a:cubicBezTo>
                  <a:cubicBezTo>
                    <a:pt x="148" y="16"/>
                    <a:pt x="148" y="16"/>
                    <a:pt x="148" y="16"/>
                  </a:cubicBezTo>
                  <a:cubicBezTo>
                    <a:pt x="142" y="6"/>
                    <a:pt x="131" y="0"/>
                    <a:pt x="11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6" name="Freeform 261"/>
            <p:cNvSpPr>
              <a:spLocks/>
            </p:cNvSpPr>
            <p:nvPr userDrawn="1"/>
          </p:nvSpPr>
          <p:spPr bwMode="auto">
            <a:xfrm>
              <a:off x="1795" y="2344"/>
              <a:ext cx="31" cy="117"/>
            </a:xfrm>
            <a:custGeom>
              <a:avLst/>
              <a:gdLst>
                <a:gd name="T0" fmla="*/ 69 w 69"/>
                <a:gd name="T1" fmla="*/ 130 h 259"/>
                <a:gd name="T2" fmla="*/ 0 w 69"/>
                <a:gd name="T3" fmla="*/ 0 h 259"/>
                <a:gd name="T4" fmla="*/ 0 w 69"/>
                <a:gd name="T5" fmla="*/ 259 h 259"/>
                <a:gd name="T6" fmla="*/ 69 w 69"/>
                <a:gd name="T7" fmla="*/ 130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9" h="259">
                  <a:moveTo>
                    <a:pt x="69" y="130"/>
                  </a:moveTo>
                  <a:cubicBezTo>
                    <a:pt x="69" y="74"/>
                    <a:pt x="41" y="26"/>
                    <a:pt x="0" y="0"/>
                  </a:cubicBezTo>
                  <a:cubicBezTo>
                    <a:pt x="0" y="259"/>
                    <a:pt x="0" y="259"/>
                    <a:pt x="0" y="259"/>
                  </a:cubicBezTo>
                  <a:cubicBezTo>
                    <a:pt x="41" y="234"/>
                    <a:pt x="69" y="186"/>
                    <a:pt x="69" y="1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7" name="Freeform 262"/>
            <p:cNvSpPr>
              <a:spLocks/>
            </p:cNvSpPr>
            <p:nvPr userDrawn="1"/>
          </p:nvSpPr>
          <p:spPr bwMode="auto">
            <a:xfrm>
              <a:off x="1428" y="2336"/>
              <a:ext cx="363" cy="134"/>
            </a:xfrm>
            <a:custGeom>
              <a:avLst/>
              <a:gdLst>
                <a:gd name="T0" fmla="*/ 749 w 805"/>
                <a:gd name="T1" fmla="*/ 296 h 296"/>
                <a:gd name="T2" fmla="*/ 805 w 805"/>
                <a:gd name="T3" fmla="*/ 283 h 296"/>
                <a:gd name="T4" fmla="*/ 805 w 805"/>
                <a:gd name="T5" fmla="*/ 13 h 296"/>
                <a:gd name="T6" fmla="*/ 749 w 805"/>
                <a:gd name="T7" fmla="*/ 0 h 296"/>
                <a:gd name="T8" fmla="*/ 43 w 805"/>
                <a:gd name="T9" fmla="*/ 0 h 296"/>
                <a:gd name="T10" fmla="*/ 0 w 805"/>
                <a:gd name="T11" fmla="*/ 8 h 296"/>
                <a:gd name="T12" fmla="*/ 0 w 805"/>
                <a:gd name="T13" fmla="*/ 288 h 296"/>
                <a:gd name="T14" fmla="*/ 43 w 805"/>
                <a:gd name="T15" fmla="*/ 296 h 296"/>
                <a:gd name="T16" fmla="*/ 749 w 805"/>
                <a:gd name="T17" fmla="*/ 296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05" h="296">
                  <a:moveTo>
                    <a:pt x="749" y="296"/>
                  </a:moveTo>
                  <a:cubicBezTo>
                    <a:pt x="769" y="296"/>
                    <a:pt x="788" y="291"/>
                    <a:pt x="805" y="283"/>
                  </a:cubicBezTo>
                  <a:cubicBezTo>
                    <a:pt x="805" y="13"/>
                    <a:pt x="805" y="13"/>
                    <a:pt x="805" y="13"/>
                  </a:cubicBezTo>
                  <a:cubicBezTo>
                    <a:pt x="788" y="5"/>
                    <a:pt x="769" y="0"/>
                    <a:pt x="749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28" y="0"/>
                    <a:pt x="14" y="3"/>
                    <a:pt x="0" y="8"/>
                  </a:cubicBezTo>
                  <a:cubicBezTo>
                    <a:pt x="0" y="288"/>
                    <a:pt x="0" y="288"/>
                    <a:pt x="0" y="288"/>
                  </a:cubicBezTo>
                  <a:cubicBezTo>
                    <a:pt x="14" y="293"/>
                    <a:pt x="28" y="296"/>
                    <a:pt x="43" y="296"/>
                  </a:cubicBezTo>
                  <a:lnTo>
                    <a:pt x="749" y="2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8" name="Freeform 263"/>
            <p:cNvSpPr>
              <a:spLocks/>
            </p:cNvSpPr>
            <p:nvPr userDrawn="1"/>
          </p:nvSpPr>
          <p:spPr bwMode="auto">
            <a:xfrm>
              <a:off x="1387" y="2341"/>
              <a:ext cx="37" cy="123"/>
            </a:xfrm>
            <a:custGeom>
              <a:avLst/>
              <a:gdLst>
                <a:gd name="T0" fmla="*/ 83 w 83"/>
                <a:gd name="T1" fmla="*/ 273 h 273"/>
                <a:gd name="T2" fmla="*/ 83 w 83"/>
                <a:gd name="T3" fmla="*/ 0 h 273"/>
                <a:gd name="T4" fmla="*/ 0 w 83"/>
                <a:gd name="T5" fmla="*/ 137 h 273"/>
                <a:gd name="T6" fmla="*/ 83 w 83"/>
                <a:gd name="T7" fmla="*/ 273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3" h="273">
                  <a:moveTo>
                    <a:pt x="83" y="273"/>
                  </a:moveTo>
                  <a:cubicBezTo>
                    <a:pt x="83" y="0"/>
                    <a:pt x="83" y="0"/>
                    <a:pt x="83" y="0"/>
                  </a:cubicBezTo>
                  <a:cubicBezTo>
                    <a:pt x="34" y="23"/>
                    <a:pt x="0" y="76"/>
                    <a:pt x="0" y="137"/>
                  </a:cubicBezTo>
                  <a:cubicBezTo>
                    <a:pt x="0" y="198"/>
                    <a:pt x="34" y="251"/>
                    <a:pt x="83" y="27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9" name="Freeform 264"/>
            <p:cNvSpPr>
              <a:spLocks noEditPoints="1"/>
            </p:cNvSpPr>
            <p:nvPr userDrawn="1"/>
          </p:nvSpPr>
          <p:spPr bwMode="auto">
            <a:xfrm>
              <a:off x="1235" y="2509"/>
              <a:ext cx="37" cy="38"/>
            </a:xfrm>
            <a:custGeom>
              <a:avLst/>
              <a:gdLst>
                <a:gd name="T0" fmla="*/ 42 w 83"/>
                <a:gd name="T1" fmla="*/ 0 h 84"/>
                <a:gd name="T2" fmla="*/ 0 w 83"/>
                <a:gd name="T3" fmla="*/ 42 h 84"/>
                <a:gd name="T4" fmla="*/ 42 w 83"/>
                <a:gd name="T5" fmla="*/ 84 h 84"/>
                <a:gd name="T6" fmla="*/ 83 w 83"/>
                <a:gd name="T7" fmla="*/ 42 h 84"/>
                <a:gd name="T8" fmla="*/ 42 w 83"/>
                <a:gd name="T9" fmla="*/ 0 h 84"/>
                <a:gd name="T10" fmla="*/ 42 w 83"/>
                <a:gd name="T11" fmla="*/ 71 h 84"/>
                <a:gd name="T12" fmla="*/ 12 w 83"/>
                <a:gd name="T13" fmla="*/ 42 h 84"/>
                <a:gd name="T14" fmla="*/ 42 w 83"/>
                <a:gd name="T15" fmla="*/ 12 h 84"/>
                <a:gd name="T16" fmla="*/ 71 w 83"/>
                <a:gd name="T17" fmla="*/ 42 h 84"/>
                <a:gd name="T18" fmla="*/ 42 w 83"/>
                <a:gd name="T19" fmla="*/ 71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3" h="84">
                  <a:moveTo>
                    <a:pt x="42" y="0"/>
                  </a:moveTo>
                  <a:cubicBezTo>
                    <a:pt x="18" y="0"/>
                    <a:pt x="0" y="19"/>
                    <a:pt x="0" y="42"/>
                  </a:cubicBezTo>
                  <a:cubicBezTo>
                    <a:pt x="0" y="65"/>
                    <a:pt x="18" y="84"/>
                    <a:pt x="42" y="84"/>
                  </a:cubicBezTo>
                  <a:cubicBezTo>
                    <a:pt x="65" y="84"/>
                    <a:pt x="83" y="65"/>
                    <a:pt x="83" y="42"/>
                  </a:cubicBezTo>
                  <a:cubicBezTo>
                    <a:pt x="83" y="19"/>
                    <a:pt x="65" y="0"/>
                    <a:pt x="42" y="0"/>
                  </a:cubicBezTo>
                  <a:close/>
                  <a:moveTo>
                    <a:pt x="42" y="71"/>
                  </a:moveTo>
                  <a:cubicBezTo>
                    <a:pt x="25" y="71"/>
                    <a:pt x="12" y="58"/>
                    <a:pt x="12" y="42"/>
                  </a:cubicBezTo>
                  <a:cubicBezTo>
                    <a:pt x="12" y="26"/>
                    <a:pt x="25" y="12"/>
                    <a:pt x="42" y="12"/>
                  </a:cubicBezTo>
                  <a:cubicBezTo>
                    <a:pt x="58" y="12"/>
                    <a:pt x="71" y="26"/>
                    <a:pt x="71" y="42"/>
                  </a:cubicBezTo>
                  <a:cubicBezTo>
                    <a:pt x="71" y="58"/>
                    <a:pt x="58" y="71"/>
                    <a:pt x="42" y="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0" name="Oval 265"/>
            <p:cNvSpPr>
              <a:spLocks noChangeArrowheads="1"/>
            </p:cNvSpPr>
            <p:nvPr userDrawn="1"/>
          </p:nvSpPr>
          <p:spPr bwMode="auto">
            <a:xfrm>
              <a:off x="1243" y="2517"/>
              <a:ext cx="21" cy="2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1" name="Freeform 266"/>
            <p:cNvSpPr>
              <a:spLocks noEditPoints="1"/>
            </p:cNvSpPr>
            <p:nvPr userDrawn="1"/>
          </p:nvSpPr>
          <p:spPr bwMode="auto">
            <a:xfrm>
              <a:off x="1190" y="2509"/>
              <a:ext cx="38" cy="38"/>
            </a:xfrm>
            <a:custGeom>
              <a:avLst/>
              <a:gdLst>
                <a:gd name="T0" fmla="*/ 42 w 84"/>
                <a:gd name="T1" fmla="*/ 0 h 84"/>
                <a:gd name="T2" fmla="*/ 0 w 84"/>
                <a:gd name="T3" fmla="*/ 42 h 84"/>
                <a:gd name="T4" fmla="*/ 42 w 84"/>
                <a:gd name="T5" fmla="*/ 84 h 84"/>
                <a:gd name="T6" fmla="*/ 84 w 84"/>
                <a:gd name="T7" fmla="*/ 42 h 84"/>
                <a:gd name="T8" fmla="*/ 42 w 84"/>
                <a:gd name="T9" fmla="*/ 0 h 84"/>
                <a:gd name="T10" fmla="*/ 42 w 84"/>
                <a:gd name="T11" fmla="*/ 71 h 84"/>
                <a:gd name="T12" fmla="*/ 12 w 84"/>
                <a:gd name="T13" fmla="*/ 42 h 84"/>
                <a:gd name="T14" fmla="*/ 42 w 84"/>
                <a:gd name="T15" fmla="*/ 12 h 84"/>
                <a:gd name="T16" fmla="*/ 71 w 84"/>
                <a:gd name="T17" fmla="*/ 42 h 84"/>
                <a:gd name="T18" fmla="*/ 42 w 84"/>
                <a:gd name="T19" fmla="*/ 71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65"/>
                    <a:pt x="19" y="84"/>
                    <a:pt x="42" y="84"/>
                  </a:cubicBezTo>
                  <a:cubicBezTo>
                    <a:pt x="65" y="84"/>
                    <a:pt x="84" y="65"/>
                    <a:pt x="84" y="42"/>
                  </a:cubicBezTo>
                  <a:cubicBezTo>
                    <a:pt x="84" y="19"/>
                    <a:pt x="65" y="0"/>
                    <a:pt x="42" y="0"/>
                  </a:cubicBezTo>
                  <a:close/>
                  <a:moveTo>
                    <a:pt x="42" y="71"/>
                  </a:moveTo>
                  <a:cubicBezTo>
                    <a:pt x="26" y="71"/>
                    <a:pt x="12" y="58"/>
                    <a:pt x="12" y="42"/>
                  </a:cubicBezTo>
                  <a:cubicBezTo>
                    <a:pt x="12" y="26"/>
                    <a:pt x="26" y="12"/>
                    <a:pt x="42" y="12"/>
                  </a:cubicBezTo>
                  <a:cubicBezTo>
                    <a:pt x="58" y="12"/>
                    <a:pt x="71" y="26"/>
                    <a:pt x="71" y="42"/>
                  </a:cubicBezTo>
                  <a:cubicBezTo>
                    <a:pt x="71" y="58"/>
                    <a:pt x="58" y="71"/>
                    <a:pt x="42" y="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2" name="Oval 267"/>
            <p:cNvSpPr>
              <a:spLocks noChangeArrowheads="1"/>
            </p:cNvSpPr>
            <p:nvPr userDrawn="1"/>
          </p:nvSpPr>
          <p:spPr bwMode="auto">
            <a:xfrm>
              <a:off x="1199" y="2517"/>
              <a:ext cx="21" cy="2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3" name="Freeform 268"/>
            <p:cNvSpPr>
              <a:spLocks noEditPoints="1"/>
            </p:cNvSpPr>
            <p:nvPr userDrawn="1"/>
          </p:nvSpPr>
          <p:spPr bwMode="auto">
            <a:xfrm>
              <a:off x="1146" y="2509"/>
              <a:ext cx="38" cy="38"/>
            </a:xfrm>
            <a:custGeom>
              <a:avLst/>
              <a:gdLst>
                <a:gd name="T0" fmla="*/ 42 w 84"/>
                <a:gd name="T1" fmla="*/ 0 h 84"/>
                <a:gd name="T2" fmla="*/ 0 w 84"/>
                <a:gd name="T3" fmla="*/ 42 h 84"/>
                <a:gd name="T4" fmla="*/ 42 w 84"/>
                <a:gd name="T5" fmla="*/ 84 h 84"/>
                <a:gd name="T6" fmla="*/ 84 w 84"/>
                <a:gd name="T7" fmla="*/ 42 h 84"/>
                <a:gd name="T8" fmla="*/ 42 w 84"/>
                <a:gd name="T9" fmla="*/ 0 h 84"/>
                <a:gd name="T10" fmla="*/ 42 w 84"/>
                <a:gd name="T11" fmla="*/ 71 h 84"/>
                <a:gd name="T12" fmla="*/ 13 w 84"/>
                <a:gd name="T13" fmla="*/ 42 h 84"/>
                <a:gd name="T14" fmla="*/ 42 w 84"/>
                <a:gd name="T15" fmla="*/ 12 h 84"/>
                <a:gd name="T16" fmla="*/ 72 w 84"/>
                <a:gd name="T17" fmla="*/ 42 h 84"/>
                <a:gd name="T18" fmla="*/ 42 w 84"/>
                <a:gd name="T19" fmla="*/ 71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65"/>
                    <a:pt x="19" y="84"/>
                    <a:pt x="42" y="84"/>
                  </a:cubicBezTo>
                  <a:cubicBezTo>
                    <a:pt x="65" y="84"/>
                    <a:pt x="84" y="65"/>
                    <a:pt x="84" y="42"/>
                  </a:cubicBezTo>
                  <a:cubicBezTo>
                    <a:pt x="84" y="19"/>
                    <a:pt x="65" y="0"/>
                    <a:pt x="42" y="0"/>
                  </a:cubicBezTo>
                  <a:close/>
                  <a:moveTo>
                    <a:pt x="42" y="71"/>
                  </a:moveTo>
                  <a:cubicBezTo>
                    <a:pt x="26" y="71"/>
                    <a:pt x="13" y="58"/>
                    <a:pt x="13" y="42"/>
                  </a:cubicBezTo>
                  <a:cubicBezTo>
                    <a:pt x="13" y="26"/>
                    <a:pt x="26" y="12"/>
                    <a:pt x="42" y="12"/>
                  </a:cubicBezTo>
                  <a:cubicBezTo>
                    <a:pt x="58" y="12"/>
                    <a:pt x="72" y="26"/>
                    <a:pt x="72" y="42"/>
                  </a:cubicBezTo>
                  <a:cubicBezTo>
                    <a:pt x="72" y="58"/>
                    <a:pt x="58" y="71"/>
                    <a:pt x="42" y="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4" name="Oval 269"/>
            <p:cNvSpPr>
              <a:spLocks noChangeArrowheads="1"/>
            </p:cNvSpPr>
            <p:nvPr userDrawn="1"/>
          </p:nvSpPr>
          <p:spPr bwMode="auto">
            <a:xfrm>
              <a:off x="1154" y="2517"/>
              <a:ext cx="22" cy="2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5" name="Freeform 270"/>
            <p:cNvSpPr>
              <a:spLocks noEditPoints="1"/>
            </p:cNvSpPr>
            <p:nvPr userDrawn="1"/>
          </p:nvSpPr>
          <p:spPr bwMode="auto">
            <a:xfrm>
              <a:off x="1010" y="2509"/>
              <a:ext cx="37" cy="38"/>
            </a:xfrm>
            <a:custGeom>
              <a:avLst/>
              <a:gdLst>
                <a:gd name="T0" fmla="*/ 41 w 83"/>
                <a:gd name="T1" fmla="*/ 0 h 84"/>
                <a:gd name="T2" fmla="*/ 0 w 83"/>
                <a:gd name="T3" fmla="*/ 42 h 84"/>
                <a:gd name="T4" fmla="*/ 41 w 83"/>
                <a:gd name="T5" fmla="*/ 84 h 84"/>
                <a:gd name="T6" fmla="*/ 83 w 83"/>
                <a:gd name="T7" fmla="*/ 42 h 84"/>
                <a:gd name="T8" fmla="*/ 41 w 83"/>
                <a:gd name="T9" fmla="*/ 0 h 84"/>
                <a:gd name="T10" fmla="*/ 41 w 83"/>
                <a:gd name="T11" fmla="*/ 71 h 84"/>
                <a:gd name="T12" fmla="*/ 12 w 83"/>
                <a:gd name="T13" fmla="*/ 42 h 84"/>
                <a:gd name="T14" fmla="*/ 41 w 83"/>
                <a:gd name="T15" fmla="*/ 12 h 84"/>
                <a:gd name="T16" fmla="*/ 71 w 83"/>
                <a:gd name="T17" fmla="*/ 42 h 84"/>
                <a:gd name="T18" fmla="*/ 41 w 83"/>
                <a:gd name="T19" fmla="*/ 71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3" h="84">
                  <a:moveTo>
                    <a:pt x="41" y="0"/>
                  </a:moveTo>
                  <a:cubicBezTo>
                    <a:pt x="18" y="0"/>
                    <a:pt x="0" y="19"/>
                    <a:pt x="0" y="42"/>
                  </a:cubicBezTo>
                  <a:cubicBezTo>
                    <a:pt x="0" y="65"/>
                    <a:pt x="18" y="84"/>
                    <a:pt x="41" y="84"/>
                  </a:cubicBezTo>
                  <a:cubicBezTo>
                    <a:pt x="65" y="84"/>
                    <a:pt x="83" y="65"/>
                    <a:pt x="83" y="42"/>
                  </a:cubicBezTo>
                  <a:cubicBezTo>
                    <a:pt x="83" y="19"/>
                    <a:pt x="65" y="0"/>
                    <a:pt x="41" y="0"/>
                  </a:cubicBezTo>
                  <a:close/>
                  <a:moveTo>
                    <a:pt x="41" y="71"/>
                  </a:moveTo>
                  <a:cubicBezTo>
                    <a:pt x="25" y="71"/>
                    <a:pt x="12" y="58"/>
                    <a:pt x="12" y="42"/>
                  </a:cubicBezTo>
                  <a:cubicBezTo>
                    <a:pt x="12" y="26"/>
                    <a:pt x="25" y="12"/>
                    <a:pt x="41" y="12"/>
                  </a:cubicBezTo>
                  <a:cubicBezTo>
                    <a:pt x="58" y="12"/>
                    <a:pt x="71" y="26"/>
                    <a:pt x="71" y="42"/>
                  </a:cubicBezTo>
                  <a:cubicBezTo>
                    <a:pt x="71" y="58"/>
                    <a:pt x="58" y="71"/>
                    <a:pt x="41" y="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6" name="Oval 271"/>
            <p:cNvSpPr>
              <a:spLocks noChangeArrowheads="1"/>
            </p:cNvSpPr>
            <p:nvPr userDrawn="1"/>
          </p:nvSpPr>
          <p:spPr bwMode="auto">
            <a:xfrm>
              <a:off x="1018" y="2517"/>
              <a:ext cx="21" cy="2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7" name="Freeform 272"/>
            <p:cNvSpPr>
              <a:spLocks noEditPoints="1"/>
            </p:cNvSpPr>
            <p:nvPr userDrawn="1"/>
          </p:nvSpPr>
          <p:spPr bwMode="auto">
            <a:xfrm>
              <a:off x="966" y="2509"/>
              <a:ext cx="38" cy="38"/>
            </a:xfrm>
            <a:custGeom>
              <a:avLst/>
              <a:gdLst>
                <a:gd name="T0" fmla="*/ 42 w 84"/>
                <a:gd name="T1" fmla="*/ 0 h 84"/>
                <a:gd name="T2" fmla="*/ 0 w 84"/>
                <a:gd name="T3" fmla="*/ 42 h 84"/>
                <a:gd name="T4" fmla="*/ 42 w 84"/>
                <a:gd name="T5" fmla="*/ 84 h 84"/>
                <a:gd name="T6" fmla="*/ 84 w 84"/>
                <a:gd name="T7" fmla="*/ 42 h 84"/>
                <a:gd name="T8" fmla="*/ 42 w 84"/>
                <a:gd name="T9" fmla="*/ 0 h 84"/>
                <a:gd name="T10" fmla="*/ 42 w 84"/>
                <a:gd name="T11" fmla="*/ 71 h 84"/>
                <a:gd name="T12" fmla="*/ 12 w 84"/>
                <a:gd name="T13" fmla="*/ 42 h 84"/>
                <a:gd name="T14" fmla="*/ 42 w 84"/>
                <a:gd name="T15" fmla="*/ 12 h 84"/>
                <a:gd name="T16" fmla="*/ 71 w 84"/>
                <a:gd name="T17" fmla="*/ 42 h 84"/>
                <a:gd name="T18" fmla="*/ 42 w 84"/>
                <a:gd name="T19" fmla="*/ 71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65"/>
                    <a:pt x="19" y="84"/>
                    <a:pt x="42" y="84"/>
                  </a:cubicBezTo>
                  <a:cubicBezTo>
                    <a:pt x="65" y="84"/>
                    <a:pt x="84" y="65"/>
                    <a:pt x="84" y="42"/>
                  </a:cubicBezTo>
                  <a:cubicBezTo>
                    <a:pt x="84" y="19"/>
                    <a:pt x="65" y="0"/>
                    <a:pt x="42" y="0"/>
                  </a:cubicBezTo>
                  <a:close/>
                  <a:moveTo>
                    <a:pt x="42" y="71"/>
                  </a:moveTo>
                  <a:cubicBezTo>
                    <a:pt x="25" y="71"/>
                    <a:pt x="12" y="58"/>
                    <a:pt x="12" y="42"/>
                  </a:cubicBezTo>
                  <a:cubicBezTo>
                    <a:pt x="12" y="26"/>
                    <a:pt x="25" y="12"/>
                    <a:pt x="42" y="12"/>
                  </a:cubicBezTo>
                  <a:cubicBezTo>
                    <a:pt x="58" y="12"/>
                    <a:pt x="71" y="26"/>
                    <a:pt x="71" y="42"/>
                  </a:cubicBezTo>
                  <a:cubicBezTo>
                    <a:pt x="71" y="58"/>
                    <a:pt x="58" y="71"/>
                    <a:pt x="42" y="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8" name="Oval 273"/>
            <p:cNvSpPr>
              <a:spLocks noChangeArrowheads="1"/>
            </p:cNvSpPr>
            <p:nvPr userDrawn="1"/>
          </p:nvSpPr>
          <p:spPr bwMode="auto">
            <a:xfrm>
              <a:off x="974" y="2517"/>
              <a:ext cx="21" cy="2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9" name="Freeform 274"/>
            <p:cNvSpPr>
              <a:spLocks noEditPoints="1"/>
            </p:cNvSpPr>
            <p:nvPr userDrawn="1"/>
          </p:nvSpPr>
          <p:spPr bwMode="auto">
            <a:xfrm>
              <a:off x="922" y="2509"/>
              <a:ext cx="37" cy="38"/>
            </a:xfrm>
            <a:custGeom>
              <a:avLst/>
              <a:gdLst>
                <a:gd name="T0" fmla="*/ 42 w 84"/>
                <a:gd name="T1" fmla="*/ 0 h 84"/>
                <a:gd name="T2" fmla="*/ 0 w 84"/>
                <a:gd name="T3" fmla="*/ 42 h 84"/>
                <a:gd name="T4" fmla="*/ 42 w 84"/>
                <a:gd name="T5" fmla="*/ 84 h 84"/>
                <a:gd name="T6" fmla="*/ 84 w 84"/>
                <a:gd name="T7" fmla="*/ 42 h 84"/>
                <a:gd name="T8" fmla="*/ 42 w 84"/>
                <a:gd name="T9" fmla="*/ 0 h 84"/>
                <a:gd name="T10" fmla="*/ 42 w 84"/>
                <a:gd name="T11" fmla="*/ 71 h 84"/>
                <a:gd name="T12" fmla="*/ 13 w 84"/>
                <a:gd name="T13" fmla="*/ 42 h 84"/>
                <a:gd name="T14" fmla="*/ 42 w 84"/>
                <a:gd name="T15" fmla="*/ 12 h 84"/>
                <a:gd name="T16" fmla="*/ 72 w 84"/>
                <a:gd name="T17" fmla="*/ 42 h 84"/>
                <a:gd name="T18" fmla="*/ 42 w 84"/>
                <a:gd name="T19" fmla="*/ 71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65"/>
                    <a:pt x="19" y="84"/>
                    <a:pt x="42" y="84"/>
                  </a:cubicBezTo>
                  <a:cubicBezTo>
                    <a:pt x="65" y="84"/>
                    <a:pt x="84" y="65"/>
                    <a:pt x="84" y="42"/>
                  </a:cubicBezTo>
                  <a:cubicBezTo>
                    <a:pt x="84" y="19"/>
                    <a:pt x="65" y="0"/>
                    <a:pt x="42" y="0"/>
                  </a:cubicBezTo>
                  <a:close/>
                  <a:moveTo>
                    <a:pt x="42" y="71"/>
                  </a:moveTo>
                  <a:cubicBezTo>
                    <a:pt x="26" y="71"/>
                    <a:pt x="13" y="58"/>
                    <a:pt x="13" y="42"/>
                  </a:cubicBezTo>
                  <a:cubicBezTo>
                    <a:pt x="13" y="26"/>
                    <a:pt x="26" y="12"/>
                    <a:pt x="42" y="12"/>
                  </a:cubicBezTo>
                  <a:cubicBezTo>
                    <a:pt x="58" y="12"/>
                    <a:pt x="72" y="26"/>
                    <a:pt x="72" y="42"/>
                  </a:cubicBezTo>
                  <a:cubicBezTo>
                    <a:pt x="72" y="58"/>
                    <a:pt x="58" y="71"/>
                    <a:pt x="42" y="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90" name="Oval 275"/>
            <p:cNvSpPr>
              <a:spLocks noChangeArrowheads="1"/>
            </p:cNvSpPr>
            <p:nvPr userDrawn="1"/>
          </p:nvSpPr>
          <p:spPr bwMode="auto">
            <a:xfrm>
              <a:off x="930" y="2517"/>
              <a:ext cx="21" cy="2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91" name="Freeform 276"/>
            <p:cNvSpPr>
              <a:spLocks/>
            </p:cNvSpPr>
            <p:nvPr userDrawn="1"/>
          </p:nvSpPr>
          <p:spPr bwMode="auto">
            <a:xfrm>
              <a:off x="1045" y="2426"/>
              <a:ext cx="103" cy="52"/>
            </a:xfrm>
            <a:custGeom>
              <a:avLst/>
              <a:gdLst>
                <a:gd name="T0" fmla="*/ 0 w 103"/>
                <a:gd name="T1" fmla="*/ 52 h 52"/>
                <a:gd name="T2" fmla="*/ 103 w 103"/>
                <a:gd name="T3" fmla="*/ 52 h 52"/>
                <a:gd name="T4" fmla="*/ 52 w 103"/>
                <a:gd name="T5" fmla="*/ 0 h 52"/>
                <a:gd name="T6" fmla="*/ 0 w 103"/>
                <a:gd name="T7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3" h="52">
                  <a:moveTo>
                    <a:pt x="0" y="52"/>
                  </a:moveTo>
                  <a:lnTo>
                    <a:pt x="103" y="52"/>
                  </a:lnTo>
                  <a:lnTo>
                    <a:pt x="52" y="0"/>
                  </a:lnTo>
                  <a:lnTo>
                    <a:pt x="0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92" name="Freeform 277"/>
            <p:cNvSpPr>
              <a:spLocks/>
            </p:cNvSpPr>
            <p:nvPr userDrawn="1"/>
          </p:nvSpPr>
          <p:spPr bwMode="auto">
            <a:xfrm>
              <a:off x="1041" y="2361"/>
              <a:ext cx="111" cy="56"/>
            </a:xfrm>
            <a:custGeom>
              <a:avLst/>
              <a:gdLst>
                <a:gd name="T0" fmla="*/ 111 w 111"/>
                <a:gd name="T1" fmla="*/ 0 h 56"/>
                <a:gd name="T2" fmla="*/ 57 w 111"/>
                <a:gd name="T3" fmla="*/ 0 h 56"/>
                <a:gd name="T4" fmla="*/ 50 w 111"/>
                <a:gd name="T5" fmla="*/ 0 h 56"/>
                <a:gd name="T6" fmla="*/ 0 w 111"/>
                <a:gd name="T7" fmla="*/ 0 h 56"/>
                <a:gd name="T8" fmla="*/ 56 w 111"/>
                <a:gd name="T9" fmla="*/ 56 h 56"/>
                <a:gd name="T10" fmla="*/ 111 w 111"/>
                <a:gd name="T11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1" h="56">
                  <a:moveTo>
                    <a:pt x="111" y="0"/>
                  </a:moveTo>
                  <a:lnTo>
                    <a:pt x="57" y="0"/>
                  </a:lnTo>
                  <a:lnTo>
                    <a:pt x="50" y="0"/>
                  </a:lnTo>
                  <a:lnTo>
                    <a:pt x="0" y="0"/>
                  </a:lnTo>
                  <a:lnTo>
                    <a:pt x="56" y="56"/>
                  </a:lnTo>
                  <a:lnTo>
                    <a:pt x="11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93" name="Freeform 278"/>
            <p:cNvSpPr>
              <a:spLocks/>
            </p:cNvSpPr>
            <p:nvPr userDrawn="1"/>
          </p:nvSpPr>
          <p:spPr bwMode="auto">
            <a:xfrm>
              <a:off x="1101" y="2365"/>
              <a:ext cx="57" cy="113"/>
            </a:xfrm>
            <a:custGeom>
              <a:avLst/>
              <a:gdLst>
                <a:gd name="T0" fmla="*/ 56 w 57"/>
                <a:gd name="T1" fmla="*/ 113 h 113"/>
                <a:gd name="T2" fmla="*/ 57 w 57"/>
                <a:gd name="T3" fmla="*/ 113 h 113"/>
                <a:gd name="T4" fmla="*/ 57 w 57"/>
                <a:gd name="T5" fmla="*/ 0 h 113"/>
                <a:gd name="T6" fmla="*/ 0 w 57"/>
                <a:gd name="T7" fmla="*/ 56 h 113"/>
                <a:gd name="T8" fmla="*/ 56 w 57"/>
                <a:gd name="T9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113">
                  <a:moveTo>
                    <a:pt x="56" y="113"/>
                  </a:moveTo>
                  <a:lnTo>
                    <a:pt x="57" y="113"/>
                  </a:lnTo>
                  <a:lnTo>
                    <a:pt x="57" y="0"/>
                  </a:lnTo>
                  <a:lnTo>
                    <a:pt x="0" y="56"/>
                  </a:lnTo>
                  <a:lnTo>
                    <a:pt x="56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94" name="Freeform 279"/>
            <p:cNvSpPr>
              <a:spLocks/>
            </p:cNvSpPr>
            <p:nvPr userDrawn="1"/>
          </p:nvSpPr>
          <p:spPr bwMode="auto">
            <a:xfrm>
              <a:off x="1036" y="2365"/>
              <a:ext cx="56" cy="113"/>
            </a:xfrm>
            <a:custGeom>
              <a:avLst/>
              <a:gdLst>
                <a:gd name="T0" fmla="*/ 0 w 56"/>
                <a:gd name="T1" fmla="*/ 0 h 113"/>
                <a:gd name="T2" fmla="*/ 0 w 56"/>
                <a:gd name="T3" fmla="*/ 113 h 113"/>
                <a:gd name="T4" fmla="*/ 56 w 56"/>
                <a:gd name="T5" fmla="*/ 56 h 113"/>
                <a:gd name="T6" fmla="*/ 0 w 56"/>
                <a:gd name="T7" fmla="*/ 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" h="113">
                  <a:moveTo>
                    <a:pt x="0" y="0"/>
                  </a:moveTo>
                  <a:lnTo>
                    <a:pt x="0" y="113"/>
                  </a:lnTo>
                  <a:lnTo>
                    <a:pt x="56" y="5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95" name="Freeform 280"/>
            <p:cNvSpPr>
              <a:spLocks noEditPoints="1"/>
            </p:cNvSpPr>
            <p:nvPr userDrawn="1"/>
          </p:nvSpPr>
          <p:spPr bwMode="auto">
            <a:xfrm>
              <a:off x="841" y="2322"/>
              <a:ext cx="507" cy="206"/>
            </a:xfrm>
            <a:custGeom>
              <a:avLst/>
              <a:gdLst>
                <a:gd name="T0" fmla="*/ 1079 w 1125"/>
                <a:gd name="T1" fmla="*/ 347 h 455"/>
                <a:gd name="T2" fmla="*/ 1008 w 1125"/>
                <a:gd name="T3" fmla="*/ 355 h 455"/>
                <a:gd name="T4" fmla="*/ 1079 w 1125"/>
                <a:gd name="T5" fmla="*/ 343 h 455"/>
                <a:gd name="T6" fmla="*/ 1023 w 1125"/>
                <a:gd name="T7" fmla="*/ 120 h 455"/>
                <a:gd name="T8" fmla="*/ 958 w 1125"/>
                <a:gd name="T9" fmla="*/ 29 h 455"/>
                <a:gd name="T10" fmla="*/ 795 w 1125"/>
                <a:gd name="T11" fmla="*/ 29 h 455"/>
                <a:gd name="T12" fmla="*/ 781 w 1125"/>
                <a:gd name="T13" fmla="*/ 0 h 455"/>
                <a:gd name="T14" fmla="*/ 780 w 1125"/>
                <a:gd name="T15" fmla="*/ 0 h 455"/>
                <a:gd name="T16" fmla="*/ 765 w 1125"/>
                <a:gd name="T17" fmla="*/ 29 h 455"/>
                <a:gd name="T18" fmla="*/ 578 w 1125"/>
                <a:gd name="T19" fmla="*/ 15 h 455"/>
                <a:gd name="T20" fmla="*/ 562 w 1125"/>
                <a:gd name="T21" fmla="*/ 0 h 455"/>
                <a:gd name="T22" fmla="*/ 547 w 1125"/>
                <a:gd name="T23" fmla="*/ 15 h 455"/>
                <a:gd name="T24" fmla="*/ 360 w 1125"/>
                <a:gd name="T25" fmla="*/ 29 h 455"/>
                <a:gd name="T26" fmla="*/ 345 w 1125"/>
                <a:gd name="T27" fmla="*/ 0 h 455"/>
                <a:gd name="T28" fmla="*/ 344 w 1125"/>
                <a:gd name="T29" fmla="*/ 0 h 455"/>
                <a:gd name="T30" fmla="*/ 329 w 1125"/>
                <a:gd name="T31" fmla="*/ 29 h 455"/>
                <a:gd name="T32" fmla="*/ 167 w 1125"/>
                <a:gd name="T33" fmla="*/ 29 h 455"/>
                <a:gd name="T34" fmla="*/ 102 w 1125"/>
                <a:gd name="T35" fmla="*/ 120 h 455"/>
                <a:gd name="T36" fmla="*/ 46 w 1125"/>
                <a:gd name="T37" fmla="*/ 343 h 455"/>
                <a:gd name="T38" fmla="*/ 117 w 1125"/>
                <a:gd name="T39" fmla="*/ 355 h 455"/>
                <a:gd name="T40" fmla="*/ 46 w 1125"/>
                <a:gd name="T41" fmla="*/ 347 h 455"/>
                <a:gd name="T42" fmla="*/ 0 w 1125"/>
                <a:gd name="T43" fmla="*/ 355 h 455"/>
                <a:gd name="T44" fmla="*/ 8 w 1125"/>
                <a:gd name="T45" fmla="*/ 413 h 455"/>
                <a:gd name="T46" fmla="*/ 54 w 1125"/>
                <a:gd name="T47" fmla="*/ 406 h 455"/>
                <a:gd name="T48" fmla="*/ 157 w 1125"/>
                <a:gd name="T49" fmla="*/ 455 h 455"/>
                <a:gd name="T50" fmla="*/ 158 w 1125"/>
                <a:gd name="T51" fmla="*/ 455 h 455"/>
                <a:gd name="T52" fmla="*/ 269 w 1125"/>
                <a:gd name="T53" fmla="*/ 417 h 455"/>
                <a:gd name="T54" fmla="*/ 367 w 1125"/>
                <a:gd name="T55" fmla="*/ 417 h 455"/>
                <a:gd name="T56" fmla="*/ 477 w 1125"/>
                <a:gd name="T57" fmla="*/ 455 h 455"/>
                <a:gd name="T58" fmla="*/ 657 w 1125"/>
                <a:gd name="T59" fmla="*/ 455 h 455"/>
                <a:gd name="T60" fmla="*/ 719 w 1125"/>
                <a:gd name="T61" fmla="*/ 393 h 455"/>
                <a:gd name="T62" fmla="*/ 817 w 1125"/>
                <a:gd name="T63" fmla="*/ 393 h 455"/>
                <a:gd name="T64" fmla="*/ 915 w 1125"/>
                <a:gd name="T65" fmla="*/ 393 h 455"/>
                <a:gd name="T66" fmla="*/ 996 w 1125"/>
                <a:gd name="T67" fmla="*/ 406 h 455"/>
                <a:gd name="T68" fmla="*/ 1079 w 1125"/>
                <a:gd name="T69" fmla="*/ 413 h 455"/>
                <a:gd name="T70" fmla="*/ 1125 w 1125"/>
                <a:gd name="T71" fmla="*/ 405 h 455"/>
                <a:gd name="T72" fmla="*/ 1117 w 1125"/>
                <a:gd name="T73" fmla="*/ 347 h 455"/>
                <a:gd name="T74" fmla="*/ 915 w 1125"/>
                <a:gd name="T75" fmla="*/ 85 h 455"/>
                <a:gd name="T76" fmla="*/ 745 w 1125"/>
                <a:gd name="T77" fmla="*/ 85 h 455"/>
                <a:gd name="T78" fmla="*/ 719 w 1125"/>
                <a:gd name="T79" fmla="*/ 85 h 455"/>
                <a:gd name="T80" fmla="*/ 764 w 1125"/>
                <a:gd name="T81" fmla="*/ 344 h 455"/>
                <a:gd name="T82" fmla="*/ 968 w 1125"/>
                <a:gd name="T83" fmla="*/ 368 h 455"/>
                <a:gd name="T84" fmla="*/ 157 w 1125"/>
                <a:gd name="T85" fmla="*/ 344 h 455"/>
                <a:gd name="T86" fmla="*/ 414 w 1125"/>
                <a:gd name="T87" fmla="*/ 344 h 455"/>
                <a:gd name="T88" fmla="*/ 396 w 1125"/>
                <a:gd name="T89" fmla="*/ 85 h 455"/>
                <a:gd name="T90" fmla="*/ 363 w 1125"/>
                <a:gd name="T91" fmla="*/ 85 h 455"/>
                <a:gd name="T92" fmla="*/ 134 w 1125"/>
                <a:gd name="T93" fmla="*/ 85 h 455"/>
                <a:gd name="T94" fmla="*/ 134 w 1125"/>
                <a:gd name="T95" fmla="*/ 69 h 455"/>
                <a:gd name="T96" fmla="*/ 915 w 1125"/>
                <a:gd name="T97" fmla="*/ 69 h 455"/>
                <a:gd name="T98" fmla="*/ 999 w 1125"/>
                <a:gd name="T99" fmla="*/ 77 h 455"/>
                <a:gd name="T100" fmla="*/ 966 w 1125"/>
                <a:gd name="T101" fmla="*/ 120 h 455"/>
                <a:gd name="T102" fmla="*/ 915 w 1125"/>
                <a:gd name="T103" fmla="*/ 326 h 455"/>
                <a:gd name="T104" fmla="*/ 966 w 1125"/>
                <a:gd name="T105" fmla="*/ 120 h 455"/>
                <a:gd name="T106" fmla="*/ 159 w 1125"/>
                <a:gd name="T107" fmla="*/ 120 h 455"/>
                <a:gd name="T108" fmla="*/ 210 w 1125"/>
                <a:gd name="T109" fmla="*/ 326 h 4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125" h="455">
                  <a:moveTo>
                    <a:pt x="1117" y="347"/>
                  </a:moveTo>
                  <a:cubicBezTo>
                    <a:pt x="1079" y="347"/>
                    <a:pt x="1079" y="347"/>
                    <a:pt x="1079" y="347"/>
                  </a:cubicBezTo>
                  <a:cubicBezTo>
                    <a:pt x="1075" y="347"/>
                    <a:pt x="1071" y="351"/>
                    <a:pt x="1071" y="355"/>
                  </a:cubicBezTo>
                  <a:cubicBezTo>
                    <a:pt x="1008" y="355"/>
                    <a:pt x="1008" y="355"/>
                    <a:pt x="1008" y="355"/>
                  </a:cubicBezTo>
                  <a:cubicBezTo>
                    <a:pt x="1011" y="351"/>
                    <a:pt x="1014" y="347"/>
                    <a:pt x="1016" y="343"/>
                  </a:cubicBezTo>
                  <a:cubicBezTo>
                    <a:pt x="1079" y="343"/>
                    <a:pt x="1079" y="343"/>
                    <a:pt x="1079" y="343"/>
                  </a:cubicBezTo>
                  <a:cubicBezTo>
                    <a:pt x="1079" y="120"/>
                    <a:pt x="1079" y="120"/>
                    <a:pt x="1079" y="120"/>
                  </a:cubicBezTo>
                  <a:cubicBezTo>
                    <a:pt x="1023" y="120"/>
                    <a:pt x="1023" y="120"/>
                    <a:pt x="1023" y="120"/>
                  </a:cubicBezTo>
                  <a:cubicBezTo>
                    <a:pt x="1023" y="89"/>
                    <a:pt x="1023" y="89"/>
                    <a:pt x="1023" y="89"/>
                  </a:cubicBezTo>
                  <a:cubicBezTo>
                    <a:pt x="1023" y="56"/>
                    <a:pt x="994" y="29"/>
                    <a:pt x="958" y="29"/>
                  </a:cubicBezTo>
                  <a:cubicBezTo>
                    <a:pt x="915" y="29"/>
                    <a:pt x="915" y="29"/>
                    <a:pt x="915" y="29"/>
                  </a:cubicBezTo>
                  <a:cubicBezTo>
                    <a:pt x="795" y="29"/>
                    <a:pt x="795" y="29"/>
                    <a:pt x="795" y="29"/>
                  </a:cubicBezTo>
                  <a:cubicBezTo>
                    <a:pt x="795" y="15"/>
                    <a:pt x="795" y="15"/>
                    <a:pt x="795" y="15"/>
                  </a:cubicBezTo>
                  <a:cubicBezTo>
                    <a:pt x="795" y="7"/>
                    <a:pt x="789" y="0"/>
                    <a:pt x="781" y="0"/>
                  </a:cubicBezTo>
                  <a:cubicBezTo>
                    <a:pt x="781" y="0"/>
                    <a:pt x="780" y="0"/>
                    <a:pt x="780" y="0"/>
                  </a:cubicBezTo>
                  <a:cubicBezTo>
                    <a:pt x="780" y="0"/>
                    <a:pt x="780" y="0"/>
                    <a:pt x="780" y="0"/>
                  </a:cubicBezTo>
                  <a:cubicBezTo>
                    <a:pt x="772" y="0"/>
                    <a:pt x="765" y="7"/>
                    <a:pt x="765" y="15"/>
                  </a:cubicBezTo>
                  <a:cubicBezTo>
                    <a:pt x="765" y="29"/>
                    <a:pt x="765" y="29"/>
                    <a:pt x="765" y="29"/>
                  </a:cubicBezTo>
                  <a:cubicBezTo>
                    <a:pt x="578" y="29"/>
                    <a:pt x="578" y="29"/>
                    <a:pt x="578" y="29"/>
                  </a:cubicBezTo>
                  <a:cubicBezTo>
                    <a:pt x="578" y="15"/>
                    <a:pt x="578" y="15"/>
                    <a:pt x="578" y="15"/>
                  </a:cubicBezTo>
                  <a:cubicBezTo>
                    <a:pt x="578" y="7"/>
                    <a:pt x="571" y="0"/>
                    <a:pt x="563" y="0"/>
                  </a:cubicBezTo>
                  <a:cubicBezTo>
                    <a:pt x="563" y="0"/>
                    <a:pt x="563" y="0"/>
                    <a:pt x="562" y="0"/>
                  </a:cubicBezTo>
                  <a:cubicBezTo>
                    <a:pt x="562" y="0"/>
                    <a:pt x="562" y="0"/>
                    <a:pt x="562" y="0"/>
                  </a:cubicBezTo>
                  <a:cubicBezTo>
                    <a:pt x="554" y="0"/>
                    <a:pt x="547" y="7"/>
                    <a:pt x="547" y="15"/>
                  </a:cubicBezTo>
                  <a:cubicBezTo>
                    <a:pt x="547" y="29"/>
                    <a:pt x="547" y="29"/>
                    <a:pt x="547" y="29"/>
                  </a:cubicBezTo>
                  <a:cubicBezTo>
                    <a:pt x="360" y="29"/>
                    <a:pt x="360" y="29"/>
                    <a:pt x="360" y="29"/>
                  </a:cubicBezTo>
                  <a:cubicBezTo>
                    <a:pt x="360" y="15"/>
                    <a:pt x="360" y="15"/>
                    <a:pt x="360" y="15"/>
                  </a:cubicBezTo>
                  <a:cubicBezTo>
                    <a:pt x="360" y="7"/>
                    <a:pt x="353" y="0"/>
                    <a:pt x="345" y="0"/>
                  </a:cubicBezTo>
                  <a:cubicBezTo>
                    <a:pt x="345" y="0"/>
                    <a:pt x="345" y="0"/>
                    <a:pt x="345" y="0"/>
                  </a:cubicBezTo>
                  <a:cubicBezTo>
                    <a:pt x="345" y="0"/>
                    <a:pt x="344" y="0"/>
                    <a:pt x="344" y="0"/>
                  </a:cubicBezTo>
                  <a:cubicBezTo>
                    <a:pt x="336" y="0"/>
                    <a:pt x="329" y="7"/>
                    <a:pt x="329" y="15"/>
                  </a:cubicBezTo>
                  <a:cubicBezTo>
                    <a:pt x="329" y="29"/>
                    <a:pt x="329" y="29"/>
                    <a:pt x="329" y="29"/>
                  </a:cubicBezTo>
                  <a:cubicBezTo>
                    <a:pt x="210" y="29"/>
                    <a:pt x="210" y="29"/>
                    <a:pt x="210" y="29"/>
                  </a:cubicBezTo>
                  <a:cubicBezTo>
                    <a:pt x="167" y="29"/>
                    <a:pt x="167" y="29"/>
                    <a:pt x="167" y="29"/>
                  </a:cubicBezTo>
                  <a:cubicBezTo>
                    <a:pt x="131" y="29"/>
                    <a:pt x="102" y="56"/>
                    <a:pt x="102" y="89"/>
                  </a:cubicBezTo>
                  <a:cubicBezTo>
                    <a:pt x="102" y="120"/>
                    <a:pt x="102" y="120"/>
                    <a:pt x="102" y="120"/>
                  </a:cubicBezTo>
                  <a:cubicBezTo>
                    <a:pt x="46" y="120"/>
                    <a:pt x="46" y="120"/>
                    <a:pt x="46" y="120"/>
                  </a:cubicBezTo>
                  <a:cubicBezTo>
                    <a:pt x="46" y="343"/>
                    <a:pt x="46" y="343"/>
                    <a:pt x="46" y="343"/>
                  </a:cubicBezTo>
                  <a:cubicBezTo>
                    <a:pt x="109" y="343"/>
                    <a:pt x="109" y="343"/>
                    <a:pt x="109" y="343"/>
                  </a:cubicBezTo>
                  <a:cubicBezTo>
                    <a:pt x="111" y="347"/>
                    <a:pt x="114" y="351"/>
                    <a:pt x="117" y="355"/>
                  </a:cubicBezTo>
                  <a:cubicBezTo>
                    <a:pt x="54" y="355"/>
                    <a:pt x="54" y="355"/>
                    <a:pt x="54" y="355"/>
                  </a:cubicBezTo>
                  <a:cubicBezTo>
                    <a:pt x="54" y="351"/>
                    <a:pt x="50" y="347"/>
                    <a:pt x="46" y="347"/>
                  </a:cubicBezTo>
                  <a:cubicBezTo>
                    <a:pt x="8" y="347"/>
                    <a:pt x="8" y="347"/>
                    <a:pt x="8" y="347"/>
                  </a:cubicBezTo>
                  <a:cubicBezTo>
                    <a:pt x="4" y="347"/>
                    <a:pt x="0" y="351"/>
                    <a:pt x="0" y="355"/>
                  </a:cubicBezTo>
                  <a:cubicBezTo>
                    <a:pt x="0" y="405"/>
                    <a:pt x="0" y="405"/>
                    <a:pt x="0" y="405"/>
                  </a:cubicBezTo>
                  <a:cubicBezTo>
                    <a:pt x="0" y="410"/>
                    <a:pt x="4" y="413"/>
                    <a:pt x="8" y="413"/>
                  </a:cubicBezTo>
                  <a:cubicBezTo>
                    <a:pt x="46" y="413"/>
                    <a:pt x="46" y="413"/>
                    <a:pt x="46" y="413"/>
                  </a:cubicBezTo>
                  <a:cubicBezTo>
                    <a:pt x="50" y="413"/>
                    <a:pt x="54" y="410"/>
                    <a:pt x="54" y="406"/>
                  </a:cubicBezTo>
                  <a:cubicBezTo>
                    <a:pt x="129" y="406"/>
                    <a:pt x="129" y="406"/>
                    <a:pt x="129" y="406"/>
                  </a:cubicBezTo>
                  <a:cubicBezTo>
                    <a:pt x="129" y="427"/>
                    <a:pt x="140" y="445"/>
                    <a:pt x="157" y="455"/>
                  </a:cubicBezTo>
                  <a:cubicBezTo>
                    <a:pt x="158" y="455"/>
                    <a:pt x="158" y="455"/>
                    <a:pt x="158" y="455"/>
                  </a:cubicBezTo>
                  <a:cubicBezTo>
                    <a:pt x="158" y="455"/>
                    <a:pt x="158" y="455"/>
                    <a:pt x="158" y="455"/>
                  </a:cubicBezTo>
                  <a:cubicBezTo>
                    <a:pt x="158" y="421"/>
                    <a:pt x="186" y="393"/>
                    <a:pt x="220" y="393"/>
                  </a:cubicBezTo>
                  <a:cubicBezTo>
                    <a:pt x="240" y="393"/>
                    <a:pt x="258" y="402"/>
                    <a:pt x="269" y="417"/>
                  </a:cubicBezTo>
                  <a:cubicBezTo>
                    <a:pt x="280" y="402"/>
                    <a:pt x="298" y="393"/>
                    <a:pt x="318" y="393"/>
                  </a:cubicBezTo>
                  <a:cubicBezTo>
                    <a:pt x="338" y="393"/>
                    <a:pt x="355" y="402"/>
                    <a:pt x="367" y="417"/>
                  </a:cubicBezTo>
                  <a:cubicBezTo>
                    <a:pt x="378" y="402"/>
                    <a:pt x="396" y="393"/>
                    <a:pt x="415" y="393"/>
                  </a:cubicBezTo>
                  <a:cubicBezTo>
                    <a:pt x="450" y="393"/>
                    <a:pt x="477" y="421"/>
                    <a:pt x="477" y="455"/>
                  </a:cubicBezTo>
                  <a:cubicBezTo>
                    <a:pt x="477" y="455"/>
                    <a:pt x="477" y="455"/>
                    <a:pt x="477" y="455"/>
                  </a:cubicBezTo>
                  <a:cubicBezTo>
                    <a:pt x="657" y="455"/>
                    <a:pt x="657" y="455"/>
                    <a:pt x="657" y="455"/>
                  </a:cubicBezTo>
                  <a:cubicBezTo>
                    <a:pt x="657" y="455"/>
                    <a:pt x="657" y="455"/>
                    <a:pt x="657" y="455"/>
                  </a:cubicBezTo>
                  <a:cubicBezTo>
                    <a:pt x="657" y="421"/>
                    <a:pt x="685" y="393"/>
                    <a:pt x="719" y="393"/>
                  </a:cubicBezTo>
                  <a:cubicBezTo>
                    <a:pt x="739" y="393"/>
                    <a:pt x="757" y="402"/>
                    <a:pt x="768" y="417"/>
                  </a:cubicBezTo>
                  <a:cubicBezTo>
                    <a:pt x="779" y="402"/>
                    <a:pt x="797" y="393"/>
                    <a:pt x="817" y="393"/>
                  </a:cubicBezTo>
                  <a:cubicBezTo>
                    <a:pt x="837" y="393"/>
                    <a:pt x="854" y="402"/>
                    <a:pt x="866" y="417"/>
                  </a:cubicBezTo>
                  <a:cubicBezTo>
                    <a:pt x="877" y="402"/>
                    <a:pt x="895" y="393"/>
                    <a:pt x="915" y="393"/>
                  </a:cubicBezTo>
                  <a:cubicBezTo>
                    <a:pt x="947" y="393"/>
                    <a:pt x="973" y="418"/>
                    <a:pt x="976" y="449"/>
                  </a:cubicBezTo>
                  <a:cubicBezTo>
                    <a:pt x="988" y="438"/>
                    <a:pt x="996" y="423"/>
                    <a:pt x="996" y="406"/>
                  </a:cubicBezTo>
                  <a:cubicBezTo>
                    <a:pt x="1071" y="406"/>
                    <a:pt x="1071" y="406"/>
                    <a:pt x="1071" y="406"/>
                  </a:cubicBezTo>
                  <a:cubicBezTo>
                    <a:pt x="1071" y="410"/>
                    <a:pt x="1075" y="413"/>
                    <a:pt x="1079" y="413"/>
                  </a:cubicBezTo>
                  <a:cubicBezTo>
                    <a:pt x="1117" y="413"/>
                    <a:pt x="1117" y="413"/>
                    <a:pt x="1117" y="413"/>
                  </a:cubicBezTo>
                  <a:cubicBezTo>
                    <a:pt x="1121" y="413"/>
                    <a:pt x="1125" y="410"/>
                    <a:pt x="1125" y="405"/>
                  </a:cubicBezTo>
                  <a:cubicBezTo>
                    <a:pt x="1125" y="355"/>
                    <a:pt x="1125" y="355"/>
                    <a:pt x="1125" y="355"/>
                  </a:cubicBezTo>
                  <a:cubicBezTo>
                    <a:pt x="1125" y="351"/>
                    <a:pt x="1121" y="347"/>
                    <a:pt x="1117" y="347"/>
                  </a:cubicBezTo>
                  <a:close/>
                  <a:moveTo>
                    <a:pt x="991" y="85"/>
                  </a:moveTo>
                  <a:cubicBezTo>
                    <a:pt x="915" y="85"/>
                    <a:pt x="915" y="85"/>
                    <a:pt x="915" y="85"/>
                  </a:cubicBezTo>
                  <a:cubicBezTo>
                    <a:pt x="764" y="85"/>
                    <a:pt x="764" y="85"/>
                    <a:pt x="764" y="85"/>
                  </a:cubicBezTo>
                  <a:cubicBezTo>
                    <a:pt x="745" y="85"/>
                    <a:pt x="745" y="85"/>
                    <a:pt x="745" y="85"/>
                  </a:cubicBezTo>
                  <a:cubicBezTo>
                    <a:pt x="729" y="85"/>
                    <a:pt x="729" y="85"/>
                    <a:pt x="729" y="85"/>
                  </a:cubicBezTo>
                  <a:cubicBezTo>
                    <a:pt x="719" y="85"/>
                    <a:pt x="719" y="85"/>
                    <a:pt x="719" y="85"/>
                  </a:cubicBezTo>
                  <a:cubicBezTo>
                    <a:pt x="719" y="344"/>
                    <a:pt x="719" y="344"/>
                    <a:pt x="719" y="344"/>
                  </a:cubicBezTo>
                  <a:cubicBezTo>
                    <a:pt x="764" y="344"/>
                    <a:pt x="764" y="344"/>
                    <a:pt x="764" y="344"/>
                  </a:cubicBezTo>
                  <a:cubicBezTo>
                    <a:pt x="968" y="344"/>
                    <a:pt x="968" y="344"/>
                    <a:pt x="968" y="344"/>
                  </a:cubicBezTo>
                  <a:cubicBezTo>
                    <a:pt x="968" y="368"/>
                    <a:pt x="968" y="368"/>
                    <a:pt x="968" y="368"/>
                  </a:cubicBezTo>
                  <a:cubicBezTo>
                    <a:pt x="157" y="368"/>
                    <a:pt x="157" y="368"/>
                    <a:pt x="157" y="368"/>
                  </a:cubicBezTo>
                  <a:cubicBezTo>
                    <a:pt x="157" y="344"/>
                    <a:pt x="157" y="344"/>
                    <a:pt x="157" y="344"/>
                  </a:cubicBezTo>
                  <a:cubicBezTo>
                    <a:pt x="363" y="344"/>
                    <a:pt x="363" y="344"/>
                    <a:pt x="363" y="344"/>
                  </a:cubicBezTo>
                  <a:cubicBezTo>
                    <a:pt x="414" y="344"/>
                    <a:pt x="414" y="344"/>
                    <a:pt x="414" y="344"/>
                  </a:cubicBezTo>
                  <a:cubicBezTo>
                    <a:pt x="414" y="85"/>
                    <a:pt x="414" y="85"/>
                    <a:pt x="414" y="85"/>
                  </a:cubicBezTo>
                  <a:cubicBezTo>
                    <a:pt x="396" y="85"/>
                    <a:pt x="396" y="85"/>
                    <a:pt x="396" y="85"/>
                  </a:cubicBezTo>
                  <a:cubicBezTo>
                    <a:pt x="380" y="85"/>
                    <a:pt x="380" y="85"/>
                    <a:pt x="380" y="85"/>
                  </a:cubicBezTo>
                  <a:cubicBezTo>
                    <a:pt x="363" y="85"/>
                    <a:pt x="363" y="85"/>
                    <a:pt x="363" y="85"/>
                  </a:cubicBezTo>
                  <a:cubicBezTo>
                    <a:pt x="210" y="85"/>
                    <a:pt x="210" y="85"/>
                    <a:pt x="210" y="85"/>
                  </a:cubicBezTo>
                  <a:cubicBezTo>
                    <a:pt x="134" y="85"/>
                    <a:pt x="134" y="85"/>
                    <a:pt x="134" y="85"/>
                  </a:cubicBezTo>
                  <a:cubicBezTo>
                    <a:pt x="130" y="85"/>
                    <a:pt x="126" y="82"/>
                    <a:pt x="126" y="77"/>
                  </a:cubicBezTo>
                  <a:cubicBezTo>
                    <a:pt x="126" y="73"/>
                    <a:pt x="130" y="69"/>
                    <a:pt x="134" y="69"/>
                  </a:cubicBezTo>
                  <a:cubicBezTo>
                    <a:pt x="210" y="69"/>
                    <a:pt x="210" y="69"/>
                    <a:pt x="210" y="69"/>
                  </a:cubicBezTo>
                  <a:cubicBezTo>
                    <a:pt x="915" y="69"/>
                    <a:pt x="915" y="69"/>
                    <a:pt x="915" y="69"/>
                  </a:cubicBezTo>
                  <a:cubicBezTo>
                    <a:pt x="991" y="69"/>
                    <a:pt x="991" y="69"/>
                    <a:pt x="991" y="69"/>
                  </a:cubicBezTo>
                  <a:cubicBezTo>
                    <a:pt x="995" y="69"/>
                    <a:pt x="999" y="73"/>
                    <a:pt x="999" y="77"/>
                  </a:cubicBezTo>
                  <a:cubicBezTo>
                    <a:pt x="999" y="82"/>
                    <a:pt x="995" y="85"/>
                    <a:pt x="991" y="85"/>
                  </a:cubicBezTo>
                  <a:close/>
                  <a:moveTo>
                    <a:pt x="966" y="120"/>
                  </a:moveTo>
                  <a:cubicBezTo>
                    <a:pt x="966" y="326"/>
                    <a:pt x="966" y="326"/>
                    <a:pt x="966" y="326"/>
                  </a:cubicBezTo>
                  <a:cubicBezTo>
                    <a:pt x="915" y="326"/>
                    <a:pt x="915" y="326"/>
                    <a:pt x="915" y="326"/>
                  </a:cubicBezTo>
                  <a:cubicBezTo>
                    <a:pt x="915" y="120"/>
                    <a:pt x="915" y="120"/>
                    <a:pt x="915" y="120"/>
                  </a:cubicBezTo>
                  <a:lnTo>
                    <a:pt x="966" y="120"/>
                  </a:lnTo>
                  <a:close/>
                  <a:moveTo>
                    <a:pt x="159" y="326"/>
                  </a:moveTo>
                  <a:cubicBezTo>
                    <a:pt x="159" y="120"/>
                    <a:pt x="159" y="120"/>
                    <a:pt x="159" y="120"/>
                  </a:cubicBezTo>
                  <a:cubicBezTo>
                    <a:pt x="210" y="120"/>
                    <a:pt x="210" y="120"/>
                    <a:pt x="210" y="120"/>
                  </a:cubicBezTo>
                  <a:cubicBezTo>
                    <a:pt x="210" y="326"/>
                    <a:pt x="210" y="326"/>
                    <a:pt x="210" y="326"/>
                  </a:cubicBezTo>
                  <a:lnTo>
                    <a:pt x="159" y="3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5" name="Group 283"/>
          <p:cNvGrpSpPr>
            <a:grpSpLocks noChangeAspect="1"/>
          </p:cNvGrpSpPr>
          <p:nvPr userDrawn="1"/>
        </p:nvGrpSpPr>
        <p:grpSpPr bwMode="auto">
          <a:xfrm rot="20788033">
            <a:off x="5909237" y="2821669"/>
            <a:ext cx="1640217" cy="168483"/>
            <a:chOff x="1833" y="2244"/>
            <a:chExt cx="1973" cy="152"/>
          </a:xfrm>
          <a:solidFill>
            <a:schemeClr val="bg1"/>
          </a:solidFill>
        </p:grpSpPr>
        <p:sp>
          <p:nvSpPr>
            <p:cNvPr id="299" name="Oval 284"/>
            <p:cNvSpPr>
              <a:spLocks noChangeArrowheads="1"/>
            </p:cNvSpPr>
            <p:nvPr userDrawn="1"/>
          </p:nvSpPr>
          <p:spPr bwMode="auto">
            <a:xfrm>
              <a:off x="3242" y="2356"/>
              <a:ext cx="29" cy="3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00" name="Oval 285"/>
            <p:cNvSpPr>
              <a:spLocks noChangeArrowheads="1"/>
            </p:cNvSpPr>
            <p:nvPr userDrawn="1"/>
          </p:nvSpPr>
          <p:spPr bwMode="auto">
            <a:xfrm>
              <a:off x="3295" y="2356"/>
              <a:ext cx="29" cy="3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01" name="Oval 286"/>
            <p:cNvSpPr>
              <a:spLocks noChangeArrowheads="1"/>
            </p:cNvSpPr>
            <p:nvPr userDrawn="1"/>
          </p:nvSpPr>
          <p:spPr bwMode="auto">
            <a:xfrm>
              <a:off x="3348" y="2356"/>
              <a:ext cx="29" cy="3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02" name="Oval 287"/>
            <p:cNvSpPr>
              <a:spLocks noChangeArrowheads="1"/>
            </p:cNvSpPr>
            <p:nvPr userDrawn="1"/>
          </p:nvSpPr>
          <p:spPr bwMode="auto">
            <a:xfrm>
              <a:off x="3585" y="2356"/>
              <a:ext cx="29" cy="3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03" name="Oval 288"/>
            <p:cNvSpPr>
              <a:spLocks noChangeArrowheads="1"/>
            </p:cNvSpPr>
            <p:nvPr userDrawn="1"/>
          </p:nvSpPr>
          <p:spPr bwMode="auto">
            <a:xfrm>
              <a:off x="3638" y="2356"/>
              <a:ext cx="29" cy="3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04" name="Oval 289"/>
            <p:cNvSpPr>
              <a:spLocks noChangeArrowheads="1"/>
            </p:cNvSpPr>
            <p:nvPr userDrawn="1"/>
          </p:nvSpPr>
          <p:spPr bwMode="auto">
            <a:xfrm>
              <a:off x="3691" y="2356"/>
              <a:ext cx="29" cy="3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05" name="Rectangle 290"/>
            <p:cNvSpPr>
              <a:spLocks noChangeArrowheads="1"/>
            </p:cNvSpPr>
            <p:nvPr userDrawn="1"/>
          </p:nvSpPr>
          <p:spPr bwMode="auto">
            <a:xfrm>
              <a:off x="3290" y="2291"/>
              <a:ext cx="17" cy="3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06" name="Rectangle 291"/>
            <p:cNvSpPr>
              <a:spLocks noChangeArrowheads="1"/>
            </p:cNvSpPr>
            <p:nvPr userDrawn="1"/>
          </p:nvSpPr>
          <p:spPr bwMode="auto">
            <a:xfrm>
              <a:off x="3259" y="2291"/>
              <a:ext cx="17" cy="3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07" name="Rectangle 292"/>
            <p:cNvSpPr>
              <a:spLocks noChangeArrowheads="1"/>
            </p:cNvSpPr>
            <p:nvPr userDrawn="1"/>
          </p:nvSpPr>
          <p:spPr bwMode="auto">
            <a:xfrm>
              <a:off x="3322" y="2291"/>
              <a:ext cx="17" cy="3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08" name="Rectangle 293"/>
            <p:cNvSpPr>
              <a:spLocks noChangeArrowheads="1"/>
            </p:cNvSpPr>
            <p:nvPr userDrawn="1"/>
          </p:nvSpPr>
          <p:spPr bwMode="auto">
            <a:xfrm>
              <a:off x="3584" y="2291"/>
              <a:ext cx="17" cy="3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09" name="Rectangle 294"/>
            <p:cNvSpPr>
              <a:spLocks noChangeArrowheads="1"/>
            </p:cNvSpPr>
            <p:nvPr userDrawn="1"/>
          </p:nvSpPr>
          <p:spPr bwMode="auto">
            <a:xfrm>
              <a:off x="3553" y="2291"/>
              <a:ext cx="17" cy="3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10" name="Rectangle 295"/>
            <p:cNvSpPr>
              <a:spLocks noChangeArrowheads="1"/>
            </p:cNvSpPr>
            <p:nvPr userDrawn="1"/>
          </p:nvSpPr>
          <p:spPr bwMode="auto">
            <a:xfrm>
              <a:off x="3615" y="2291"/>
              <a:ext cx="17" cy="3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11" name="Freeform 296"/>
            <p:cNvSpPr>
              <a:spLocks noEditPoints="1"/>
            </p:cNvSpPr>
            <p:nvPr userDrawn="1"/>
          </p:nvSpPr>
          <p:spPr bwMode="auto">
            <a:xfrm>
              <a:off x="3194" y="2259"/>
              <a:ext cx="577" cy="120"/>
            </a:xfrm>
            <a:custGeom>
              <a:avLst/>
              <a:gdLst>
                <a:gd name="T0" fmla="*/ 2133 w 2177"/>
                <a:gd name="T1" fmla="*/ 318 h 450"/>
                <a:gd name="T2" fmla="*/ 2109 w 2177"/>
                <a:gd name="T3" fmla="*/ 205 h 450"/>
                <a:gd name="T4" fmla="*/ 2059 w 2177"/>
                <a:gd name="T5" fmla="*/ 294 h 450"/>
                <a:gd name="T6" fmla="*/ 1924 w 2177"/>
                <a:gd name="T7" fmla="*/ 43 h 450"/>
                <a:gd name="T8" fmla="*/ 1824 w 2177"/>
                <a:gd name="T9" fmla="*/ 18 h 450"/>
                <a:gd name="T10" fmla="*/ 1741 w 2177"/>
                <a:gd name="T11" fmla="*/ 18 h 450"/>
                <a:gd name="T12" fmla="*/ 1146 w 2177"/>
                <a:gd name="T13" fmla="*/ 43 h 450"/>
                <a:gd name="T14" fmla="*/ 991 w 2177"/>
                <a:gd name="T15" fmla="*/ 15 h 450"/>
                <a:gd name="T16" fmla="*/ 899 w 2177"/>
                <a:gd name="T17" fmla="*/ 43 h 450"/>
                <a:gd name="T18" fmla="*/ 716 w 2177"/>
                <a:gd name="T19" fmla="*/ 18 h 450"/>
                <a:gd name="T20" fmla="*/ 612 w 2177"/>
                <a:gd name="T21" fmla="*/ 18 h 450"/>
                <a:gd name="T22" fmla="*/ 134 w 2177"/>
                <a:gd name="T23" fmla="*/ 43 h 450"/>
                <a:gd name="T24" fmla="*/ 89 w 2177"/>
                <a:gd name="T25" fmla="*/ 318 h 450"/>
                <a:gd name="T26" fmla="*/ 6 w 2177"/>
                <a:gd name="T27" fmla="*/ 312 h 450"/>
                <a:gd name="T28" fmla="*/ 6 w 2177"/>
                <a:gd name="T29" fmla="*/ 366 h 450"/>
                <a:gd name="T30" fmla="*/ 104 w 2177"/>
                <a:gd name="T31" fmla="*/ 360 h 450"/>
                <a:gd name="T32" fmla="*/ 236 w 2177"/>
                <a:gd name="T33" fmla="*/ 348 h 450"/>
                <a:gd name="T34" fmla="*/ 436 w 2177"/>
                <a:gd name="T35" fmla="*/ 348 h 450"/>
                <a:gd name="T36" fmla="*/ 636 w 2177"/>
                <a:gd name="T37" fmla="*/ 348 h 450"/>
                <a:gd name="T38" fmla="*/ 728 w 2177"/>
                <a:gd name="T39" fmla="*/ 317 h 450"/>
                <a:gd name="T40" fmla="*/ 1432 w 2177"/>
                <a:gd name="T41" fmla="*/ 317 h 450"/>
                <a:gd name="T42" fmla="*/ 1530 w 2177"/>
                <a:gd name="T43" fmla="*/ 348 h 450"/>
                <a:gd name="T44" fmla="*/ 1730 w 2177"/>
                <a:gd name="T45" fmla="*/ 348 h 450"/>
                <a:gd name="T46" fmla="*/ 1930 w 2177"/>
                <a:gd name="T47" fmla="*/ 348 h 450"/>
                <a:gd name="T48" fmla="*/ 2042 w 2177"/>
                <a:gd name="T49" fmla="*/ 394 h 450"/>
                <a:gd name="T50" fmla="*/ 2133 w 2177"/>
                <a:gd name="T51" fmla="*/ 360 h 450"/>
                <a:gd name="T52" fmla="*/ 2177 w 2177"/>
                <a:gd name="T53" fmla="*/ 359 h 450"/>
                <a:gd name="T54" fmla="*/ 1916 w 2177"/>
                <a:gd name="T55" fmla="*/ 59 h 450"/>
                <a:gd name="T56" fmla="*/ 1875 w 2177"/>
                <a:gd name="T57" fmla="*/ 59 h 450"/>
                <a:gd name="T58" fmla="*/ 1844 w 2177"/>
                <a:gd name="T59" fmla="*/ 59 h 450"/>
                <a:gd name="T60" fmla="*/ 1775 w 2177"/>
                <a:gd name="T61" fmla="*/ 59 h 450"/>
                <a:gd name="T62" fmla="*/ 1762 w 2177"/>
                <a:gd name="T63" fmla="*/ 121 h 450"/>
                <a:gd name="T64" fmla="*/ 1579 w 2177"/>
                <a:gd name="T65" fmla="*/ 112 h 450"/>
                <a:gd name="T66" fmla="*/ 1579 w 2177"/>
                <a:gd name="T67" fmla="*/ 245 h 450"/>
                <a:gd name="T68" fmla="*/ 1542 w 2177"/>
                <a:gd name="T69" fmla="*/ 112 h 450"/>
                <a:gd name="T70" fmla="*/ 1460 w 2177"/>
                <a:gd name="T71" fmla="*/ 112 h 450"/>
                <a:gd name="T72" fmla="*/ 1424 w 2177"/>
                <a:gd name="T73" fmla="*/ 245 h 450"/>
                <a:gd name="T74" fmla="*/ 674 w 2177"/>
                <a:gd name="T75" fmla="*/ 129 h 450"/>
                <a:gd name="T76" fmla="*/ 674 w 2177"/>
                <a:gd name="T77" fmla="*/ 209 h 450"/>
                <a:gd name="T78" fmla="*/ 554 w 2177"/>
                <a:gd name="T79" fmla="*/ 112 h 450"/>
                <a:gd name="T80" fmla="*/ 472 w 2177"/>
                <a:gd name="T81" fmla="*/ 112 h 450"/>
                <a:gd name="T82" fmla="*/ 436 w 2177"/>
                <a:gd name="T83" fmla="*/ 245 h 450"/>
                <a:gd name="T84" fmla="*/ 236 w 2177"/>
                <a:gd name="T85" fmla="*/ 112 h 450"/>
                <a:gd name="T86" fmla="*/ 236 w 2177"/>
                <a:gd name="T87" fmla="*/ 245 h 450"/>
                <a:gd name="T88" fmla="*/ 144 w 2177"/>
                <a:gd name="T89" fmla="*/ 281 h 450"/>
                <a:gd name="T90" fmla="*/ 2050 w 2177"/>
                <a:gd name="T91" fmla="*/ 281 h 4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177" h="450">
                  <a:moveTo>
                    <a:pt x="2170" y="312"/>
                  </a:moveTo>
                  <a:cubicBezTo>
                    <a:pt x="2140" y="312"/>
                    <a:pt x="2140" y="312"/>
                    <a:pt x="2140" y="312"/>
                  </a:cubicBezTo>
                  <a:cubicBezTo>
                    <a:pt x="2136" y="312"/>
                    <a:pt x="2134" y="315"/>
                    <a:pt x="2133" y="318"/>
                  </a:cubicBezTo>
                  <a:cubicBezTo>
                    <a:pt x="2109" y="318"/>
                    <a:pt x="2109" y="318"/>
                    <a:pt x="2109" y="318"/>
                  </a:cubicBezTo>
                  <a:cubicBezTo>
                    <a:pt x="2109" y="304"/>
                    <a:pt x="2109" y="304"/>
                    <a:pt x="2109" y="304"/>
                  </a:cubicBezTo>
                  <a:cubicBezTo>
                    <a:pt x="2109" y="205"/>
                    <a:pt x="2109" y="205"/>
                    <a:pt x="2109" y="205"/>
                  </a:cubicBezTo>
                  <a:cubicBezTo>
                    <a:pt x="2097" y="205"/>
                    <a:pt x="2097" y="205"/>
                    <a:pt x="2097" y="205"/>
                  </a:cubicBezTo>
                  <a:cubicBezTo>
                    <a:pt x="2090" y="300"/>
                    <a:pt x="2090" y="300"/>
                    <a:pt x="2090" y="300"/>
                  </a:cubicBezTo>
                  <a:cubicBezTo>
                    <a:pt x="2059" y="294"/>
                    <a:pt x="2059" y="294"/>
                    <a:pt x="2059" y="294"/>
                  </a:cubicBezTo>
                  <a:cubicBezTo>
                    <a:pt x="2059" y="129"/>
                    <a:pt x="2059" y="129"/>
                    <a:pt x="2059" y="129"/>
                  </a:cubicBezTo>
                  <a:cubicBezTo>
                    <a:pt x="2059" y="109"/>
                    <a:pt x="1945" y="106"/>
                    <a:pt x="1945" y="106"/>
                  </a:cubicBezTo>
                  <a:cubicBezTo>
                    <a:pt x="1924" y="43"/>
                    <a:pt x="1924" y="43"/>
                    <a:pt x="1924" y="43"/>
                  </a:cubicBezTo>
                  <a:cubicBezTo>
                    <a:pt x="1924" y="18"/>
                    <a:pt x="1924" y="18"/>
                    <a:pt x="1924" y="18"/>
                  </a:cubicBezTo>
                  <a:cubicBezTo>
                    <a:pt x="1824" y="18"/>
                    <a:pt x="1824" y="18"/>
                    <a:pt x="1824" y="18"/>
                  </a:cubicBezTo>
                  <a:cubicBezTo>
                    <a:pt x="1824" y="18"/>
                    <a:pt x="1824" y="18"/>
                    <a:pt x="1824" y="18"/>
                  </a:cubicBezTo>
                  <a:cubicBezTo>
                    <a:pt x="1824" y="8"/>
                    <a:pt x="1816" y="0"/>
                    <a:pt x="1806" y="0"/>
                  </a:cubicBezTo>
                  <a:cubicBezTo>
                    <a:pt x="1758" y="0"/>
                    <a:pt x="1758" y="0"/>
                    <a:pt x="1758" y="0"/>
                  </a:cubicBezTo>
                  <a:cubicBezTo>
                    <a:pt x="1748" y="0"/>
                    <a:pt x="1741" y="8"/>
                    <a:pt x="1741" y="18"/>
                  </a:cubicBezTo>
                  <a:cubicBezTo>
                    <a:pt x="1741" y="18"/>
                    <a:pt x="1741" y="18"/>
                    <a:pt x="1741" y="18"/>
                  </a:cubicBezTo>
                  <a:cubicBezTo>
                    <a:pt x="1146" y="18"/>
                    <a:pt x="1146" y="18"/>
                    <a:pt x="1146" y="18"/>
                  </a:cubicBezTo>
                  <a:cubicBezTo>
                    <a:pt x="1146" y="43"/>
                    <a:pt x="1146" y="43"/>
                    <a:pt x="1146" y="43"/>
                  </a:cubicBezTo>
                  <a:cubicBezTo>
                    <a:pt x="1009" y="43"/>
                    <a:pt x="1009" y="43"/>
                    <a:pt x="1009" y="43"/>
                  </a:cubicBezTo>
                  <a:cubicBezTo>
                    <a:pt x="1010" y="41"/>
                    <a:pt x="1011" y="38"/>
                    <a:pt x="1011" y="35"/>
                  </a:cubicBezTo>
                  <a:cubicBezTo>
                    <a:pt x="1011" y="24"/>
                    <a:pt x="1002" y="15"/>
                    <a:pt x="991" y="15"/>
                  </a:cubicBezTo>
                  <a:cubicBezTo>
                    <a:pt x="917" y="15"/>
                    <a:pt x="917" y="15"/>
                    <a:pt x="917" y="15"/>
                  </a:cubicBezTo>
                  <a:cubicBezTo>
                    <a:pt x="906" y="15"/>
                    <a:pt x="897" y="24"/>
                    <a:pt x="897" y="35"/>
                  </a:cubicBezTo>
                  <a:cubicBezTo>
                    <a:pt x="897" y="38"/>
                    <a:pt x="897" y="41"/>
                    <a:pt x="899" y="43"/>
                  </a:cubicBezTo>
                  <a:cubicBezTo>
                    <a:pt x="789" y="43"/>
                    <a:pt x="789" y="43"/>
                    <a:pt x="789" y="43"/>
                  </a:cubicBezTo>
                  <a:cubicBezTo>
                    <a:pt x="789" y="18"/>
                    <a:pt x="789" y="18"/>
                    <a:pt x="789" y="18"/>
                  </a:cubicBezTo>
                  <a:cubicBezTo>
                    <a:pt x="716" y="18"/>
                    <a:pt x="716" y="18"/>
                    <a:pt x="716" y="18"/>
                  </a:cubicBezTo>
                  <a:cubicBezTo>
                    <a:pt x="716" y="43"/>
                    <a:pt x="716" y="43"/>
                    <a:pt x="716" y="43"/>
                  </a:cubicBezTo>
                  <a:cubicBezTo>
                    <a:pt x="612" y="43"/>
                    <a:pt x="612" y="43"/>
                    <a:pt x="612" y="43"/>
                  </a:cubicBezTo>
                  <a:cubicBezTo>
                    <a:pt x="612" y="18"/>
                    <a:pt x="612" y="18"/>
                    <a:pt x="612" y="18"/>
                  </a:cubicBezTo>
                  <a:cubicBezTo>
                    <a:pt x="156" y="18"/>
                    <a:pt x="156" y="18"/>
                    <a:pt x="156" y="18"/>
                  </a:cubicBezTo>
                  <a:cubicBezTo>
                    <a:pt x="156" y="43"/>
                    <a:pt x="156" y="43"/>
                    <a:pt x="156" y="43"/>
                  </a:cubicBezTo>
                  <a:cubicBezTo>
                    <a:pt x="134" y="43"/>
                    <a:pt x="134" y="43"/>
                    <a:pt x="134" y="43"/>
                  </a:cubicBezTo>
                  <a:cubicBezTo>
                    <a:pt x="134" y="288"/>
                    <a:pt x="134" y="288"/>
                    <a:pt x="134" y="288"/>
                  </a:cubicBezTo>
                  <a:cubicBezTo>
                    <a:pt x="79" y="288"/>
                    <a:pt x="79" y="288"/>
                    <a:pt x="79" y="288"/>
                  </a:cubicBezTo>
                  <a:cubicBezTo>
                    <a:pt x="89" y="318"/>
                    <a:pt x="89" y="318"/>
                    <a:pt x="89" y="318"/>
                  </a:cubicBezTo>
                  <a:cubicBezTo>
                    <a:pt x="43" y="318"/>
                    <a:pt x="43" y="318"/>
                    <a:pt x="43" y="318"/>
                  </a:cubicBezTo>
                  <a:cubicBezTo>
                    <a:pt x="43" y="315"/>
                    <a:pt x="40" y="312"/>
                    <a:pt x="37" y="312"/>
                  </a:cubicBezTo>
                  <a:cubicBezTo>
                    <a:pt x="6" y="312"/>
                    <a:pt x="6" y="312"/>
                    <a:pt x="6" y="312"/>
                  </a:cubicBezTo>
                  <a:cubicBezTo>
                    <a:pt x="3" y="312"/>
                    <a:pt x="0" y="315"/>
                    <a:pt x="0" y="319"/>
                  </a:cubicBezTo>
                  <a:cubicBezTo>
                    <a:pt x="0" y="359"/>
                    <a:pt x="0" y="359"/>
                    <a:pt x="0" y="359"/>
                  </a:cubicBezTo>
                  <a:cubicBezTo>
                    <a:pt x="0" y="363"/>
                    <a:pt x="3" y="366"/>
                    <a:pt x="6" y="366"/>
                  </a:cubicBezTo>
                  <a:cubicBezTo>
                    <a:pt x="37" y="366"/>
                    <a:pt x="37" y="366"/>
                    <a:pt x="37" y="366"/>
                  </a:cubicBezTo>
                  <a:cubicBezTo>
                    <a:pt x="40" y="366"/>
                    <a:pt x="43" y="363"/>
                    <a:pt x="43" y="360"/>
                  </a:cubicBezTo>
                  <a:cubicBezTo>
                    <a:pt x="104" y="360"/>
                    <a:pt x="104" y="360"/>
                    <a:pt x="104" y="360"/>
                  </a:cubicBezTo>
                  <a:cubicBezTo>
                    <a:pt x="115" y="388"/>
                    <a:pt x="115" y="388"/>
                    <a:pt x="115" y="388"/>
                  </a:cubicBezTo>
                  <a:cubicBezTo>
                    <a:pt x="188" y="367"/>
                    <a:pt x="188" y="367"/>
                    <a:pt x="188" y="367"/>
                  </a:cubicBezTo>
                  <a:cubicBezTo>
                    <a:pt x="201" y="355"/>
                    <a:pt x="217" y="348"/>
                    <a:pt x="236" y="348"/>
                  </a:cubicBezTo>
                  <a:cubicBezTo>
                    <a:pt x="271" y="348"/>
                    <a:pt x="301" y="374"/>
                    <a:pt x="307" y="408"/>
                  </a:cubicBezTo>
                  <a:cubicBezTo>
                    <a:pt x="365" y="408"/>
                    <a:pt x="365" y="408"/>
                    <a:pt x="365" y="408"/>
                  </a:cubicBezTo>
                  <a:cubicBezTo>
                    <a:pt x="371" y="374"/>
                    <a:pt x="401" y="348"/>
                    <a:pt x="436" y="348"/>
                  </a:cubicBezTo>
                  <a:cubicBezTo>
                    <a:pt x="471" y="348"/>
                    <a:pt x="501" y="374"/>
                    <a:pt x="507" y="408"/>
                  </a:cubicBezTo>
                  <a:cubicBezTo>
                    <a:pt x="565" y="408"/>
                    <a:pt x="565" y="408"/>
                    <a:pt x="565" y="408"/>
                  </a:cubicBezTo>
                  <a:cubicBezTo>
                    <a:pt x="571" y="374"/>
                    <a:pt x="601" y="348"/>
                    <a:pt x="636" y="348"/>
                  </a:cubicBezTo>
                  <a:cubicBezTo>
                    <a:pt x="654" y="348"/>
                    <a:pt x="671" y="355"/>
                    <a:pt x="684" y="367"/>
                  </a:cubicBezTo>
                  <a:cubicBezTo>
                    <a:pt x="684" y="317"/>
                    <a:pt x="684" y="317"/>
                    <a:pt x="684" y="317"/>
                  </a:cubicBezTo>
                  <a:cubicBezTo>
                    <a:pt x="728" y="317"/>
                    <a:pt x="728" y="317"/>
                    <a:pt x="728" y="317"/>
                  </a:cubicBezTo>
                  <a:cubicBezTo>
                    <a:pt x="728" y="450"/>
                    <a:pt x="728" y="450"/>
                    <a:pt x="728" y="450"/>
                  </a:cubicBezTo>
                  <a:cubicBezTo>
                    <a:pt x="1432" y="450"/>
                    <a:pt x="1432" y="450"/>
                    <a:pt x="1432" y="450"/>
                  </a:cubicBezTo>
                  <a:cubicBezTo>
                    <a:pt x="1432" y="317"/>
                    <a:pt x="1432" y="317"/>
                    <a:pt x="1432" y="317"/>
                  </a:cubicBezTo>
                  <a:cubicBezTo>
                    <a:pt x="1482" y="317"/>
                    <a:pt x="1482" y="317"/>
                    <a:pt x="1482" y="317"/>
                  </a:cubicBezTo>
                  <a:cubicBezTo>
                    <a:pt x="1482" y="367"/>
                    <a:pt x="1482" y="367"/>
                    <a:pt x="1482" y="367"/>
                  </a:cubicBezTo>
                  <a:cubicBezTo>
                    <a:pt x="1495" y="355"/>
                    <a:pt x="1511" y="348"/>
                    <a:pt x="1530" y="348"/>
                  </a:cubicBezTo>
                  <a:cubicBezTo>
                    <a:pt x="1565" y="348"/>
                    <a:pt x="1595" y="374"/>
                    <a:pt x="1601" y="408"/>
                  </a:cubicBezTo>
                  <a:cubicBezTo>
                    <a:pt x="1659" y="408"/>
                    <a:pt x="1659" y="408"/>
                    <a:pt x="1659" y="408"/>
                  </a:cubicBezTo>
                  <a:cubicBezTo>
                    <a:pt x="1665" y="374"/>
                    <a:pt x="1695" y="348"/>
                    <a:pt x="1730" y="348"/>
                  </a:cubicBezTo>
                  <a:cubicBezTo>
                    <a:pt x="1765" y="348"/>
                    <a:pt x="1795" y="374"/>
                    <a:pt x="1801" y="408"/>
                  </a:cubicBezTo>
                  <a:cubicBezTo>
                    <a:pt x="1859" y="408"/>
                    <a:pt x="1859" y="408"/>
                    <a:pt x="1859" y="408"/>
                  </a:cubicBezTo>
                  <a:cubicBezTo>
                    <a:pt x="1865" y="374"/>
                    <a:pt x="1895" y="348"/>
                    <a:pt x="1930" y="348"/>
                  </a:cubicBezTo>
                  <a:cubicBezTo>
                    <a:pt x="1948" y="348"/>
                    <a:pt x="1965" y="355"/>
                    <a:pt x="1978" y="367"/>
                  </a:cubicBezTo>
                  <a:cubicBezTo>
                    <a:pt x="1978" y="349"/>
                    <a:pt x="1978" y="349"/>
                    <a:pt x="1978" y="349"/>
                  </a:cubicBezTo>
                  <a:cubicBezTo>
                    <a:pt x="2042" y="394"/>
                    <a:pt x="2042" y="394"/>
                    <a:pt x="2042" y="394"/>
                  </a:cubicBezTo>
                  <a:cubicBezTo>
                    <a:pt x="2109" y="394"/>
                    <a:pt x="2109" y="394"/>
                    <a:pt x="2109" y="394"/>
                  </a:cubicBezTo>
                  <a:cubicBezTo>
                    <a:pt x="2109" y="360"/>
                    <a:pt x="2109" y="360"/>
                    <a:pt x="2109" y="360"/>
                  </a:cubicBezTo>
                  <a:cubicBezTo>
                    <a:pt x="2133" y="360"/>
                    <a:pt x="2133" y="360"/>
                    <a:pt x="2133" y="360"/>
                  </a:cubicBezTo>
                  <a:cubicBezTo>
                    <a:pt x="2134" y="363"/>
                    <a:pt x="2136" y="366"/>
                    <a:pt x="2140" y="366"/>
                  </a:cubicBezTo>
                  <a:cubicBezTo>
                    <a:pt x="2170" y="366"/>
                    <a:pt x="2170" y="366"/>
                    <a:pt x="2170" y="366"/>
                  </a:cubicBezTo>
                  <a:cubicBezTo>
                    <a:pt x="2174" y="366"/>
                    <a:pt x="2177" y="363"/>
                    <a:pt x="2177" y="359"/>
                  </a:cubicBezTo>
                  <a:cubicBezTo>
                    <a:pt x="2177" y="319"/>
                    <a:pt x="2177" y="319"/>
                    <a:pt x="2177" y="319"/>
                  </a:cubicBezTo>
                  <a:cubicBezTo>
                    <a:pt x="2177" y="315"/>
                    <a:pt x="2174" y="312"/>
                    <a:pt x="2170" y="312"/>
                  </a:cubicBezTo>
                  <a:close/>
                  <a:moveTo>
                    <a:pt x="1916" y="59"/>
                  </a:moveTo>
                  <a:cubicBezTo>
                    <a:pt x="1943" y="121"/>
                    <a:pt x="1943" y="121"/>
                    <a:pt x="1943" y="121"/>
                  </a:cubicBezTo>
                  <a:cubicBezTo>
                    <a:pt x="1901" y="121"/>
                    <a:pt x="1901" y="121"/>
                    <a:pt x="1901" y="121"/>
                  </a:cubicBezTo>
                  <a:cubicBezTo>
                    <a:pt x="1875" y="59"/>
                    <a:pt x="1875" y="59"/>
                    <a:pt x="1875" y="59"/>
                  </a:cubicBezTo>
                  <a:lnTo>
                    <a:pt x="1916" y="59"/>
                  </a:lnTo>
                  <a:close/>
                  <a:moveTo>
                    <a:pt x="1775" y="59"/>
                  </a:moveTo>
                  <a:cubicBezTo>
                    <a:pt x="1844" y="59"/>
                    <a:pt x="1844" y="59"/>
                    <a:pt x="1844" y="59"/>
                  </a:cubicBezTo>
                  <a:cubicBezTo>
                    <a:pt x="1844" y="121"/>
                    <a:pt x="1844" y="121"/>
                    <a:pt x="1844" y="121"/>
                  </a:cubicBezTo>
                  <a:cubicBezTo>
                    <a:pt x="1775" y="121"/>
                    <a:pt x="1775" y="121"/>
                    <a:pt x="1775" y="121"/>
                  </a:cubicBezTo>
                  <a:lnTo>
                    <a:pt x="1775" y="59"/>
                  </a:lnTo>
                  <a:close/>
                  <a:moveTo>
                    <a:pt x="1693" y="59"/>
                  </a:moveTo>
                  <a:cubicBezTo>
                    <a:pt x="1762" y="59"/>
                    <a:pt x="1762" y="59"/>
                    <a:pt x="1762" y="59"/>
                  </a:cubicBezTo>
                  <a:cubicBezTo>
                    <a:pt x="1762" y="121"/>
                    <a:pt x="1762" y="121"/>
                    <a:pt x="1762" y="121"/>
                  </a:cubicBezTo>
                  <a:cubicBezTo>
                    <a:pt x="1693" y="121"/>
                    <a:pt x="1693" y="121"/>
                    <a:pt x="1693" y="121"/>
                  </a:cubicBezTo>
                  <a:lnTo>
                    <a:pt x="1693" y="59"/>
                  </a:lnTo>
                  <a:close/>
                  <a:moveTo>
                    <a:pt x="1579" y="112"/>
                  </a:moveTo>
                  <a:cubicBezTo>
                    <a:pt x="1661" y="112"/>
                    <a:pt x="1661" y="112"/>
                    <a:pt x="1661" y="112"/>
                  </a:cubicBezTo>
                  <a:cubicBezTo>
                    <a:pt x="1661" y="245"/>
                    <a:pt x="1661" y="245"/>
                    <a:pt x="1661" y="245"/>
                  </a:cubicBezTo>
                  <a:cubicBezTo>
                    <a:pt x="1579" y="245"/>
                    <a:pt x="1579" y="245"/>
                    <a:pt x="1579" y="245"/>
                  </a:cubicBezTo>
                  <a:lnTo>
                    <a:pt x="1579" y="112"/>
                  </a:lnTo>
                  <a:close/>
                  <a:moveTo>
                    <a:pt x="1460" y="112"/>
                  </a:moveTo>
                  <a:cubicBezTo>
                    <a:pt x="1542" y="112"/>
                    <a:pt x="1542" y="112"/>
                    <a:pt x="1542" y="112"/>
                  </a:cubicBezTo>
                  <a:cubicBezTo>
                    <a:pt x="1542" y="245"/>
                    <a:pt x="1542" y="245"/>
                    <a:pt x="1542" y="245"/>
                  </a:cubicBezTo>
                  <a:cubicBezTo>
                    <a:pt x="1460" y="245"/>
                    <a:pt x="1460" y="245"/>
                    <a:pt x="1460" y="245"/>
                  </a:cubicBezTo>
                  <a:lnTo>
                    <a:pt x="1460" y="112"/>
                  </a:lnTo>
                  <a:close/>
                  <a:moveTo>
                    <a:pt x="1342" y="112"/>
                  </a:moveTo>
                  <a:cubicBezTo>
                    <a:pt x="1424" y="112"/>
                    <a:pt x="1424" y="112"/>
                    <a:pt x="1424" y="112"/>
                  </a:cubicBezTo>
                  <a:cubicBezTo>
                    <a:pt x="1424" y="245"/>
                    <a:pt x="1424" y="245"/>
                    <a:pt x="1424" y="245"/>
                  </a:cubicBezTo>
                  <a:cubicBezTo>
                    <a:pt x="1342" y="245"/>
                    <a:pt x="1342" y="245"/>
                    <a:pt x="1342" y="245"/>
                  </a:cubicBezTo>
                  <a:lnTo>
                    <a:pt x="1342" y="112"/>
                  </a:lnTo>
                  <a:close/>
                  <a:moveTo>
                    <a:pt x="674" y="129"/>
                  </a:moveTo>
                  <a:cubicBezTo>
                    <a:pt x="1217" y="129"/>
                    <a:pt x="1217" y="129"/>
                    <a:pt x="1217" y="129"/>
                  </a:cubicBezTo>
                  <a:cubicBezTo>
                    <a:pt x="1217" y="209"/>
                    <a:pt x="1217" y="209"/>
                    <a:pt x="1217" y="209"/>
                  </a:cubicBezTo>
                  <a:cubicBezTo>
                    <a:pt x="674" y="209"/>
                    <a:pt x="674" y="209"/>
                    <a:pt x="674" y="209"/>
                  </a:cubicBezTo>
                  <a:lnTo>
                    <a:pt x="674" y="129"/>
                  </a:lnTo>
                  <a:close/>
                  <a:moveTo>
                    <a:pt x="472" y="112"/>
                  </a:moveTo>
                  <a:cubicBezTo>
                    <a:pt x="554" y="112"/>
                    <a:pt x="554" y="112"/>
                    <a:pt x="554" y="112"/>
                  </a:cubicBezTo>
                  <a:cubicBezTo>
                    <a:pt x="554" y="245"/>
                    <a:pt x="554" y="245"/>
                    <a:pt x="554" y="245"/>
                  </a:cubicBezTo>
                  <a:cubicBezTo>
                    <a:pt x="472" y="245"/>
                    <a:pt x="472" y="245"/>
                    <a:pt x="472" y="245"/>
                  </a:cubicBezTo>
                  <a:lnTo>
                    <a:pt x="472" y="112"/>
                  </a:lnTo>
                  <a:close/>
                  <a:moveTo>
                    <a:pt x="354" y="112"/>
                  </a:moveTo>
                  <a:cubicBezTo>
                    <a:pt x="436" y="112"/>
                    <a:pt x="436" y="112"/>
                    <a:pt x="436" y="112"/>
                  </a:cubicBezTo>
                  <a:cubicBezTo>
                    <a:pt x="436" y="245"/>
                    <a:pt x="436" y="245"/>
                    <a:pt x="436" y="245"/>
                  </a:cubicBezTo>
                  <a:cubicBezTo>
                    <a:pt x="354" y="245"/>
                    <a:pt x="354" y="245"/>
                    <a:pt x="354" y="245"/>
                  </a:cubicBezTo>
                  <a:lnTo>
                    <a:pt x="354" y="112"/>
                  </a:lnTo>
                  <a:close/>
                  <a:moveTo>
                    <a:pt x="236" y="112"/>
                  </a:moveTo>
                  <a:cubicBezTo>
                    <a:pt x="318" y="112"/>
                    <a:pt x="318" y="112"/>
                    <a:pt x="318" y="112"/>
                  </a:cubicBezTo>
                  <a:cubicBezTo>
                    <a:pt x="318" y="245"/>
                    <a:pt x="318" y="245"/>
                    <a:pt x="318" y="245"/>
                  </a:cubicBezTo>
                  <a:cubicBezTo>
                    <a:pt x="236" y="245"/>
                    <a:pt x="236" y="245"/>
                    <a:pt x="236" y="245"/>
                  </a:cubicBezTo>
                  <a:lnTo>
                    <a:pt x="236" y="112"/>
                  </a:lnTo>
                  <a:close/>
                  <a:moveTo>
                    <a:pt x="2050" y="281"/>
                  </a:moveTo>
                  <a:cubicBezTo>
                    <a:pt x="144" y="281"/>
                    <a:pt x="144" y="281"/>
                    <a:pt x="144" y="281"/>
                  </a:cubicBezTo>
                  <a:cubicBezTo>
                    <a:pt x="144" y="266"/>
                    <a:pt x="144" y="266"/>
                    <a:pt x="144" y="266"/>
                  </a:cubicBezTo>
                  <a:cubicBezTo>
                    <a:pt x="2050" y="266"/>
                    <a:pt x="2050" y="266"/>
                    <a:pt x="2050" y="266"/>
                  </a:cubicBezTo>
                  <a:lnTo>
                    <a:pt x="2050" y="2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12" name="Rectangle 297"/>
            <p:cNvSpPr>
              <a:spLocks noChangeArrowheads="1"/>
            </p:cNvSpPr>
            <p:nvPr userDrawn="1"/>
          </p:nvSpPr>
          <p:spPr bwMode="auto">
            <a:xfrm>
              <a:off x="3375" y="2295"/>
              <a:ext cx="140" cy="1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13" name="Oval 298"/>
            <p:cNvSpPr>
              <a:spLocks noChangeArrowheads="1"/>
            </p:cNvSpPr>
            <p:nvPr userDrawn="1"/>
          </p:nvSpPr>
          <p:spPr bwMode="auto">
            <a:xfrm>
              <a:off x="2679" y="2356"/>
              <a:ext cx="29" cy="3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14" name="Oval 299"/>
            <p:cNvSpPr>
              <a:spLocks noChangeArrowheads="1"/>
            </p:cNvSpPr>
            <p:nvPr userDrawn="1"/>
          </p:nvSpPr>
          <p:spPr bwMode="auto">
            <a:xfrm>
              <a:off x="2625" y="2356"/>
              <a:ext cx="30" cy="3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15" name="Oval 300"/>
            <p:cNvSpPr>
              <a:spLocks noChangeArrowheads="1"/>
            </p:cNvSpPr>
            <p:nvPr userDrawn="1"/>
          </p:nvSpPr>
          <p:spPr bwMode="auto">
            <a:xfrm>
              <a:off x="2572" y="2356"/>
              <a:ext cx="29" cy="3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16" name="Freeform 301"/>
            <p:cNvSpPr>
              <a:spLocks/>
            </p:cNvSpPr>
            <p:nvPr userDrawn="1"/>
          </p:nvSpPr>
          <p:spPr bwMode="auto">
            <a:xfrm>
              <a:off x="2594" y="2353"/>
              <a:ext cx="38" cy="19"/>
            </a:xfrm>
            <a:custGeom>
              <a:avLst/>
              <a:gdLst>
                <a:gd name="T0" fmla="*/ 141 w 141"/>
                <a:gd name="T1" fmla="*/ 0 h 69"/>
                <a:gd name="T2" fmla="*/ 0 w 141"/>
                <a:gd name="T3" fmla="*/ 0 h 69"/>
                <a:gd name="T4" fmla="*/ 42 w 141"/>
                <a:gd name="T5" fmla="*/ 66 h 69"/>
                <a:gd name="T6" fmla="*/ 42 w 141"/>
                <a:gd name="T7" fmla="*/ 69 h 69"/>
                <a:gd name="T8" fmla="*/ 98 w 141"/>
                <a:gd name="T9" fmla="*/ 69 h 69"/>
                <a:gd name="T10" fmla="*/ 98 w 141"/>
                <a:gd name="T11" fmla="*/ 66 h 69"/>
                <a:gd name="T12" fmla="*/ 141 w 141"/>
                <a:gd name="T13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1" h="69">
                  <a:moveTo>
                    <a:pt x="14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5" y="11"/>
                    <a:pt x="42" y="37"/>
                    <a:pt x="42" y="66"/>
                  </a:cubicBezTo>
                  <a:cubicBezTo>
                    <a:pt x="42" y="67"/>
                    <a:pt x="42" y="68"/>
                    <a:pt x="42" y="69"/>
                  </a:cubicBezTo>
                  <a:cubicBezTo>
                    <a:pt x="98" y="69"/>
                    <a:pt x="98" y="69"/>
                    <a:pt x="98" y="69"/>
                  </a:cubicBezTo>
                  <a:cubicBezTo>
                    <a:pt x="98" y="68"/>
                    <a:pt x="98" y="67"/>
                    <a:pt x="98" y="66"/>
                  </a:cubicBezTo>
                  <a:cubicBezTo>
                    <a:pt x="98" y="37"/>
                    <a:pt x="116" y="11"/>
                    <a:pt x="14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17" name="Freeform 302"/>
            <p:cNvSpPr>
              <a:spLocks/>
            </p:cNvSpPr>
            <p:nvPr userDrawn="1"/>
          </p:nvSpPr>
          <p:spPr bwMode="auto">
            <a:xfrm>
              <a:off x="2648" y="2353"/>
              <a:ext cx="37" cy="19"/>
            </a:xfrm>
            <a:custGeom>
              <a:avLst/>
              <a:gdLst>
                <a:gd name="T0" fmla="*/ 141 w 141"/>
                <a:gd name="T1" fmla="*/ 0 h 69"/>
                <a:gd name="T2" fmla="*/ 0 w 141"/>
                <a:gd name="T3" fmla="*/ 0 h 69"/>
                <a:gd name="T4" fmla="*/ 42 w 141"/>
                <a:gd name="T5" fmla="*/ 66 h 69"/>
                <a:gd name="T6" fmla="*/ 42 w 141"/>
                <a:gd name="T7" fmla="*/ 69 h 69"/>
                <a:gd name="T8" fmla="*/ 98 w 141"/>
                <a:gd name="T9" fmla="*/ 69 h 69"/>
                <a:gd name="T10" fmla="*/ 98 w 141"/>
                <a:gd name="T11" fmla="*/ 66 h 69"/>
                <a:gd name="T12" fmla="*/ 141 w 141"/>
                <a:gd name="T13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1" h="69">
                  <a:moveTo>
                    <a:pt x="14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5" y="11"/>
                    <a:pt x="42" y="37"/>
                    <a:pt x="42" y="66"/>
                  </a:cubicBezTo>
                  <a:cubicBezTo>
                    <a:pt x="42" y="67"/>
                    <a:pt x="42" y="68"/>
                    <a:pt x="42" y="69"/>
                  </a:cubicBezTo>
                  <a:cubicBezTo>
                    <a:pt x="98" y="69"/>
                    <a:pt x="98" y="69"/>
                    <a:pt x="98" y="69"/>
                  </a:cubicBezTo>
                  <a:cubicBezTo>
                    <a:pt x="98" y="68"/>
                    <a:pt x="98" y="67"/>
                    <a:pt x="98" y="66"/>
                  </a:cubicBezTo>
                  <a:cubicBezTo>
                    <a:pt x="98" y="37"/>
                    <a:pt x="116" y="11"/>
                    <a:pt x="14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18" name="Freeform 303"/>
            <p:cNvSpPr>
              <a:spLocks/>
            </p:cNvSpPr>
            <p:nvPr userDrawn="1"/>
          </p:nvSpPr>
          <p:spPr bwMode="auto">
            <a:xfrm>
              <a:off x="2701" y="2353"/>
              <a:ext cx="19" cy="17"/>
            </a:xfrm>
            <a:custGeom>
              <a:avLst/>
              <a:gdLst>
                <a:gd name="T0" fmla="*/ 0 w 71"/>
                <a:gd name="T1" fmla="*/ 0 h 61"/>
                <a:gd name="T2" fmla="*/ 43 w 71"/>
                <a:gd name="T3" fmla="*/ 61 h 61"/>
                <a:gd name="T4" fmla="*/ 71 w 71"/>
                <a:gd name="T5" fmla="*/ 11 h 61"/>
                <a:gd name="T6" fmla="*/ 70 w 71"/>
                <a:gd name="T7" fmla="*/ 0 h 61"/>
                <a:gd name="T8" fmla="*/ 0 w 71"/>
                <a:gd name="T9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1" h="61">
                  <a:moveTo>
                    <a:pt x="0" y="0"/>
                  </a:moveTo>
                  <a:cubicBezTo>
                    <a:pt x="24" y="10"/>
                    <a:pt x="41" y="33"/>
                    <a:pt x="43" y="61"/>
                  </a:cubicBezTo>
                  <a:cubicBezTo>
                    <a:pt x="59" y="50"/>
                    <a:pt x="71" y="32"/>
                    <a:pt x="71" y="11"/>
                  </a:cubicBezTo>
                  <a:cubicBezTo>
                    <a:pt x="71" y="7"/>
                    <a:pt x="70" y="3"/>
                    <a:pt x="70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19" name="Freeform 304"/>
            <p:cNvSpPr>
              <a:spLocks noEditPoints="1"/>
            </p:cNvSpPr>
            <p:nvPr userDrawn="1"/>
          </p:nvSpPr>
          <p:spPr bwMode="auto">
            <a:xfrm>
              <a:off x="2525" y="2244"/>
              <a:ext cx="664" cy="128"/>
            </a:xfrm>
            <a:custGeom>
              <a:avLst/>
              <a:gdLst>
                <a:gd name="T0" fmla="*/ 2450 w 2504"/>
                <a:gd name="T1" fmla="*/ 369 h 478"/>
                <a:gd name="T2" fmla="*/ 2427 w 2504"/>
                <a:gd name="T3" fmla="*/ 358 h 478"/>
                <a:gd name="T4" fmla="*/ 2387 w 2504"/>
                <a:gd name="T5" fmla="*/ 104 h 478"/>
                <a:gd name="T6" fmla="*/ 2177 w 2504"/>
                <a:gd name="T7" fmla="*/ 23 h 478"/>
                <a:gd name="T8" fmla="*/ 2218 w 2504"/>
                <a:gd name="T9" fmla="*/ 0 h 478"/>
                <a:gd name="T10" fmla="*/ 244 w 2504"/>
                <a:gd name="T11" fmla="*/ 23 h 478"/>
                <a:gd name="T12" fmla="*/ 167 w 2504"/>
                <a:gd name="T13" fmla="*/ 44 h 478"/>
                <a:gd name="T14" fmla="*/ 46 w 2504"/>
                <a:gd name="T15" fmla="*/ 134 h 478"/>
                <a:gd name="T16" fmla="*/ 117 w 2504"/>
                <a:gd name="T17" fmla="*/ 369 h 478"/>
                <a:gd name="T18" fmla="*/ 8 w 2504"/>
                <a:gd name="T19" fmla="*/ 362 h 478"/>
                <a:gd name="T20" fmla="*/ 8 w 2504"/>
                <a:gd name="T21" fmla="*/ 428 h 478"/>
                <a:gd name="T22" fmla="*/ 129 w 2504"/>
                <a:gd name="T23" fmla="*/ 420 h 478"/>
                <a:gd name="T24" fmla="*/ 795 w 2504"/>
                <a:gd name="T25" fmla="*/ 391 h 478"/>
                <a:gd name="T26" fmla="*/ 1268 w 2504"/>
                <a:gd name="T27" fmla="*/ 478 h 478"/>
                <a:gd name="T28" fmla="*/ 2305 w 2504"/>
                <a:gd name="T29" fmla="*/ 391 h 478"/>
                <a:gd name="T30" fmla="*/ 2450 w 2504"/>
                <a:gd name="T31" fmla="*/ 420 h 478"/>
                <a:gd name="T32" fmla="*/ 2504 w 2504"/>
                <a:gd name="T33" fmla="*/ 420 h 478"/>
                <a:gd name="T34" fmla="*/ 2181 w 2504"/>
                <a:gd name="T35" fmla="*/ 178 h 478"/>
                <a:gd name="T36" fmla="*/ 2128 w 2504"/>
                <a:gd name="T37" fmla="*/ 178 h 478"/>
                <a:gd name="T38" fmla="*/ 1988 w 2504"/>
                <a:gd name="T39" fmla="*/ 44 h 478"/>
                <a:gd name="T40" fmla="*/ 2152 w 2504"/>
                <a:gd name="T41" fmla="*/ 44 h 478"/>
                <a:gd name="T42" fmla="*/ 2046 w 2504"/>
                <a:gd name="T43" fmla="*/ 278 h 478"/>
                <a:gd name="T44" fmla="*/ 1798 w 2504"/>
                <a:gd name="T45" fmla="*/ 44 h 478"/>
                <a:gd name="T46" fmla="*/ 1963 w 2504"/>
                <a:gd name="T47" fmla="*/ 44 h 478"/>
                <a:gd name="T48" fmla="*/ 1909 w 2504"/>
                <a:gd name="T49" fmla="*/ 278 h 478"/>
                <a:gd name="T50" fmla="*/ 1909 w 2504"/>
                <a:gd name="T51" fmla="*/ 178 h 478"/>
                <a:gd name="T52" fmla="*/ 376 w 2504"/>
                <a:gd name="T53" fmla="*/ 278 h 478"/>
                <a:gd name="T54" fmla="*/ 474 w 2504"/>
                <a:gd name="T55" fmla="*/ 44 h 478"/>
                <a:gd name="T56" fmla="*/ 638 w 2504"/>
                <a:gd name="T57" fmla="*/ 44 h 478"/>
                <a:gd name="T58" fmla="*/ 682 w 2504"/>
                <a:gd name="T59" fmla="*/ 178 h 478"/>
                <a:gd name="T60" fmla="*/ 578 w 2504"/>
                <a:gd name="T61" fmla="*/ 178 h 478"/>
                <a:gd name="T62" fmla="*/ 827 w 2504"/>
                <a:gd name="T63" fmla="*/ 23 h 478"/>
                <a:gd name="T64" fmla="*/ 780 w 2504"/>
                <a:gd name="T65" fmla="*/ 178 h 478"/>
                <a:gd name="T66" fmla="*/ 780 w 2504"/>
                <a:gd name="T67" fmla="*/ 278 h 478"/>
                <a:gd name="T68" fmla="*/ 852 w 2504"/>
                <a:gd name="T69" fmla="*/ 23 h 478"/>
                <a:gd name="T70" fmla="*/ 852 w 2504"/>
                <a:gd name="T71" fmla="*/ 44 h 478"/>
                <a:gd name="T72" fmla="*/ 1086 w 2504"/>
                <a:gd name="T73" fmla="*/ 278 h 478"/>
                <a:gd name="T74" fmla="*/ 1042 w 2504"/>
                <a:gd name="T75" fmla="*/ 44 h 478"/>
                <a:gd name="T76" fmla="*/ 1206 w 2504"/>
                <a:gd name="T77" fmla="*/ 44 h 478"/>
                <a:gd name="T78" fmla="*/ 1288 w 2504"/>
                <a:gd name="T79" fmla="*/ 178 h 478"/>
                <a:gd name="T80" fmla="*/ 1184 w 2504"/>
                <a:gd name="T81" fmla="*/ 178 h 478"/>
                <a:gd name="T82" fmla="*/ 1395 w 2504"/>
                <a:gd name="T83" fmla="*/ 23 h 478"/>
                <a:gd name="T84" fmla="*/ 1386 w 2504"/>
                <a:gd name="T85" fmla="*/ 178 h 478"/>
                <a:gd name="T86" fmla="*/ 1386 w 2504"/>
                <a:gd name="T87" fmla="*/ 278 h 478"/>
                <a:gd name="T88" fmla="*/ 1420 w 2504"/>
                <a:gd name="T89" fmla="*/ 23 h 478"/>
                <a:gd name="T90" fmla="*/ 1420 w 2504"/>
                <a:gd name="T91" fmla="*/ 44 h 478"/>
                <a:gd name="T92" fmla="*/ 1692 w 2504"/>
                <a:gd name="T93" fmla="*/ 278 h 478"/>
                <a:gd name="T94" fmla="*/ 1609 w 2504"/>
                <a:gd name="T95" fmla="*/ 44 h 478"/>
                <a:gd name="T96" fmla="*/ 1773 w 2504"/>
                <a:gd name="T97" fmla="*/ 44 h 478"/>
                <a:gd name="T98" fmla="*/ 1826 w 2504"/>
                <a:gd name="T99" fmla="*/ 178 h 478"/>
                <a:gd name="T100" fmla="*/ 1774 w 2504"/>
                <a:gd name="T101" fmla="*/ 178 h 478"/>
                <a:gd name="T102" fmla="*/ 449 w 2504"/>
                <a:gd name="T103" fmla="*/ 44 h 478"/>
                <a:gd name="T104" fmla="*/ 234 w 2504"/>
                <a:gd name="T105" fmla="*/ 341 h 478"/>
                <a:gd name="T106" fmla="*/ 234 w 2504"/>
                <a:gd name="T107" fmla="*/ 134 h 478"/>
                <a:gd name="T108" fmla="*/ 244 w 2504"/>
                <a:gd name="T109" fmla="*/ 375 h 478"/>
                <a:gd name="T110" fmla="*/ 2244 w 2504"/>
                <a:gd name="T111" fmla="*/ 375 h 478"/>
                <a:gd name="T112" fmla="*/ 2347 w 2504"/>
                <a:gd name="T113" fmla="*/ 341 h 4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504" h="478">
                  <a:moveTo>
                    <a:pt x="2496" y="362"/>
                  </a:moveTo>
                  <a:cubicBezTo>
                    <a:pt x="2458" y="362"/>
                    <a:pt x="2458" y="362"/>
                    <a:pt x="2458" y="362"/>
                  </a:cubicBezTo>
                  <a:cubicBezTo>
                    <a:pt x="2454" y="362"/>
                    <a:pt x="2451" y="365"/>
                    <a:pt x="2450" y="369"/>
                  </a:cubicBezTo>
                  <a:cubicBezTo>
                    <a:pt x="2372" y="369"/>
                    <a:pt x="2372" y="369"/>
                    <a:pt x="2372" y="369"/>
                  </a:cubicBezTo>
                  <a:cubicBezTo>
                    <a:pt x="2376" y="366"/>
                    <a:pt x="2378" y="362"/>
                    <a:pt x="2381" y="358"/>
                  </a:cubicBezTo>
                  <a:cubicBezTo>
                    <a:pt x="2427" y="358"/>
                    <a:pt x="2427" y="358"/>
                    <a:pt x="2427" y="358"/>
                  </a:cubicBezTo>
                  <a:cubicBezTo>
                    <a:pt x="2427" y="134"/>
                    <a:pt x="2427" y="134"/>
                    <a:pt x="2427" y="134"/>
                  </a:cubicBezTo>
                  <a:cubicBezTo>
                    <a:pt x="2387" y="134"/>
                    <a:pt x="2387" y="134"/>
                    <a:pt x="2387" y="134"/>
                  </a:cubicBezTo>
                  <a:cubicBezTo>
                    <a:pt x="2387" y="104"/>
                    <a:pt x="2387" y="104"/>
                    <a:pt x="2387" y="104"/>
                  </a:cubicBezTo>
                  <a:cubicBezTo>
                    <a:pt x="2387" y="71"/>
                    <a:pt x="2358" y="44"/>
                    <a:pt x="2323" y="44"/>
                  </a:cubicBezTo>
                  <a:cubicBezTo>
                    <a:pt x="2177" y="44"/>
                    <a:pt x="2177" y="44"/>
                    <a:pt x="2177" y="44"/>
                  </a:cubicBezTo>
                  <a:cubicBezTo>
                    <a:pt x="2177" y="23"/>
                    <a:pt x="2177" y="23"/>
                    <a:pt x="2177" y="23"/>
                  </a:cubicBezTo>
                  <a:cubicBezTo>
                    <a:pt x="2218" y="23"/>
                    <a:pt x="2218" y="23"/>
                    <a:pt x="2218" y="23"/>
                  </a:cubicBezTo>
                  <a:cubicBezTo>
                    <a:pt x="2224" y="23"/>
                    <a:pt x="2230" y="18"/>
                    <a:pt x="2230" y="12"/>
                  </a:cubicBezTo>
                  <a:cubicBezTo>
                    <a:pt x="2230" y="5"/>
                    <a:pt x="2224" y="0"/>
                    <a:pt x="2218" y="0"/>
                  </a:cubicBezTo>
                  <a:cubicBezTo>
                    <a:pt x="244" y="0"/>
                    <a:pt x="244" y="0"/>
                    <a:pt x="244" y="0"/>
                  </a:cubicBezTo>
                  <a:cubicBezTo>
                    <a:pt x="237" y="0"/>
                    <a:pt x="232" y="5"/>
                    <a:pt x="232" y="12"/>
                  </a:cubicBezTo>
                  <a:cubicBezTo>
                    <a:pt x="232" y="18"/>
                    <a:pt x="237" y="23"/>
                    <a:pt x="244" y="23"/>
                  </a:cubicBezTo>
                  <a:cubicBezTo>
                    <a:pt x="260" y="23"/>
                    <a:pt x="260" y="23"/>
                    <a:pt x="260" y="23"/>
                  </a:cubicBezTo>
                  <a:cubicBezTo>
                    <a:pt x="260" y="44"/>
                    <a:pt x="260" y="44"/>
                    <a:pt x="260" y="44"/>
                  </a:cubicBezTo>
                  <a:cubicBezTo>
                    <a:pt x="167" y="44"/>
                    <a:pt x="167" y="44"/>
                    <a:pt x="167" y="44"/>
                  </a:cubicBezTo>
                  <a:cubicBezTo>
                    <a:pt x="131" y="44"/>
                    <a:pt x="102" y="71"/>
                    <a:pt x="102" y="104"/>
                  </a:cubicBezTo>
                  <a:cubicBezTo>
                    <a:pt x="102" y="134"/>
                    <a:pt x="102" y="134"/>
                    <a:pt x="102" y="134"/>
                  </a:cubicBezTo>
                  <a:cubicBezTo>
                    <a:pt x="46" y="134"/>
                    <a:pt x="46" y="134"/>
                    <a:pt x="46" y="134"/>
                  </a:cubicBezTo>
                  <a:cubicBezTo>
                    <a:pt x="46" y="358"/>
                    <a:pt x="46" y="358"/>
                    <a:pt x="46" y="358"/>
                  </a:cubicBezTo>
                  <a:cubicBezTo>
                    <a:pt x="109" y="358"/>
                    <a:pt x="109" y="358"/>
                    <a:pt x="109" y="358"/>
                  </a:cubicBezTo>
                  <a:cubicBezTo>
                    <a:pt x="111" y="362"/>
                    <a:pt x="114" y="366"/>
                    <a:pt x="117" y="369"/>
                  </a:cubicBezTo>
                  <a:cubicBezTo>
                    <a:pt x="54" y="369"/>
                    <a:pt x="54" y="369"/>
                    <a:pt x="54" y="369"/>
                  </a:cubicBezTo>
                  <a:cubicBezTo>
                    <a:pt x="54" y="365"/>
                    <a:pt x="50" y="362"/>
                    <a:pt x="46" y="362"/>
                  </a:cubicBezTo>
                  <a:cubicBezTo>
                    <a:pt x="8" y="362"/>
                    <a:pt x="8" y="362"/>
                    <a:pt x="8" y="362"/>
                  </a:cubicBezTo>
                  <a:cubicBezTo>
                    <a:pt x="4" y="362"/>
                    <a:pt x="0" y="366"/>
                    <a:pt x="0" y="370"/>
                  </a:cubicBezTo>
                  <a:cubicBezTo>
                    <a:pt x="0" y="420"/>
                    <a:pt x="0" y="420"/>
                    <a:pt x="0" y="420"/>
                  </a:cubicBezTo>
                  <a:cubicBezTo>
                    <a:pt x="0" y="424"/>
                    <a:pt x="4" y="428"/>
                    <a:pt x="8" y="428"/>
                  </a:cubicBezTo>
                  <a:cubicBezTo>
                    <a:pt x="46" y="428"/>
                    <a:pt x="46" y="428"/>
                    <a:pt x="46" y="428"/>
                  </a:cubicBezTo>
                  <a:cubicBezTo>
                    <a:pt x="50" y="428"/>
                    <a:pt x="54" y="425"/>
                    <a:pt x="54" y="420"/>
                  </a:cubicBezTo>
                  <a:cubicBezTo>
                    <a:pt x="129" y="420"/>
                    <a:pt x="129" y="420"/>
                    <a:pt x="129" y="420"/>
                  </a:cubicBezTo>
                  <a:cubicBezTo>
                    <a:pt x="129" y="441"/>
                    <a:pt x="140" y="459"/>
                    <a:pt x="157" y="470"/>
                  </a:cubicBezTo>
                  <a:cubicBezTo>
                    <a:pt x="159" y="445"/>
                    <a:pt x="178" y="406"/>
                    <a:pt x="200" y="391"/>
                  </a:cubicBezTo>
                  <a:cubicBezTo>
                    <a:pt x="795" y="391"/>
                    <a:pt x="795" y="391"/>
                    <a:pt x="795" y="391"/>
                  </a:cubicBezTo>
                  <a:cubicBezTo>
                    <a:pt x="1099" y="478"/>
                    <a:pt x="1099" y="478"/>
                    <a:pt x="1099" y="478"/>
                  </a:cubicBezTo>
                  <a:cubicBezTo>
                    <a:pt x="1242" y="478"/>
                    <a:pt x="1242" y="478"/>
                    <a:pt x="1242" y="478"/>
                  </a:cubicBezTo>
                  <a:cubicBezTo>
                    <a:pt x="1268" y="478"/>
                    <a:pt x="1268" y="478"/>
                    <a:pt x="1268" y="478"/>
                  </a:cubicBezTo>
                  <a:cubicBezTo>
                    <a:pt x="1390" y="478"/>
                    <a:pt x="1390" y="478"/>
                    <a:pt x="1390" y="478"/>
                  </a:cubicBezTo>
                  <a:cubicBezTo>
                    <a:pt x="1695" y="391"/>
                    <a:pt x="1695" y="391"/>
                    <a:pt x="1695" y="391"/>
                  </a:cubicBezTo>
                  <a:cubicBezTo>
                    <a:pt x="2305" y="391"/>
                    <a:pt x="2305" y="391"/>
                    <a:pt x="2305" y="391"/>
                  </a:cubicBezTo>
                  <a:cubicBezTo>
                    <a:pt x="2326" y="406"/>
                    <a:pt x="2346" y="445"/>
                    <a:pt x="2348" y="470"/>
                  </a:cubicBezTo>
                  <a:cubicBezTo>
                    <a:pt x="2364" y="459"/>
                    <a:pt x="2375" y="441"/>
                    <a:pt x="2375" y="420"/>
                  </a:cubicBezTo>
                  <a:cubicBezTo>
                    <a:pt x="2450" y="420"/>
                    <a:pt x="2450" y="420"/>
                    <a:pt x="2450" y="420"/>
                  </a:cubicBezTo>
                  <a:cubicBezTo>
                    <a:pt x="2451" y="425"/>
                    <a:pt x="2454" y="428"/>
                    <a:pt x="2458" y="428"/>
                  </a:cubicBezTo>
                  <a:cubicBezTo>
                    <a:pt x="2496" y="428"/>
                    <a:pt x="2496" y="428"/>
                    <a:pt x="2496" y="428"/>
                  </a:cubicBezTo>
                  <a:cubicBezTo>
                    <a:pt x="2501" y="428"/>
                    <a:pt x="2504" y="424"/>
                    <a:pt x="2504" y="420"/>
                  </a:cubicBezTo>
                  <a:cubicBezTo>
                    <a:pt x="2504" y="370"/>
                    <a:pt x="2504" y="370"/>
                    <a:pt x="2504" y="370"/>
                  </a:cubicBezTo>
                  <a:cubicBezTo>
                    <a:pt x="2504" y="366"/>
                    <a:pt x="2501" y="362"/>
                    <a:pt x="2496" y="362"/>
                  </a:cubicBezTo>
                  <a:close/>
                  <a:moveTo>
                    <a:pt x="2181" y="178"/>
                  </a:moveTo>
                  <a:cubicBezTo>
                    <a:pt x="2181" y="278"/>
                    <a:pt x="2181" y="278"/>
                    <a:pt x="2181" y="278"/>
                  </a:cubicBezTo>
                  <a:cubicBezTo>
                    <a:pt x="2128" y="278"/>
                    <a:pt x="2128" y="278"/>
                    <a:pt x="2128" y="278"/>
                  </a:cubicBezTo>
                  <a:cubicBezTo>
                    <a:pt x="2128" y="178"/>
                    <a:pt x="2128" y="178"/>
                    <a:pt x="2128" y="178"/>
                  </a:cubicBezTo>
                  <a:lnTo>
                    <a:pt x="2181" y="178"/>
                  </a:lnTo>
                  <a:close/>
                  <a:moveTo>
                    <a:pt x="2152" y="44"/>
                  </a:moveTo>
                  <a:cubicBezTo>
                    <a:pt x="1988" y="44"/>
                    <a:pt x="1988" y="44"/>
                    <a:pt x="1988" y="44"/>
                  </a:cubicBezTo>
                  <a:cubicBezTo>
                    <a:pt x="1988" y="23"/>
                    <a:pt x="1988" y="23"/>
                    <a:pt x="1988" y="23"/>
                  </a:cubicBezTo>
                  <a:cubicBezTo>
                    <a:pt x="2152" y="23"/>
                    <a:pt x="2152" y="23"/>
                    <a:pt x="2152" y="23"/>
                  </a:cubicBezTo>
                  <a:lnTo>
                    <a:pt x="2152" y="44"/>
                  </a:lnTo>
                  <a:close/>
                  <a:moveTo>
                    <a:pt x="2098" y="178"/>
                  </a:moveTo>
                  <a:cubicBezTo>
                    <a:pt x="2098" y="278"/>
                    <a:pt x="2098" y="278"/>
                    <a:pt x="2098" y="278"/>
                  </a:cubicBezTo>
                  <a:cubicBezTo>
                    <a:pt x="2046" y="278"/>
                    <a:pt x="2046" y="278"/>
                    <a:pt x="2046" y="278"/>
                  </a:cubicBezTo>
                  <a:cubicBezTo>
                    <a:pt x="2046" y="178"/>
                    <a:pt x="2046" y="178"/>
                    <a:pt x="2046" y="178"/>
                  </a:cubicBezTo>
                  <a:lnTo>
                    <a:pt x="2098" y="178"/>
                  </a:lnTo>
                  <a:close/>
                  <a:moveTo>
                    <a:pt x="1798" y="44"/>
                  </a:moveTo>
                  <a:cubicBezTo>
                    <a:pt x="1798" y="23"/>
                    <a:pt x="1798" y="23"/>
                    <a:pt x="1798" y="23"/>
                  </a:cubicBezTo>
                  <a:cubicBezTo>
                    <a:pt x="1963" y="23"/>
                    <a:pt x="1963" y="23"/>
                    <a:pt x="1963" y="23"/>
                  </a:cubicBezTo>
                  <a:cubicBezTo>
                    <a:pt x="1963" y="44"/>
                    <a:pt x="1963" y="44"/>
                    <a:pt x="1963" y="44"/>
                  </a:cubicBezTo>
                  <a:lnTo>
                    <a:pt x="1798" y="44"/>
                  </a:lnTo>
                  <a:close/>
                  <a:moveTo>
                    <a:pt x="1909" y="178"/>
                  </a:moveTo>
                  <a:cubicBezTo>
                    <a:pt x="1909" y="278"/>
                    <a:pt x="1909" y="278"/>
                    <a:pt x="1909" y="278"/>
                  </a:cubicBezTo>
                  <a:cubicBezTo>
                    <a:pt x="1856" y="278"/>
                    <a:pt x="1856" y="278"/>
                    <a:pt x="1856" y="278"/>
                  </a:cubicBezTo>
                  <a:cubicBezTo>
                    <a:pt x="1856" y="178"/>
                    <a:pt x="1856" y="178"/>
                    <a:pt x="1856" y="178"/>
                  </a:cubicBezTo>
                  <a:lnTo>
                    <a:pt x="1909" y="178"/>
                  </a:lnTo>
                  <a:close/>
                  <a:moveTo>
                    <a:pt x="480" y="178"/>
                  </a:moveTo>
                  <a:cubicBezTo>
                    <a:pt x="480" y="278"/>
                    <a:pt x="480" y="278"/>
                    <a:pt x="480" y="278"/>
                  </a:cubicBezTo>
                  <a:cubicBezTo>
                    <a:pt x="376" y="278"/>
                    <a:pt x="376" y="278"/>
                    <a:pt x="376" y="278"/>
                  </a:cubicBezTo>
                  <a:cubicBezTo>
                    <a:pt x="376" y="178"/>
                    <a:pt x="376" y="178"/>
                    <a:pt x="376" y="178"/>
                  </a:cubicBezTo>
                  <a:lnTo>
                    <a:pt x="480" y="178"/>
                  </a:lnTo>
                  <a:close/>
                  <a:moveTo>
                    <a:pt x="474" y="44"/>
                  </a:moveTo>
                  <a:cubicBezTo>
                    <a:pt x="474" y="23"/>
                    <a:pt x="474" y="23"/>
                    <a:pt x="474" y="23"/>
                  </a:cubicBezTo>
                  <a:cubicBezTo>
                    <a:pt x="638" y="23"/>
                    <a:pt x="638" y="23"/>
                    <a:pt x="638" y="23"/>
                  </a:cubicBezTo>
                  <a:cubicBezTo>
                    <a:pt x="638" y="44"/>
                    <a:pt x="638" y="44"/>
                    <a:pt x="638" y="44"/>
                  </a:cubicBezTo>
                  <a:lnTo>
                    <a:pt x="474" y="44"/>
                  </a:lnTo>
                  <a:close/>
                  <a:moveTo>
                    <a:pt x="578" y="178"/>
                  </a:moveTo>
                  <a:cubicBezTo>
                    <a:pt x="682" y="178"/>
                    <a:pt x="682" y="178"/>
                    <a:pt x="682" y="178"/>
                  </a:cubicBezTo>
                  <a:cubicBezTo>
                    <a:pt x="682" y="278"/>
                    <a:pt x="682" y="278"/>
                    <a:pt x="682" y="278"/>
                  </a:cubicBezTo>
                  <a:cubicBezTo>
                    <a:pt x="578" y="278"/>
                    <a:pt x="578" y="278"/>
                    <a:pt x="578" y="278"/>
                  </a:cubicBezTo>
                  <a:lnTo>
                    <a:pt x="578" y="178"/>
                  </a:lnTo>
                  <a:close/>
                  <a:moveTo>
                    <a:pt x="663" y="44"/>
                  </a:moveTo>
                  <a:cubicBezTo>
                    <a:pt x="663" y="23"/>
                    <a:pt x="663" y="23"/>
                    <a:pt x="663" y="23"/>
                  </a:cubicBezTo>
                  <a:cubicBezTo>
                    <a:pt x="827" y="23"/>
                    <a:pt x="827" y="23"/>
                    <a:pt x="827" y="23"/>
                  </a:cubicBezTo>
                  <a:cubicBezTo>
                    <a:pt x="827" y="44"/>
                    <a:pt x="827" y="44"/>
                    <a:pt x="827" y="44"/>
                  </a:cubicBezTo>
                  <a:lnTo>
                    <a:pt x="663" y="44"/>
                  </a:lnTo>
                  <a:close/>
                  <a:moveTo>
                    <a:pt x="780" y="178"/>
                  </a:moveTo>
                  <a:cubicBezTo>
                    <a:pt x="884" y="178"/>
                    <a:pt x="884" y="178"/>
                    <a:pt x="884" y="178"/>
                  </a:cubicBezTo>
                  <a:cubicBezTo>
                    <a:pt x="884" y="278"/>
                    <a:pt x="884" y="278"/>
                    <a:pt x="884" y="278"/>
                  </a:cubicBezTo>
                  <a:cubicBezTo>
                    <a:pt x="780" y="278"/>
                    <a:pt x="780" y="278"/>
                    <a:pt x="780" y="278"/>
                  </a:cubicBezTo>
                  <a:lnTo>
                    <a:pt x="780" y="178"/>
                  </a:lnTo>
                  <a:close/>
                  <a:moveTo>
                    <a:pt x="852" y="44"/>
                  </a:moveTo>
                  <a:cubicBezTo>
                    <a:pt x="852" y="23"/>
                    <a:pt x="852" y="23"/>
                    <a:pt x="852" y="23"/>
                  </a:cubicBezTo>
                  <a:cubicBezTo>
                    <a:pt x="1017" y="23"/>
                    <a:pt x="1017" y="23"/>
                    <a:pt x="1017" y="23"/>
                  </a:cubicBezTo>
                  <a:cubicBezTo>
                    <a:pt x="1017" y="44"/>
                    <a:pt x="1017" y="44"/>
                    <a:pt x="1017" y="44"/>
                  </a:cubicBezTo>
                  <a:lnTo>
                    <a:pt x="852" y="44"/>
                  </a:lnTo>
                  <a:close/>
                  <a:moveTo>
                    <a:pt x="982" y="178"/>
                  </a:moveTo>
                  <a:cubicBezTo>
                    <a:pt x="1086" y="178"/>
                    <a:pt x="1086" y="178"/>
                    <a:pt x="1086" y="178"/>
                  </a:cubicBezTo>
                  <a:cubicBezTo>
                    <a:pt x="1086" y="278"/>
                    <a:pt x="1086" y="278"/>
                    <a:pt x="1086" y="278"/>
                  </a:cubicBezTo>
                  <a:cubicBezTo>
                    <a:pt x="982" y="278"/>
                    <a:pt x="982" y="278"/>
                    <a:pt x="982" y="278"/>
                  </a:cubicBezTo>
                  <a:lnTo>
                    <a:pt x="982" y="178"/>
                  </a:lnTo>
                  <a:close/>
                  <a:moveTo>
                    <a:pt x="1042" y="44"/>
                  </a:moveTo>
                  <a:cubicBezTo>
                    <a:pt x="1042" y="23"/>
                    <a:pt x="1042" y="23"/>
                    <a:pt x="1042" y="23"/>
                  </a:cubicBezTo>
                  <a:cubicBezTo>
                    <a:pt x="1206" y="23"/>
                    <a:pt x="1206" y="23"/>
                    <a:pt x="1206" y="23"/>
                  </a:cubicBezTo>
                  <a:cubicBezTo>
                    <a:pt x="1206" y="44"/>
                    <a:pt x="1206" y="44"/>
                    <a:pt x="1206" y="44"/>
                  </a:cubicBezTo>
                  <a:lnTo>
                    <a:pt x="1042" y="44"/>
                  </a:lnTo>
                  <a:close/>
                  <a:moveTo>
                    <a:pt x="1184" y="178"/>
                  </a:moveTo>
                  <a:cubicBezTo>
                    <a:pt x="1288" y="178"/>
                    <a:pt x="1288" y="178"/>
                    <a:pt x="1288" y="178"/>
                  </a:cubicBezTo>
                  <a:cubicBezTo>
                    <a:pt x="1288" y="278"/>
                    <a:pt x="1288" y="278"/>
                    <a:pt x="1288" y="278"/>
                  </a:cubicBezTo>
                  <a:cubicBezTo>
                    <a:pt x="1184" y="278"/>
                    <a:pt x="1184" y="278"/>
                    <a:pt x="1184" y="278"/>
                  </a:cubicBezTo>
                  <a:lnTo>
                    <a:pt x="1184" y="178"/>
                  </a:lnTo>
                  <a:close/>
                  <a:moveTo>
                    <a:pt x="1231" y="44"/>
                  </a:moveTo>
                  <a:cubicBezTo>
                    <a:pt x="1231" y="23"/>
                    <a:pt x="1231" y="23"/>
                    <a:pt x="1231" y="23"/>
                  </a:cubicBezTo>
                  <a:cubicBezTo>
                    <a:pt x="1395" y="23"/>
                    <a:pt x="1395" y="23"/>
                    <a:pt x="1395" y="23"/>
                  </a:cubicBezTo>
                  <a:cubicBezTo>
                    <a:pt x="1395" y="44"/>
                    <a:pt x="1395" y="44"/>
                    <a:pt x="1395" y="44"/>
                  </a:cubicBezTo>
                  <a:lnTo>
                    <a:pt x="1231" y="44"/>
                  </a:lnTo>
                  <a:close/>
                  <a:moveTo>
                    <a:pt x="1386" y="178"/>
                  </a:moveTo>
                  <a:cubicBezTo>
                    <a:pt x="1490" y="178"/>
                    <a:pt x="1490" y="178"/>
                    <a:pt x="1490" y="178"/>
                  </a:cubicBezTo>
                  <a:cubicBezTo>
                    <a:pt x="1490" y="278"/>
                    <a:pt x="1490" y="278"/>
                    <a:pt x="1490" y="278"/>
                  </a:cubicBezTo>
                  <a:cubicBezTo>
                    <a:pt x="1386" y="278"/>
                    <a:pt x="1386" y="278"/>
                    <a:pt x="1386" y="278"/>
                  </a:cubicBezTo>
                  <a:lnTo>
                    <a:pt x="1386" y="178"/>
                  </a:lnTo>
                  <a:close/>
                  <a:moveTo>
                    <a:pt x="1420" y="44"/>
                  </a:moveTo>
                  <a:cubicBezTo>
                    <a:pt x="1420" y="23"/>
                    <a:pt x="1420" y="23"/>
                    <a:pt x="1420" y="23"/>
                  </a:cubicBezTo>
                  <a:cubicBezTo>
                    <a:pt x="1584" y="23"/>
                    <a:pt x="1584" y="23"/>
                    <a:pt x="1584" y="23"/>
                  </a:cubicBezTo>
                  <a:cubicBezTo>
                    <a:pt x="1584" y="44"/>
                    <a:pt x="1584" y="44"/>
                    <a:pt x="1584" y="44"/>
                  </a:cubicBezTo>
                  <a:lnTo>
                    <a:pt x="1420" y="44"/>
                  </a:lnTo>
                  <a:close/>
                  <a:moveTo>
                    <a:pt x="1588" y="178"/>
                  </a:moveTo>
                  <a:cubicBezTo>
                    <a:pt x="1692" y="178"/>
                    <a:pt x="1692" y="178"/>
                    <a:pt x="1692" y="178"/>
                  </a:cubicBezTo>
                  <a:cubicBezTo>
                    <a:pt x="1692" y="278"/>
                    <a:pt x="1692" y="278"/>
                    <a:pt x="1692" y="278"/>
                  </a:cubicBezTo>
                  <a:cubicBezTo>
                    <a:pt x="1588" y="278"/>
                    <a:pt x="1588" y="278"/>
                    <a:pt x="1588" y="278"/>
                  </a:cubicBezTo>
                  <a:lnTo>
                    <a:pt x="1588" y="178"/>
                  </a:lnTo>
                  <a:close/>
                  <a:moveTo>
                    <a:pt x="1609" y="44"/>
                  </a:moveTo>
                  <a:cubicBezTo>
                    <a:pt x="1609" y="23"/>
                    <a:pt x="1609" y="23"/>
                    <a:pt x="1609" y="23"/>
                  </a:cubicBezTo>
                  <a:cubicBezTo>
                    <a:pt x="1773" y="23"/>
                    <a:pt x="1773" y="23"/>
                    <a:pt x="1773" y="23"/>
                  </a:cubicBezTo>
                  <a:cubicBezTo>
                    <a:pt x="1773" y="44"/>
                    <a:pt x="1773" y="44"/>
                    <a:pt x="1773" y="44"/>
                  </a:cubicBezTo>
                  <a:lnTo>
                    <a:pt x="1609" y="44"/>
                  </a:lnTo>
                  <a:close/>
                  <a:moveTo>
                    <a:pt x="1774" y="178"/>
                  </a:moveTo>
                  <a:cubicBezTo>
                    <a:pt x="1826" y="178"/>
                    <a:pt x="1826" y="178"/>
                    <a:pt x="1826" y="178"/>
                  </a:cubicBezTo>
                  <a:cubicBezTo>
                    <a:pt x="1826" y="278"/>
                    <a:pt x="1826" y="278"/>
                    <a:pt x="1826" y="278"/>
                  </a:cubicBezTo>
                  <a:cubicBezTo>
                    <a:pt x="1774" y="278"/>
                    <a:pt x="1774" y="278"/>
                    <a:pt x="1774" y="278"/>
                  </a:cubicBezTo>
                  <a:lnTo>
                    <a:pt x="1774" y="178"/>
                  </a:lnTo>
                  <a:close/>
                  <a:moveTo>
                    <a:pt x="285" y="23"/>
                  </a:moveTo>
                  <a:cubicBezTo>
                    <a:pt x="449" y="23"/>
                    <a:pt x="449" y="23"/>
                    <a:pt x="449" y="23"/>
                  </a:cubicBezTo>
                  <a:cubicBezTo>
                    <a:pt x="449" y="44"/>
                    <a:pt x="449" y="44"/>
                    <a:pt x="449" y="44"/>
                  </a:cubicBezTo>
                  <a:cubicBezTo>
                    <a:pt x="285" y="44"/>
                    <a:pt x="285" y="44"/>
                    <a:pt x="285" y="44"/>
                  </a:cubicBezTo>
                  <a:lnTo>
                    <a:pt x="285" y="23"/>
                  </a:lnTo>
                  <a:close/>
                  <a:moveTo>
                    <a:pt x="234" y="341"/>
                  </a:moveTo>
                  <a:cubicBezTo>
                    <a:pt x="159" y="341"/>
                    <a:pt x="159" y="341"/>
                    <a:pt x="159" y="341"/>
                  </a:cubicBezTo>
                  <a:cubicBezTo>
                    <a:pt x="159" y="134"/>
                    <a:pt x="159" y="134"/>
                    <a:pt x="159" y="134"/>
                  </a:cubicBezTo>
                  <a:cubicBezTo>
                    <a:pt x="234" y="134"/>
                    <a:pt x="234" y="134"/>
                    <a:pt x="234" y="134"/>
                  </a:cubicBezTo>
                  <a:lnTo>
                    <a:pt x="234" y="341"/>
                  </a:lnTo>
                  <a:close/>
                  <a:moveTo>
                    <a:pt x="2244" y="375"/>
                  </a:moveTo>
                  <a:cubicBezTo>
                    <a:pt x="244" y="375"/>
                    <a:pt x="244" y="375"/>
                    <a:pt x="244" y="375"/>
                  </a:cubicBezTo>
                  <a:cubicBezTo>
                    <a:pt x="244" y="358"/>
                    <a:pt x="244" y="358"/>
                    <a:pt x="244" y="358"/>
                  </a:cubicBezTo>
                  <a:cubicBezTo>
                    <a:pt x="2244" y="358"/>
                    <a:pt x="2244" y="358"/>
                    <a:pt x="2244" y="358"/>
                  </a:cubicBezTo>
                  <a:lnTo>
                    <a:pt x="2244" y="375"/>
                  </a:lnTo>
                  <a:close/>
                  <a:moveTo>
                    <a:pt x="2273" y="134"/>
                  </a:moveTo>
                  <a:cubicBezTo>
                    <a:pt x="2347" y="134"/>
                    <a:pt x="2347" y="134"/>
                    <a:pt x="2347" y="134"/>
                  </a:cubicBezTo>
                  <a:cubicBezTo>
                    <a:pt x="2347" y="341"/>
                    <a:pt x="2347" y="341"/>
                    <a:pt x="2347" y="341"/>
                  </a:cubicBezTo>
                  <a:cubicBezTo>
                    <a:pt x="2273" y="341"/>
                    <a:pt x="2273" y="341"/>
                    <a:pt x="2273" y="341"/>
                  </a:cubicBezTo>
                  <a:lnTo>
                    <a:pt x="2273" y="1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0" name="Oval 305"/>
            <p:cNvSpPr>
              <a:spLocks noChangeArrowheads="1"/>
            </p:cNvSpPr>
            <p:nvPr userDrawn="1"/>
          </p:nvSpPr>
          <p:spPr bwMode="auto">
            <a:xfrm>
              <a:off x="3007" y="2356"/>
              <a:ext cx="29" cy="3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1" name="Oval 306"/>
            <p:cNvSpPr>
              <a:spLocks noChangeArrowheads="1"/>
            </p:cNvSpPr>
            <p:nvPr userDrawn="1"/>
          </p:nvSpPr>
          <p:spPr bwMode="auto">
            <a:xfrm>
              <a:off x="3060" y="2356"/>
              <a:ext cx="30" cy="3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2" name="Oval 307"/>
            <p:cNvSpPr>
              <a:spLocks noChangeArrowheads="1"/>
            </p:cNvSpPr>
            <p:nvPr userDrawn="1"/>
          </p:nvSpPr>
          <p:spPr bwMode="auto">
            <a:xfrm>
              <a:off x="3114" y="2356"/>
              <a:ext cx="29" cy="3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3" name="Freeform 308"/>
            <p:cNvSpPr>
              <a:spLocks/>
            </p:cNvSpPr>
            <p:nvPr userDrawn="1"/>
          </p:nvSpPr>
          <p:spPr bwMode="auto">
            <a:xfrm>
              <a:off x="3083" y="2353"/>
              <a:ext cx="38" cy="19"/>
            </a:xfrm>
            <a:custGeom>
              <a:avLst/>
              <a:gdLst>
                <a:gd name="T0" fmla="*/ 142 w 142"/>
                <a:gd name="T1" fmla="*/ 0 h 69"/>
                <a:gd name="T2" fmla="*/ 0 w 142"/>
                <a:gd name="T3" fmla="*/ 0 h 69"/>
                <a:gd name="T4" fmla="*/ 43 w 142"/>
                <a:gd name="T5" fmla="*/ 66 h 69"/>
                <a:gd name="T6" fmla="*/ 43 w 142"/>
                <a:gd name="T7" fmla="*/ 69 h 69"/>
                <a:gd name="T8" fmla="*/ 99 w 142"/>
                <a:gd name="T9" fmla="*/ 69 h 69"/>
                <a:gd name="T10" fmla="*/ 99 w 142"/>
                <a:gd name="T11" fmla="*/ 66 h 69"/>
                <a:gd name="T12" fmla="*/ 142 w 142"/>
                <a:gd name="T13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2" h="69">
                  <a:moveTo>
                    <a:pt x="14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6" y="11"/>
                    <a:pt x="43" y="37"/>
                    <a:pt x="43" y="66"/>
                  </a:cubicBezTo>
                  <a:cubicBezTo>
                    <a:pt x="43" y="67"/>
                    <a:pt x="43" y="68"/>
                    <a:pt x="43" y="69"/>
                  </a:cubicBezTo>
                  <a:cubicBezTo>
                    <a:pt x="99" y="69"/>
                    <a:pt x="99" y="69"/>
                    <a:pt x="99" y="69"/>
                  </a:cubicBezTo>
                  <a:cubicBezTo>
                    <a:pt x="99" y="68"/>
                    <a:pt x="99" y="67"/>
                    <a:pt x="99" y="66"/>
                  </a:cubicBezTo>
                  <a:cubicBezTo>
                    <a:pt x="99" y="37"/>
                    <a:pt x="116" y="11"/>
                    <a:pt x="14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4" name="Freeform 309"/>
            <p:cNvSpPr>
              <a:spLocks/>
            </p:cNvSpPr>
            <p:nvPr userDrawn="1"/>
          </p:nvSpPr>
          <p:spPr bwMode="auto">
            <a:xfrm>
              <a:off x="3030" y="2353"/>
              <a:ext cx="37" cy="19"/>
            </a:xfrm>
            <a:custGeom>
              <a:avLst/>
              <a:gdLst>
                <a:gd name="T0" fmla="*/ 141 w 141"/>
                <a:gd name="T1" fmla="*/ 0 h 69"/>
                <a:gd name="T2" fmla="*/ 0 w 141"/>
                <a:gd name="T3" fmla="*/ 0 h 69"/>
                <a:gd name="T4" fmla="*/ 42 w 141"/>
                <a:gd name="T5" fmla="*/ 66 h 69"/>
                <a:gd name="T6" fmla="*/ 42 w 141"/>
                <a:gd name="T7" fmla="*/ 69 h 69"/>
                <a:gd name="T8" fmla="*/ 98 w 141"/>
                <a:gd name="T9" fmla="*/ 69 h 69"/>
                <a:gd name="T10" fmla="*/ 98 w 141"/>
                <a:gd name="T11" fmla="*/ 66 h 69"/>
                <a:gd name="T12" fmla="*/ 141 w 141"/>
                <a:gd name="T13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1" h="69">
                  <a:moveTo>
                    <a:pt x="14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5" y="11"/>
                    <a:pt x="42" y="37"/>
                    <a:pt x="42" y="66"/>
                  </a:cubicBezTo>
                  <a:cubicBezTo>
                    <a:pt x="42" y="67"/>
                    <a:pt x="42" y="68"/>
                    <a:pt x="42" y="69"/>
                  </a:cubicBezTo>
                  <a:cubicBezTo>
                    <a:pt x="98" y="69"/>
                    <a:pt x="98" y="69"/>
                    <a:pt x="98" y="69"/>
                  </a:cubicBezTo>
                  <a:cubicBezTo>
                    <a:pt x="98" y="68"/>
                    <a:pt x="98" y="67"/>
                    <a:pt x="98" y="66"/>
                  </a:cubicBezTo>
                  <a:cubicBezTo>
                    <a:pt x="98" y="37"/>
                    <a:pt x="116" y="11"/>
                    <a:pt x="14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5" name="Freeform 310"/>
            <p:cNvSpPr>
              <a:spLocks/>
            </p:cNvSpPr>
            <p:nvPr userDrawn="1"/>
          </p:nvSpPr>
          <p:spPr bwMode="auto">
            <a:xfrm>
              <a:off x="2995" y="2353"/>
              <a:ext cx="18" cy="17"/>
            </a:xfrm>
            <a:custGeom>
              <a:avLst/>
              <a:gdLst>
                <a:gd name="T0" fmla="*/ 70 w 70"/>
                <a:gd name="T1" fmla="*/ 0 h 61"/>
                <a:gd name="T2" fmla="*/ 1 w 70"/>
                <a:gd name="T3" fmla="*/ 0 h 61"/>
                <a:gd name="T4" fmla="*/ 0 w 70"/>
                <a:gd name="T5" fmla="*/ 11 h 61"/>
                <a:gd name="T6" fmla="*/ 28 w 70"/>
                <a:gd name="T7" fmla="*/ 61 h 61"/>
                <a:gd name="T8" fmla="*/ 70 w 70"/>
                <a:gd name="T9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61">
                  <a:moveTo>
                    <a:pt x="7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3"/>
                    <a:pt x="0" y="7"/>
                    <a:pt x="0" y="11"/>
                  </a:cubicBezTo>
                  <a:cubicBezTo>
                    <a:pt x="0" y="32"/>
                    <a:pt x="11" y="50"/>
                    <a:pt x="28" y="61"/>
                  </a:cubicBezTo>
                  <a:cubicBezTo>
                    <a:pt x="30" y="33"/>
                    <a:pt x="47" y="10"/>
                    <a:pt x="7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6" name="Oval 311"/>
            <p:cNvSpPr>
              <a:spLocks noChangeArrowheads="1"/>
            </p:cNvSpPr>
            <p:nvPr userDrawn="1"/>
          </p:nvSpPr>
          <p:spPr bwMode="auto">
            <a:xfrm>
              <a:off x="2010" y="2356"/>
              <a:ext cx="29" cy="3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7" name="Oval 312"/>
            <p:cNvSpPr>
              <a:spLocks noChangeArrowheads="1"/>
            </p:cNvSpPr>
            <p:nvPr userDrawn="1"/>
          </p:nvSpPr>
          <p:spPr bwMode="auto">
            <a:xfrm>
              <a:off x="1956" y="2356"/>
              <a:ext cx="29" cy="3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8" name="Oval 313"/>
            <p:cNvSpPr>
              <a:spLocks noChangeArrowheads="1"/>
            </p:cNvSpPr>
            <p:nvPr userDrawn="1"/>
          </p:nvSpPr>
          <p:spPr bwMode="auto">
            <a:xfrm>
              <a:off x="1903" y="2356"/>
              <a:ext cx="29" cy="3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9" name="Freeform 314"/>
            <p:cNvSpPr>
              <a:spLocks/>
            </p:cNvSpPr>
            <p:nvPr userDrawn="1"/>
          </p:nvSpPr>
          <p:spPr bwMode="auto">
            <a:xfrm>
              <a:off x="1925" y="2353"/>
              <a:ext cx="38" cy="19"/>
            </a:xfrm>
            <a:custGeom>
              <a:avLst/>
              <a:gdLst>
                <a:gd name="T0" fmla="*/ 141 w 141"/>
                <a:gd name="T1" fmla="*/ 0 h 69"/>
                <a:gd name="T2" fmla="*/ 0 w 141"/>
                <a:gd name="T3" fmla="*/ 0 h 69"/>
                <a:gd name="T4" fmla="*/ 42 w 141"/>
                <a:gd name="T5" fmla="*/ 66 h 69"/>
                <a:gd name="T6" fmla="*/ 42 w 141"/>
                <a:gd name="T7" fmla="*/ 69 h 69"/>
                <a:gd name="T8" fmla="*/ 98 w 141"/>
                <a:gd name="T9" fmla="*/ 69 h 69"/>
                <a:gd name="T10" fmla="*/ 98 w 141"/>
                <a:gd name="T11" fmla="*/ 66 h 69"/>
                <a:gd name="T12" fmla="*/ 141 w 141"/>
                <a:gd name="T13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1" h="69">
                  <a:moveTo>
                    <a:pt x="14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5" y="11"/>
                    <a:pt x="42" y="37"/>
                    <a:pt x="42" y="66"/>
                  </a:cubicBezTo>
                  <a:cubicBezTo>
                    <a:pt x="42" y="67"/>
                    <a:pt x="42" y="68"/>
                    <a:pt x="42" y="69"/>
                  </a:cubicBezTo>
                  <a:cubicBezTo>
                    <a:pt x="98" y="69"/>
                    <a:pt x="98" y="69"/>
                    <a:pt x="98" y="69"/>
                  </a:cubicBezTo>
                  <a:cubicBezTo>
                    <a:pt x="98" y="68"/>
                    <a:pt x="98" y="67"/>
                    <a:pt x="98" y="66"/>
                  </a:cubicBezTo>
                  <a:cubicBezTo>
                    <a:pt x="98" y="37"/>
                    <a:pt x="116" y="11"/>
                    <a:pt x="14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0" name="Freeform 315"/>
            <p:cNvSpPr>
              <a:spLocks/>
            </p:cNvSpPr>
            <p:nvPr userDrawn="1"/>
          </p:nvSpPr>
          <p:spPr bwMode="auto">
            <a:xfrm>
              <a:off x="1979" y="2353"/>
              <a:ext cx="37" cy="19"/>
            </a:xfrm>
            <a:custGeom>
              <a:avLst/>
              <a:gdLst>
                <a:gd name="T0" fmla="*/ 141 w 141"/>
                <a:gd name="T1" fmla="*/ 0 h 69"/>
                <a:gd name="T2" fmla="*/ 0 w 141"/>
                <a:gd name="T3" fmla="*/ 0 h 69"/>
                <a:gd name="T4" fmla="*/ 42 w 141"/>
                <a:gd name="T5" fmla="*/ 66 h 69"/>
                <a:gd name="T6" fmla="*/ 42 w 141"/>
                <a:gd name="T7" fmla="*/ 69 h 69"/>
                <a:gd name="T8" fmla="*/ 98 w 141"/>
                <a:gd name="T9" fmla="*/ 69 h 69"/>
                <a:gd name="T10" fmla="*/ 98 w 141"/>
                <a:gd name="T11" fmla="*/ 66 h 69"/>
                <a:gd name="T12" fmla="*/ 141 w 141"/>
                <a:gd name="T13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1" h="69">
                  <a:moveTo>
                    <a:pt x="14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5" y="11"/>
                    <a:pt x="42" y="37"/>
                    <a:pt x="42" y="66"/>
                  </a:cubicBezTo>
                  <a:cubicBezTo>
                    <a:pt x="42" y="67"/>
                    <a:pt x="42" y="68"/>
                    <a:pt x="42" y="69"/>
                  </a:cubicBezTo>
                  <a:cubicBezTo>
                    <a:pt x="98" y="69"/>
                    <a:pt x="98" y="69"/>
                    <a:pt x="98" y="69"/>
                  </a:cubicBezTo>
                  <a:cubicBezTo>
                    <a:pt x="98" y="68"/>
                    <a:pt x="98" y="67"/>
                    <a:pt x="98" y="66"/>
                  </a:cubicBezTo>
                  <a:cubicBezTo>
                    <a:pt x="98" y="37"/>
                    <a:pt x="116" y="11"/>
                    <a:pt x="14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1" name="Freeform 316"/>
            <p:cNvSpPr>
              <a:spLocks/>
            </p:cNvSpPr>
            <p:nvPr userDrawn="1"/>
          </p:nvSpPr>
          <p:spPr bwMode="auto">
            <a:xfrm>
              <a:off x="2032" y="2353"/>
              <a:ext cx="19" cy="17"/>
            </a:xfrm>
            <a:custGeom>
              <a:avLst/>
              <a:gdLst>
                <a:gd name="T0" fmla="*/ 0 w 71"/>
                <a:gd name="T1" fmla="*/ 0 h 61"/>
                <a:gd name="T2" fmla="*/ 43 w 71"/>
                <a:gd name="T3" fmla="*/ 61 h 61"/>
                <a:gd name="T4" fmla="*/ 71 w 71"/>
                <a:gd name="T5" fmla="*/ 11 h 61"/>
                <a:gd name="T6" fmla="*/ 70 w 71"/>
                <a:gd name="T7" fmla="*/ 0 h 61"/>
                <a:gd name="T8" fmla="*/ 0 w 71"/>
                <a:gd name="T9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1" h="61">
                  <a:moveTo>
                    <a:pt x="0" y="0"/>
                  </a:moveTo>
                  <a:cubicBezTo>
                    <a:pt x="24" y="10"/>
                    <a:pt x="41" y="33"/>
                    <a:pt x="43" y="61"/>
                  </a:cubicBezTo>
                  <a:cubicBezTo>
                    <a:pt x="59" y="50"/>
                    <a:pt x="71" y="32"/>
                    <a:pt x="71" y="11"/>
                  </a:cubicBezTo>
                  <a:cubicBezTo>
                    <a:pt x="71" y="7"/>
                    <a:pt x="70" y="3"/>
                    <a:pt x="70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2" name="Freeform 317"/>
            <p:cNvSpPr>
              <a:spLocks noEditPoints="1"/>
            </p:cNvSpPr>
            <p:nvPr userDrawn="1"/>
          </p:nvSpPr>
          <p:spPr bwMode="auto">
            <a:xfrm>
              <a:off x="1856" y="2248"/>
              <a:ext cx="664" cy="124"/>
            </a:xfrm>
            <a:custGeom>
              <a:avLst/>
              <a:gdLst>
                <a:gd name="T0" fmla="*/ 2372 w 2504"/>
                <a:gd name="T1" fmla="*/ 354 h 463"/>
                <a:gd name="T2" fmla="*/ 2387 w 2504"/>
                <a:gd name="T3" fmla="*/ 119 h 463"/>
                <a:gd name="T4" fmla="*/ 2102 w 2504"/>
                <a:gd name="T5" fmla="*/ 15 h 463"/>
                <a:gd name="T6" fmla="*/ 1884 w 2504"/>
                <a:gd name="T7" fmla="*/ 29 h 463"/>
                <a:gd name="T8" fmla="*/ 1855 w 2504"/>
                <a:gd name="T9" fmla="*/ 29 h 463"/>
                <a:gd name="T10" fmla="*/ 1637 w 2504"/>
                <a:gd name="T11" fmla="*/ 15 h 463"/>
                <a:gd name="T12" fmla="*/ 1434 w 2504"/>
                <a:gd name="T13" fmla="*/ 0 h 463"/>
                <a:gd name="T14" fmla="*/ 1231 w 2504"/>
                <a:gd name="T15" fmla="*/ 15 h 463"/>
                <a:gd name="T16" fmla="*/ 1013 w 2504"/>
                <a:gd name="T17" fmla="*/ 29 h 463"/>
                <a:gd name="T18" fmla="*/ 984 w 2504"/>
                <a:gd name="T19" fmla="*/ 29 h 463"/>
                <a:gd name="T20" fmla="*/ 766 w 2504"/>
                <a:gd name="T21" fmla="*/ 15 h 463"/>
                <a:gd name="T22" fmla="*/ 563 w 2504"/>
                <a:gd name="T23" fmla="*/ 0 h 463"/>
                <a:gd name="T24" fmla="*/ 360 w 2504"/>
                <a:gd name="T25" fmla="*/ 15 h 463"/>
                <a:gd name="T26" fmla="*/ 167 w 2504"/>
                <a:gd name="T27" fmla="*/ 29 h 463"/>
                <a:gd name="T28" fmla="*/ 46 w 2504"/>
                <a:gd name="T29" fmla="*/ 343 h 463"/>
                <a:gd name="T30" fmla="*/ 46 w 2504"/>
                <a:gd name="T31" fmla="*/ 347 h 463"/>
                <a:gd name="T32" fmla="*/ 8 w 2504"/>
                <a:gd name="T33" fmla="*/ 413 h 463"/>
                <a:gd name="T34" fmla="*/ 157 w 2504"/>
                <a:gd name="T35" fmla="*/ 455 h 463"/>
                <a:gd name="T36" fmla="*/ 1242 w 2504"/>
                <a:gd name="T37" fmla="*/ 463 h 463"/>
                <a:gd name="T38" fmla="*/ 2305 w 2504"/>
                <a:gd name="T39" fmla="*/ 376 h 463"/>
                <a:gd name="T40" fmla="*/ 2458 w 2504"/>
                <a:gd name="T41" fmla="*/ 413 h 463"/>
                <a:gd name="T42" fmla="*/ 2496 w 2504"/>
                <a:gd name="T43" fmla="*/ 347 h 463"/>
                <a:gd name="T44" fmla="*/ 2355 w 2504"/>
                <a:gd name="T45" fmla="*/ 85 h 463"/>
                <a:gd name="T46" fmla="*/ 2181 w 2504"/>
                <a:gd name="T47" fmla="*/ 163 h 463"/>
                <a:gd name="T48" fmla="*/ 2181 w 2504"/>
                <a:gd name="T49" fmla="*/ 163 h 463"/>
                <a:gd name="T50" fmla="*/ 2046 w 2504"/>
                <a:gd name="T51" fmla="*/ 163 h 463"/>
                <a:gd name="T52" fmla="*/ 1856 w 2504"/>
                <a:gd name="T53" fmla="*/ 263 h 463"/>
                <a:gd name="T54" fmla="*/ 1826 w 2504"/>
                <a:gd name="T55" fmla="*/ 263 h 463"/>
                <a:gd name="T56" fmla="*/ 1672 w 2504"/>
                <a:gd name="T57" fmla="*/ 215 h 463"/>
                <a:gd name="T58" fmla="*/ 1588 w 2504"/>
                <a:gd name="T59" fmla="*/ 263 h 463"/>
                <a:gd name="T60" fmla="*/ 1672 w 2504"/>
                <a:gd name="T61" fmla="*/ 215 h 463"/>
                <a:gd name="T62" fmla="*/ 1490 w 2504"/>
                <a:gd name="T63" fmla="*/ 263 h 463"/>
                <a:gd name="T64" fmla="*/ 1410 w 2504"/>
                <a:gd name="T65" fmla="*/ 215 h 463"/>
                <a:gd name="T66" fmla="*/ 1288 w 2504"/>
                <a:gd name="T67" fmla="*/ 163 h 463"/>
                <a:gd name="T68" fmla="*/ 1208 w 2504"/>
                <a:gd name="T69" fmla="*/ 163 h 463"/>
                <a:gd name="T70" fmla="*/ 1067 w 2504"/>
                <a:gd name="T71" fmla="*/ 163 h 463"/>
                <a:gd name="T72" fmla="*/ 982 w 2504"/>
                <a:gd name="T73" fmla="*/ 163 h 463"/>
                <a:gd name="T74" fmla="*/ 865 w 2504"/>
                <a:gd name="T75" fmla="*/ 215 h 463"/>
                <a:gd name="T76" fmla="*/ 780 w 2504"/>
                <a:gd name="T77" fmla="*/ 263 h 463"/>
                <a:gd name="T78" fmla="*/ 865 w 2504"/>
                <a:gd name="T79" fmla="*/ 215 h 463"/>
                <a:gd name="T80" fmla="*/ 682 w 2504"/>
                <a:gd name="T81" fmla="*/ 263 h 463"/>
                <a:gd name="T82" fmla="*/ 603 w 2504"/>
                <a:gd name="T83" fmla="*/ 215 h 463"/>
                <a:gd name="T84" fmla="*/ 480 w 2504"/>
                <a:gd name="T85" fmla="*/ 163 h 463"/>
                <a:gd name="T86" fmla="*/ 401 w 2504"/>
                <a:gd name="T87" fmla="*/ 163 h 463"/>
                <a:gd name="T88" fmla="*/ 159 w 2504"/>
                <a:gd name="T89" fmla="*/ 326 h 463"/>
                <a:gd name="T90" fmla="*/ 2244 w 2504"/>
                <a:gd name="T91" fmla="*/ 360 h 463"/>
                <a:gd name="T92" fmla="*/ 2244 w 2504"/>
                <a:gd name="T93" fmla="*/ 360 h 463"/>
                <a:gd name="T94" fmla="*/ 2273 w 2504"/>
                <a:gd name="T95" fmla="*/ 326 h 4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504" h="463">
                  <a:moveTo>
                    <a:pt x="2496" y="347"/>
                  </a:moveTo>
                  <a:cubicBezTo>
                    <a:pt x="2458" y="347"/>
                    <a:pt x="2458" y="347"/>
                    <a:pt x="2458" y="347"/>
                  </a:cubicBezTo>
                  <a:cubicBezTo>
                    <a:pt x="2454" y="347"/>
                    <a:pt x="2451" y="350"/>
                    <a:pt x="2450" y="354"/>
                  </a:cubicBezTo>
                  <a:cubicBezTo>
                    <a:pt x="2372" y="354"/>
                    <a:pt x="2372" y="354"/>
                    <a:pt x="2372" y="354"/>
                  </a:cubicBezTo>
                  <a:cubicBezTo>
                    <a:pt x="2376" y="351"/>
                    <a:pt x="2378" y="347"/>
                    <a:pt x="2381" y="343"/>
                  </a:cubicBezTo>
                  <a:cubicBezTo>
                    <a:pt x="2427" y="343"/>
                    <a:pt x="2427" y="343"/>
                    <a:pt x="2427" y="343"/>
                  </a:cubicBezTo>
                  <a:cubicBezTo>
                    <a:pt x="2427" y="119"/>
                    <a:pt x="2427" y="119"/>
                    <a:pt x="2427" y="119"/>
                  </a:cubicBezTo>
                  <a:cubicBezTo>
                    <a:pt x="2387" y="119"/>
                    <a:pt x="2387" y="119"/>
                    <a:pt x="2387" y="119"/>
                  </a:cubicBezTo>
                  <a:cubicBezTo>
                    <a:pt x="2387" y="89"/>
                    <a:pt x="2387" y="89"/>
                    <a:pt x="2387" y="89"/>
                  </a:cubicBezTo>
                  <a:cubicBezTo>
                    <a:pt x="2387" y="56"/>
                    <a:pt x="2358" y="29"/>
                    <a:pt x="2323" y="29"/>
                  </a:cubicBezTo>
                  <a:cubicBezTo>
                    <a:pt x="2102" y="29"/>
                    <a:pt x="2102" y="29"/>
                    <a:pt x="2102" y="29"/>
                  </a:cubicBezTo>
                  <a:cubicBezTo>
                    <a:pt x="2102" y="15"/>
                    <a:pt x="2102" y="15"/>
                    <a:pt x="2102" y="15"/>
                  </a:cubicBezTo>
                  <a:cubicBezTo>
                    <a:pt x="2102" y="6"/>
                    <a:pt x="2096" y="0"/>
                    <a:pt x="2087" y="0"/>
                  </a:cubicBezTo>
                  <a:cubicBezTo>
                    <a:pt x="2079" y="0"/>
                    <a:pt x="2073" y="6"/>
                    <a:pt x="2073" y="15"/>
                  </a:cubicBezTo>
                  <a:cubicBezTo>
                    <a:pt x="2073" y="29"/>
                    <a:pt x="2073" y="29"/>
                    <a:pt x="2073" y="29"/>
                  </a:cubicBezTo>
                  <a:cubicBezTo>
                    <a:pt x="1884" y="29"/>
                    <a:pt x="1884" y="29"/>
                    <a:pt x="1884" y="29"/>
                  </a:cubicBezTo>
                  <a:cubicBezTo>
                    <a:pt x="1884" y="15"/>
                    <a:pt x="1884" y="15"/>
                    <a:pt x="1884" y="15"/>
                  </a:cubicBezTo>
                  <a:cubicBezTo>
                    <a:pt x="1884" y="6"/>
                    <a:pt x="1878" y="0"/>
                    <a:pt x="1870" y="0"/>
                  </a:cubicBezTo>
                  <a:cubicBezTo>
                    <a:pt x="1862" y="0"/>
                    <a:pt x="1855" y="6"/>
                    <a:pt x="1855" y="15"/>
                  </a:cubicBezTo>
                  <a:cubicBezTo>
                    <a:pt x="1855" y="29"/>
                    <a:pt x="1855" y="29"/>
                    <a:pt x="1855" y="29"/>
                  </a:cubicBezTo>
                  <a:cubicBezTo>
                    <a:pt x="1667" y="29"/>
                    <a:pt x="1667" y="29"/>
                    <a:pt x="1667" y="29"/>
                  </a:cubicBezTo>
                  <a:cubicBezTo>
                    <a:pt x="1667" y="15"/>
                    <a:pt x="1667" y="15"/>
                    <a:pt x="1667" y="15"/>
                  </a:cubicBezTo>
                  <a:cubicBezTo>
                    <a:pt x="1667" y="6"/>
                    <a:pt x="1660" y="0"/>
                    <a:pt x="1652" y="0"/>
                  </a:cubicBezTo>
                  <a:cubicBezTo>
                    <a:pt x="1644" y="0"/>
                    <a:pt x="1637" y="6"/>
                    <a:pt x="1637" y="15"/>
                  </a:cubicBezTo>
                  <a:cubicBezTo>
                    <a:pt x="1637" y="29"/>
                    <a:pt x="1637" y="29"/>
                    <a:pt x="1637" y="29"/>
                  </a:cubicBezTo>
                  <a:cubicBezTo>
                    <a:pt x="1449" y="29"/>
                    <a:pt x="1449" y="29"/>
                    <a:pt x="1449" y="29"/>
                  </a:cubicBezTo>
                  <a:cubicBezTo>
                    <a:pt x="1449" y="15"/>
                    <a:pt x="1449" y="15"/>
                    <a:pt x="1449" y="15"/>
                  </a:cubicBezTo>
                  <a:cubicBezTo>
                    <a:pt x="1449" y="6"/>
                    <a:pt x="1442" y="0"/>
                    <a:pt x="1434" y="0"/>
                  </a:cubicBezTo>
                  <a:cubicBezTo>
                    <a:pt x="1426" y="0"/>
                    <a:pt x="1419" y="6"/>
                    <a:pt x="1419" y="15"/>
                  </a:cubicBezTo>
                  <a:cubicBezTo>
                    <a:pt x="1419" y="29"/>
                    <a:pt x="1419" y="29"/>
                    <a:pt x="1419" y="29"/>
                  </a:cubicBezTo>
                  <a:cubicBezTo>
                    <a:pt x="1231" y="29"/>
                    <a:pt x="1231" y="29"/>
                    <a:pt x="1231" y="29"/>
                  </a:cubicBezTo>
                  <a:cubicBezTo>
                    <a:pt x="1231" y="15"/>
                    <a:pt x="1231" y="15"/>
                    <a:pt x="1231" y="15"/>
                  </a:cubicBezTo>
                  <a:cubicBezTo>
                    <a:pt x="1231" y="6"/>
                    <a:pt x="1224" y="0"/>
                    <a:pt x="1216" y="0"/>
                  </a:cubicBezTo>
                  <a:cubicBezTo>
                    <a:pt x="1208" y="0"/>
                    <a:pt x="1202" y="6"/>
                    <a:pt x="1202" y="15"/>
                  </a:cubicBezTo>
                  <a:cubicBezTo>
                    <a:pt x="1202" y="29"/>
                    <a:pt x="1202" y="29"/>
                    <a:pt x="1202" y="29"/>
                  </a:cubicBezTo>
                  <a:cubicBezTo>
                    <a:pt x="1013" y="29"/>
                    <a:pt x="1013" y="29"/>
                    <a:pt x="1013" y="29"/>
                  </a:cubicBezTo>
                  <a:cubicBezTo>
                    <a:pt x="1013" y="15"/>
                    <a:pt x="1013" y="15"/>
                    <a:pt x="1013" y="15"/>
                  </a:cubicBezTo>
                  <a:cubicBezTo>
                    <a:pt x="1013" y="6"/>
                    <a:pt x="1007" y="0"/>
                    <a:pt x="999" y="0"/>
                  </a:cubicBezTo>
                  <a:cubicBezTo>
                    <a:pt x="990" y="0"/>
                    <a:pt x="984" y="6"/>
                    <a:pt x="984" y="15"/>
                  </a:cubicBezTo>
                  <a:cubicBezTo>
                    <a:pt x="984" y="29"/>
                    <a:pt x="984" y="29"/>
                    <a:pt x="984" y="29"/>
                  </a:cubicBezTo>
                  <a:cubicBezTo>
                    <a:pt x="795" y="29"/>
                    <a:pt x="795" y="29"/>
                    <a:pt x="795" y="29"/>
                  </a:cubicBezTo>
                  <a:cubicBezTo>
                    <a:pt x="795" y="15"/>
                    <a:pt x="795" y="15"/>
                    <a:pt x="795" y="15"/>
                  </a:cubicBezTo>
                  <a:cubicBezTo>
                    <a:pt x="795" y="6"/>
                    <a:pt x="789" y="0"/>
                    <a:pt x="781" y="0"/>
                  </a:cubicBezTo>
                  <a:cubicBezTo>
                    <a:pt x="773" y="0"/>
                    <a:pt x="766" y="6"/>
                    <a:pt x="766" y="15"/>
                  </a:cubicBezTo>
                  <a:cubicBezTo>
                    <a:pt x="766" y="29"/>
                    <a:pt x="766" y="29"/>
                    <a:pt x="766" y="29"/>
                  </a:cubicBezTo>
                  <a:cubicBezTo>
                    <a:pt x="578" y="29"/>
                    <a:pt x="578" y="29"/>
                    <a:pt x="578" y="29"/>
                  </a:cubicBezTo>
                  <a:cubicBezTo>
                    <a:pt x="578" y="15"/>
                    <a:pt x="578" y="15"/>
                    <a:pt x="578" y="15"/>
                  </a:cubicBezTo>
                  <a:cubicBezTo>
                    <a:pt x="578" y="6"/>
                    <a:pt x="571" y="0"/>
                    <a:pt x="563" y="0"/>
                  </a:cubicBezTo>
                  <a:cubicBezTo>
                    <a:pt x="555" y="0"/>
                    <a:pt x="548" y="6"/>
                    <a:pt x="548" y="15"/>
                  </a:cubicBezTo>
                  <a:cubicBezTo>
                    <a:pt x="548" y="29"/>
                    <a:pt x="548" y="29"/>
                    <a:pt x="548" y="29"/>
                  </a:cubicBezTo>
                  <a:cubicBezTo>
                    <a:pt x="360" y="29"/>
                    <a:pt x="360" y="29"/>
                    <a:pt x="360" y="29"/>
                  </a:cubicBezTo>
                  <a:cubicBezTo>
                    <a:pt x="360" y="15"/>
                    <a:pt x="360" y="15"/>
                    <a:pt x="360" y="15"/>
                  </a:cubicBezTo>
                  <a:cubicBezTo>
                    <a:pt x="360" y="6"/>
                    <a:pt x="353" y="0"/>
                    <a:pt x="345" y="0"/>
                  </a:cubicBezTo>
                  <a:cubicBezTo>
                    <a:pt x="337" y="0"/>
                    <a:pt x="330" y="6"/>
                    <a:pt x="330" y="15"/>
                  </a:cubicBezTo>
                  <a:cubicBezTo>
                    <a:pt x="330" y="29"/>
                    <a:pt x="330" y="29"/>
                    <a:pt x="330" y="29"/>
                  </a:cubicBezTo>
                  <a:cubicBezTo>
                    <a:pt x="167" y="29"/>
                    <a:pt x="167" y="29"/>
                    <a:pt x="167" y="29"/>
                  </a:cubicBezTo>
                  <a:cubicBezTo>
                    <a:pt x="131" y="29"/>
                    <a:pt x="102" y="56"/>
                    <a:pt x="102" y="89"/>
                  </a:cubicBezTo>
                  <a:cubicBezTo>
                    <a:pt x="102" y="119"/>
                    <a:pt x="102" y="119"/>
                    <a:pt x="102" y="119"/>
                  </a:cubicBezTo>
                  <a:cubicBezTo>
                    <a:pt x="46" y="119"/>
                    <a:pt x="46" y="119"/>
                    <a:pt x="46" y="119"/>
                  </a:cubicBezTo>
                  <a:cubicBezTo>
                    <a:pt x="46" y="343"/>
                    <a:pt x="46" y="343"/>
                    <a:pt x="46" y="343"/>
                  </a:cubicBezTo>
                  <a:cubicBezTo>
                    <a:pt x="109" y="343"/>
                    <a:pt x="109" y="343"/>
                    <a:pt x="109" y="343"/>
                  </a:cubicBezTo>
                  <a:cubicBezTo>
                    <a:pt x="111" y="347"/>
                    <a:pt x="114" y="351"/>
                    <a:pt x="117" y="354"/>
                  </a:cubicBezTo>
                  <a:cubicBezTo>
                    <a:pt x="54" y="354"/>
                    <a:pt x="54" y="354"/>
                    <a:pt x="54" y="354"/>
                  </a:cubicBezTo>
                  <a:cubicBezTo>
                    <a:pt x="54" y="350"/>
                    <a:pt x="50" y="347"/>
                    <a:pt x="46" y="347"/>
                  </a:cubicBezTo>
                  <a:cubicBezTo>
                    <a:pt x="8" y="347"/>
                    <a:pt x="8" y="347"/>
                    <a:pt x="8" y="347"/>
                  </a:cubicBezTo>
                  <a:cubicBezTo>
                    <a:pt x="4" y="347"/>
                    <a:pt x="0" y="351"/>
                    <a:pt x="0" y="355"/>
                  </a:cubicBezTo>
                  <a:cubicBezTo>
                    <a:pt x="0" y="405"/>
                    <a:pt x="0" y="405"/>
                    <a:pt x="0" y="405"/>
                  </a:cubicBezTo>
                  <a:cubicBezTo>
                    <a:pt x="0" y="409"/>
                    <a:pt x="4" y="413"/>
                    <a:pt x="8" y="413"/>
                  </a:cubicBezTo>
                  <a:cubicBezTo>
                    <a:pt x="46" y="413"/>
                    <a:pt x="46" y="413"/>
                    <a:pt x="46" y="413"/>
                  </a:cubicBezTo>
                  <a:cubicBezTo>
                    <a:pt x="50" y="413"/>
                    <a:pt x="54" y="410"/>
                    <a:pt x="54" y="405"/>
                  </a:cubicBezTo>
                  <a:cubicBezTo>
                    <a:pt x="129" y="405"/>
                    <a:pt x="129" y="405"/>
                    <a:pt x="129" y="405"/>
                  </a:cubicBezTo>
                  <a:cubicBezTo>
                    <a:pt x="129" y="426"/>
                    <a:pt x="140" y="444"/>
                    <a:pt x="157" y="455"/>
                  </a:cubicBezTo>
                  <a:cubicBezTo>
                    <a:pt x="159" y="430"/>
                    <a:pt x="178" y="391"/>
                    <a:pt x="200" y="376"/>
                  </a:cubicBezTo>
                  <a:cubicBezTo>
                    <a:pt x="795" y="376"/>
                    <a:pt x="795" y="376"/>
                    <a:pt x="795" y="376"/>
                  </a:cubicBezTo>
                  <a:cubicBezTo>
                    <a:pt x="1099" y="463"/>
                    <a:pt x="1099" y="463"/>
                    <a:pt x="1099" y="463"/>
                  </a:cubicBezTo>
                  <a:cubicBezTo>
                    <a:pt x="1242" y="463"/>
                    <a:pt x="1242" y="463"/>
                    <a:pt x="1242" y="463"/>
                  </a:cubicBezTo>
                  <a:cubicBezTo>
                    <a:pt x="1268" y="463"/>
                    <a:pt x="1268" y="463"/>
                    <a:pt x="1268" y="463"/>
                  </a:cubicBezTo>
                  <a:cubicBezTo>
                    <a:pt x="1390" y="463"/>
                    <a:pt x="1390" y="463"/>
                    <a:pt x="1390" y="463"/>
                  </a:cubicBezTo>
                  <a:cubicBezTo>
                    <a:pt x="1695" y="376"/>
                    <a:pt x="1695" y="376"/>
                    <a:pt x="1695" y="376"/>
                  </a:cubicBezTo>
                  <a:cubicBezTo>
                    <a:pt x="2305" y="376"/>
                    <a:pt x="2305" y="376"/>
                    <a:pt x="2305" y="376"/>
                  </a:cubicBezTo>
                  <a:cubicBezTo>
                    <a:pt x="2326" y="391"/>
                    <a:pt x="2346" y="430"/>
                    <a:pt x="2348" y="455"/>
                  </a:cubicBezTo>
                  <a:cubicBezTo>
                    <a:pt x="2364" y="444"/>
                    <a:pt x="2375" y="426"/>
                    <a:pt x="2375" y="405"/>
                  </a:cubicBezTo>
                  <a:cubicBezTo>
                    <a:pt x="2450" y="405"/>
                    <a:pt x="2450" y="405"/>
                    <a:pt x="2450" y="405"/>
                  </a:cubicBezTo>
                  <a:cubicBezTo>
                    <a:pt x="2451" y="410"/>
                    <a:pt x="2454" y="413"/>
                    <a:pt x="2458" y="413"/>
                  </a:cubicBezTo>
                  <a:cubicBezTo>
                    <a:pt x="2496" y="413"/>
                    <a:pt x="2496" y="413"/>
                    <a:pt x="2496" y="413"/>
                  </a:cubicBezTo>
                  <a:cubicBezTo>
                    <a:pt x="2501" y="413"/>
                    <a:pt x="2504" y="409"/>
                    <a:pt x="2504" y="405"/>
                  </a:cubicBezTo>
                  <a:cubicBezTo>
                    <a:pt x="2504" y="355"/>
                    <a:pt x="2504" y="355"/>
                    <a:pt x="2504" y="355"/>
                  </a:cubicBezTo>
                  <a:cubicBezTo>
                    <a:pt x="2504" y="351"/>
                    <a:pt x="2501" y="347"/>
                    <a:pt x="2496" y="347"/>
                  </a:cubicBezTo>
                  <a:close/>
                  <a:moveTo>
                    <a:pt x="134" y="69"/>
                  </a:moveTo>
                  <a:cubicBezTo>
                    <a:pt x="2355" y="69"/>
                    <a:pt x="2355" y="69"/>
                    <a:pt x="2355" y="69"/>
                  </a:cubicBezTo>
                  <a:cubicBezTo>
                    <a:pt x="2360" y="69"/>
                    <a:pt x="2364" y="72"/>
                    <a:pt x="2364" y="77"/>
                  </a:cubicBezTo>
                  <a:cubicBezTo>
                    <a:pt x="2364" y="81"/>
                    <a:pt x="2360" y="85"/>
                    <a:pt x="2355" y="85"/>
                  </a:cubicBezTo>
                  <a:cubicBezTo>
                    <a:pt x="134" y="85"/>
                    <a:pt x="134" y="85"/>
                    <a:pt x="134" y="85"/>
                  </a:cubicBezTo>
                  <a:cubicBezTo>
                    <a:pt x="130" y="85"/>
                    <a:pt x="126" y="81"/>
                    <a:pt x="126" y="77"/>
                  </a:cubicBezTo>
                  <a:cubicBezTo>
                    <a:pt x="126" y="72"/>
                    <a:pt x="130" y="69"/>
                    <a:pt x="134" y="69"/>
                  </a:cubicBezTo>
                  <a:close/>
                  <a:moveTo>
                    <a:pt x="2181" y="163"/>
                  </a:moveTo>
                  <a:cubicBezTo>
                    <a:pt x="2181" y="263"/>
                    <a:pt x="2181" y="263"/>
                    <a:pt x="2181" y="263"/>
                  </a:cubicBezTo>
                  <a:cubicBezTo>
                    <a:pt x="2128" y="263"/>
                    <a:pt x="2128" y="263"/>
                    <a:pt x="2128" y="263"/>
                  </a:cubicBezTo>
                  <a:cubicBezTo>
                    <a:pt x="2128" y="163"/>
                    <a:pt x="2128" y="163"/>
                    <a:pt x="2128" y="163"/>
                  </a:cubicBezTo>
                  <a:lnTo>
                    <a:pt x="2181" y="163"/>
                  </a:lnTo>
                  <a:close/>
                  <a:moveTo>
                    <a:pt x="2098" y="163"/>
                  </a:moveTo>
                  <a:cubicBezTo>
                    <a:pt x="2098" y="263"/>
                    <a:pt x="2098" y="263"/>
                    <a:pt x="2098" y="263"/>
                  </a:cubicBezTo>
                  <a:cubicBezTo>
                    <a:pt x="2046" y="263"/>
                    <a:pt x="2046" y="263"/>
                    <a:pt x="2046" y="263"/>
                  </a:cubicBezTo>
                  <a:cubicBezTo>
                    <a:pt x="2046" y="163"/>
                    <a:pt x="2046" y="163"/>
                    <a:pt x="2046" y="163"/>
                  </a:cubicBezTo>
                  <a:lnTo>
                    <a:pt x="2098" y="163"/>
                  </a:lnTo>
                  <a:close/>
                  <a:moveTo>
                    <a:pt x="1909" y="163"/>
                  </a:moveTo>
                  <a:cubicBezTo>
                    <a:pt x="1909" y="263"/>
                    <a:pt x="1909" y="263"/>
                    <a:pt x="1909" y="263"/>
                  </a:cubicBezTo>
                  <a:cubicBezTo>
                    <a:pt x="1856" y="263"/>
                    <a:pt x="1856" y="263"/>
                    <a:pt x="1856" y="263"/>
                  </a:cubicBezTo>
                  <a:cubicBezTo>
                    <a:pt x="1856" y="163"/>
                    <a:pt x="1856" y="163"/>
                    <a:pt x="1856" y="163"/>
                  </a:cubicBezTo>
                  <a:lnTo>
                    <a:pt x="1909" y="163"/>
                  </a:lnTo>
                  <a:close/>
                  <a:moveTo>
                    <a:pt x="1826" y="163"/>
                  </a:moveTo>
                  <a:cubicBezTo>
                    <a:pt x="1826" y="263"/>
                    <a:pt x="1826" y="263"/>
                    <a:pt x="1826" y="263"/>
                  </a:cubicBezTo>
                  <a:cubicBezTo>
                    <a:pt x="1774" y="263"/>
                    <a:pt x="1774" y="263"/>
                    <a:pt x="1774" y="263"/>
                  </a:cubicBezTo>
                  <a:cubicBezTo>
                    <a:pt x="1774" y="163"/>
                    <a:pt x="1774" y="163"/>
                    <a:pt x="1774" y="163"/>
                  </a:cubicBezTo>
                  <a:lnTo>
                    <a:pt x="1826" y="163"/>
                  </a:lnTo>
                  <a:close/>
                  <a:moveTo>
                    <a:pt x="1672" y="215"/>
                  </a:moveTo>
                  <a:cubicBezTo>
                    <a:pt x="1672" y="163"/>
                    <a:pt x="1672" y="163"/>
                    <a:pt x="1672" y="163"/>
                  </a:cubicBezTo>
                  <a:cubicBezTo>
                    <a:pt x="1692" y="163"/>
                    <a:pt x="1692" y="163"/>
                    <a:pt x="1692" y="163"/>
                  </a:cubicBezTo>
                  <a:cubicBezTo>
                    <a:pt x="1692" y="263"/>
                    <a:pt x="1692" y="263"/>
                    <a:pt x="1692" y="263"/>
                  </a:cubicBezTo>
                  <a:cubicBezTo>
                    <a:pt x="1588" y="263"/>
                    <a:pt x="1588" y="263"/>
                    <a:pt x="1588" y="263"/>
                  </a:cubicBezTo>
                  <a:cubicBezTo>
                    <a:pt x="1588" y="163"/>
                    <a:pt x="1588" y="163"/>
                    <a:pt x="1588" y="163"/>
                  </a:cubicBezTo>
                  <a:cubicBezTo>
                    <a:pt x="1611" y="163"/>
                    <a:pt x="1611" y="163"/>
                    <a:pt x="1611" y="163"/>
                  </a:cubicBezTo>
                  <a:cubicBezTo>
                    <a:pt x="1611" y="215"/>
                    <a:pt x="1611" y="215"/>
                    <a:pt x="1611" y="215"/>
                  </a:cubicBezTo>
                  <a:lnTo>
                    <a:pt x="1672" y="215"/>
                  </a:lnTo>
                  <a:close/>
                  <a:moveTo>
                    <a:pt x="1470" y="215"/>
                  </a:moveTo>
                  <a:cubicBezTo>
                    <a:pt x="1470" y="163"/>
                    <a:pt x="1470" y="163"/>
                    <a:pt x="1470" y="163"/>
                  </a:cubicBezTo>
                  <a:cubicBezTo>
                    <a:pt x="1490" y="163"/>
                    <a:pt x="1490" y="163"/>
                    <a:pt x="1490" y="163"/>
                  </a:cubicBezTo>
                  <a:cubicBezTo>
                    <a:pt x="1490" y="263"/>
                    <a:pt x="1490" y="263"/>
                    <a:pt x="1490" y="263"/>
                  </a:cubicBezTo>
                  <a:cubicBezTo>
                    <a:pt x="1386" y="263"/>
                    <a:pt x="1386" y="263"/>
                    <a:pt x="1386" y="263"/>
                  </a:cubicBezTo>
                  <a:cubicBezTo>
                    <a:pt x="1386" y="163"/>
                    <a:pt x="1386" y="163"/>
                    <a:pt x="1386" y="163"/>
                  </a:cubicBezTo>
                  <a:cubicBezTo>
                    <a:pt x="1410" y="163"/>
                    <a:pt x="1410" y="163"/>
                    <a:pt x="1410" y="163"/>
                  </a:cubicBezTo>
                  <a:cubicBezTo>
                    <a:pt x="1410" y="215"/>
                    <a:pt x="1410" y="215"/>
                    <a:pt x="1410" y="215"/>
                  </a:cubicBezTo>
                  <a:lnTo>
                    <a:pt x="1470" y="215"/>
                  </a:lnTo>
                  <a:close/>
                  <a:moveTo>
                    <a:pt x="1268" y="215"/>
                  </a:moveTo>
                  <a:cubicBezTo>
                    <a:pt x="1268" y="163"/>
                    <a:pt x="1268" y="163"/>
                    <a:pt x="1268" y="163"/>
                  </a:cubicBezTo>
                  <a:cubicBezTo>
                    <a:pt x="1288" y="163"/>
                    <a:pt x="1288" y="163"/>
                    <a:pt x="1288" y="163"/>
                  </a:cubicBezTo>
                  <a:cubicBezTo>
                    <a:pt x="1288" y="263"/>
                    <a:pt x="1288" y="263"/>
                    <a:pt x="1288" y="263"/>
                  </a:cubicBezTo>
                  <a:cubicBezTo>
                    <a:pt x="1184" y="263"/>
                    <a:pt x="1184" y="263"/>
                    <a:pt x="1184" y="263"/>
                  </a:cubicBezTo>
                  <a:cubicBezTo>
                    <a:pt x="1184" y="163"/>
                    <a:pt x="1184" y="163"/>
                    <a:pt x="1184" y="163"/>
                  </a:cubicBezTo>
                  <a:cubicBezTo>
                    <a:pt x="1208" y="163"/>
                    <a:pt x="1208" y="163"/>
                    <a:pt x="1208" y="163"/>
                  </a:cubicBezTo>
                  <a:cubicBezTo>
                    <a:pt x="1208" y="215"/>
                    <a:pt x="1208" y="215"/>
                    <a:pt x="1208" y="215"/>
                  </a:cubicBezTo>
                  <a:lnTo>
                    <a:pt x="1268" y="215"/>
                  </a:lnTo>
                  <a:close/>
                  <a:moveTo>
                    <a:pt x="1067" y="215"/>
                  </a:moveTo>
                  <a:cubicBezTo>
                    <a:pt x="1067" y="163"/>
                    <a:pt x="1067" y="163"/>
                    <a:pt x="1067" y="163"/>
                  </a:cubicBezTo>
                  <a:cubicBezTo>
                    <a:pt x="1086" y="163"/>
                    <a:pt x="1086" y="163"/>
                    <a:pt x="1086" y="163"/>
                  </a:cubicBezTo>
                  <a:cubicBezTo>
                    <a:pt x="1086" y="263"/>
                    <a:pt x="1086" y="263"/>
                    <a:pt x="1086" y="263"/>
                  </a:cubicBezTo>
                  <a:cubicBezTo>
                    <a:pt x="982" y="263"/>
                    <a:pt x="982" y="263"/>
                    <a:pt x="982" y="263"/>
                  </a:cubicBezTo>
                  <a:cubicBezTo>
                    <a:pt x="982" y="163"/>
                    <a:pt x="982" y="163"/>
                    <a:pt x="982" y="163"/>
                  </a:cubicBezTo>
                  <a:cubicBezTo>
                    <a:pt x="1006" y="163"/>
                    <a:pt x="1006" y="163"/>
                    <a:pt x="1006" y="163"/>
                  </a:cubicBezTo>
                  <a:cubicBezTo>
                    <a:pt x="1006" y="215"/>
                    <a:pt x="1006" y="215"/>
                    <a:pt x="1006" y="215"/>
                  </a:cubicBezTo>
                  <a:lnTo>
                    <a:pt x="1067" y="215"/>
                  </a:lnTo>
                  <a:close/>
                  <a:moveTo>
                    <a:pt x="865" y="215"/>
                  </a:moveTo>
                  <a:cubicBezTo>
                    <a:pt x="865" y="163"/>
                    <a:pt x="865" y="163"/>
                    <a:pt x="865" y="163"/>
                  </a:cubicBezTo>
                  <a:cubicBezTo>
                    <a:pt x="884" y="163"/>
                    <a:pt x="884" y="163"/>
                    <a:pt x="884" y="163"/>
                  </a:cubicBezTo>
                  <a:cubicBezTo>
                    <a:pt x="884" y="263"/>
                    <a:pt x="884" y="263"/>
                    <a:pt x="884" y="263"/>
                  </a:cubicBezTo>
                  <a:cubicBezTo>
                    <a:pt x="780" y="263"/>
                    <a:pt x="780" y="263"/>
                    <a:pt x="780" y="263"/>
                  </a:cubicBezTo>
                  <a:cubicBezTo>
                    <a:pt x="780" y="163"/>
                    <a:pt x="780" y="163"/>
                    <a:pt x="780" y="163"/>
                  </a:cubicBezTo>
                  <a:cubicBezTo>
                    <a:pt x="804" y="163"/>
                    <a:pt x="804" y="163"/>
                    <a:pt x="804" y="163"/>
                  </a:cubicBezTo>
                  <a:cubicBezTo>
                    <a:pt x="804" y="215"/>
                    <a:pt x="804" y="215"/>
                    <a:pt x="804" y="215"/>
                  </a:cubicBezTo>
                  <a:lnTo>
                    <a:pt x="865" y="215"/>
                  </a:lnTo>
                  <a:close/>
                  <a:moveTo>
                    <a:pt x="663" y="215"/>
                  </a:moveTo>
                  <a:cubicBezTo>
                    <a:pt x="663" y="163"/>
                    <a:pt x="663" y="163"/>
                    <a:pt x="663" y="163"/>
                  </a:cubicBezTo>
                  <a:cubicBezTo>
                    <a:pt x="682" y="163"/>
                    <a:pt x="682" y="163"/>
                    <a:pt x="682" y="163"/>
                  </a:cubicBezTo>
                  <a:cubicBezTo>
                    <a:pt x="682" y="263"/>
                    <a:pt x="682" y="263"/>
                    <a:pt x="682" y="263"/>
                  </a:cubicBezTo>
                  <a:cubicBezTo>
                    <a:pt x="578" y="263"/>
                    <a:pt x="578" y="263"/>
                    <a:pt x="578" y="263"/>
                  </a:cubicBezTo>
                  <a:cubicBezTo>
                    <a:pt x="578" y="163"/>
                    <a:pt x="578" y="163"/>
                    <a:pt x="578" y="163"/>
                  </a:cubicBezTo>
                  <a:cubicBezTo>
                    <a:pt x="603" y="163"/>
                    <a:pt x="603" y="163"/>
                    <a:pt x="603" y="163"/>
                  </a:cubicBezTo>
                  <a:cubicBezTo>
                    <a:pt x="603" y="215"/>
                    <a:pt x="603" y="215"/>
                    <a:pt x="603" y="215"/>
                  </a:cubicBezTo>
                  <a:lnTo>
                    <a:pt x="663" y="215"/>
                  </a:lnTo>
                  <a:close/>
                  <a:moveTo>
                    <a:pt x="462" y="215"/>
                  </a:moveTo>
                  <a:cubicBezTo>
                    <a:pt x="462" y="163"/>
                    <a:pt x="462" y="163"/>
                    <a:pt x="462" y="163"/>
                  </a:cubicBezTo>
                  <a:cubicBezTo>
                    <a:pt x="480" y="163"/>
                    <a:pt x="480" y="163"/>
                    <a:pt x="480" y="163"/>
                  </a:cubicBezTo>
                  <a:cubicBezTo>
                    <a:pt x="480" y="263"/>
                    <a:pt x="480" y="263"/>
                    <a:pt x="480" y="263"/>
                  </a:cubicBezTo>
                  <a:cubicBezTo>
                    <a:pt x="376" y="263"/>
                    <a:pt x="376" y="263"/>
                    <a:pt x="376" y="263"/>
                  </a:cubicBezTo>
                  <a:cubicBezTo>
                    <a:pt x="376" y="163"/>
                    <a:pt x="376" y="163"/>
                    <a:pt x="376" y="163"/>
                  </a:cubicBezTo>
                  <a:cubicBezTo>
                    <a:pt x="401" y="163"/>
                    <a:pt x="401" y="163"/>
                    <a:pt x="401" y="163"/>
                  </a:cubicBezTo>
                  <a:cubicBezTo>
                    <a:pt x="401" y="215"/>
                    <a:pt x="401" y="215"/>
                    <a:pt x="401" y="215"/>
                  </a:cubicBezTo>
                  <a:lnTo>
                    <a:pt x="462" y="215"/>
                  </a:lnTo>
                  <a:close/>
                  <a:moveTo>
                    <a:pt x="234" y="326"/>
                  </a:moveTo>
                  <a:cubicBezTo>
                    <a:pt x="159" y="326"/>
                    <a:pt x="159" y="326"/>
                    <a:pt x="159" y="326"/>
                  </a:cubicBezTo>
                  <a:cubicBezTo>
                    <a:pt x="159" y="119"/>
                    <a:pt x="159" y="119"/>
                    <a:pt x="159" y="119"/>
                  </a:cubicBezTo>
                  <a:cubicBezTo>
                    <a:pt x="234" y="119"/>
                    <a:pt x="234" y="119"/>
                    <a:pt x="234" y="119"/>
                  </a:cubicBezTo>
                  <a:lnTo>
                    <a:pt x="234" y="326"/>
                  </a:lnTo>
                  <a:close/>
                  <a:moveTo>
                    <a:pt x="2244" y="360"/>
                  </a:moveTo>
                  <a:cubicBezTo>
                    <a:pt x="244" y="360"/>
                    <a:pt x="244" y="360"/>
                    <a:pt x="244" y="360"/>
                  </a:cubicBezTo>
                  <a:cubicBezTo>
                    <a:pt x="244" y="343"/>
                    <a:pt x="244" y="343"/>
                    <a:pt x="244" y="343"/>
                  </a:cubicBezTo>
                  <a:cubicBezTo>
                    <a:pt x="2244" y="343"/>
                    <a:pt x="2244" y="343"/>
                    <a:pt x="2244" y="343"/>
                  </a:cubicBezTo>
                  <a:lnTo>
                    <a:pt x="2244" y="360"/>
                  </a:lnTo>
                  <a:close/>
                  <a:moveTo>
                    <a:pt x="2273" y="119"/>
                  </a:moveTo>
                  <a:cubicBezTo>
                    <a:pt x="2347" y="119"/>
                    <a:pt x="2347" y="119"/>
                    <a:pt x="2347" y="119"/>
                  </a:cubicBezTo>
                  <a:cubicBezTo>
                    <a:pt x="2347" y="326"/>
                    <a:pt x="2347" y="326"/>
                    <a:pt x="2347" y="326"/>
                  </a:cubicBezTo>
                  <a:cubicBezTo>
                    <a:pt x="2273" y="326"/>
                    <a:pt x="2273" y="326"/>
                    <a:pt x="2273" y="326"/>
                  </a:cubicBezTo>
                  <a:lnTo>
                    <a:pt x="2273" y="1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3" name="Oval 318"/>
            <p:cNvSpPr>
              <a:spLocks noChangeArrowheads="1"/>
            </p:cNvSpPr>
            <p:nvPr userDrawn="1"/>
          </p:nvSpPr>
          <p:spPr bwMode="auto">
            <a:xfrm>
              <a:off x="2338" y="2356"/>
              <a:ext cx="29" cy="3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4" name="Oval 319"/>
            <p:cNvSpPr>
              <a:spLocks noChangeArrowheads="1"/>
            </p:cNvSpPr>
            <p:nvPr userDrawn="1"/>
          </p:nvSpPr>
          <p:spPr bwMode="auto">
            <a:xfrm>
              <a:off x="2391" y="2356"/>
              <a:ext cx="29" cy="3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5" name="Oval 320"/>
            <p:cNvSpPr>
              <a:spLocks noChangeArrowheads="1"/>
            </p:cNvSpPr>
            <p:nvPr userDrawn="1"/>
          </p:nvSpPr>
          <p:spPr bwMode="auto">
            <a:xfrm>
              <a:off x="2445" y="2356"/>
              <a:ext cx="29" cy="3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6" name="Freeform 321"/>
            <p:cNvSpPr>
              <a:spLocks/>
            </p:cNvSpPr>
            <p:nvPr userDrawn="1"/>
          </p:nvSpPr>
          <p:spPr bwMode="auto">
            <a:xfrm>
              <a:off x="2414" y="2353"/>
              <a:ext cx="37" cy="19"/>
            </a:xfrm>
            <a:custGeom>
              <a:avLst/>
              <a:gdLst>
                <a:gd name="T0" fmla="*/ 142 w 142"/>
                <a:gd name="T1" fmla="*/ 0 h 69"/>
                <a:gd name="T2" fmla="*/ 0 w 142"/>
                <a:gd name="T3" fmla="*/ 0 h 69"/>
                <a:gd name="T4" fmla="*/ 43 w 142"/>
                <a:gd name="T5" fmla="*/ 66 h 69"/>
                <a:gd name="T6" fmla="*/ 43 w 142"/>
                <a:gd name="T7" fmla="*/ 69 h 69"/>
                <a:gd name="T8" fmla="*/ 99 w 142"/>
                <a:gd name="T9" fmla="*/ 69 h 69"/>
                <a:gd name="T10" fmla="*/ 99 w 142"/>
                <a:gd name="T11" fmla="*/ 66 h 69"/>
                <a:gd name="T12" fmla="*/ 142 w 142"/>
                <a:gd name="T13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2" h="69">
                  <a:moveTo>
                    <a:pt x="14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6" y="11"/>
                    <a:pt x="43" y="37"/>
                    <a:pt x="43" y="66"/>
                  </a:cubicBezTo>
                  <a:cubicBezTo>
                    <a:pt x="43" y="67"/>
                    <a:pt x="43" y="68"/>
                    <a:pt x="43" y="69"/>
                  </a:cubicBezTo>
                  <a:cubicBezTo>
                    <a:pt x="99" y="69"/>
                    <a:pt x="99" y="69"/>
                    <a:pt x="99" y="69"/>
                  </a:cubicBezTo>
                  <a:cubicBezTo>
                    <a:pt x="99" y="68"/>
                    <a:pt x="99" y="67"/>
                    <a:pt x="99" y="66"/>
                  </a:cubicBezTo>
                  <a:cubicBezTo>
                    <a:pt x="99" y="37"/>
                    <a:pt x="116" y="11"/>
                    <a:pt x="14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7" name="Freeform 322"/>
            <p:cNvSpPr>
              <a:spLocks/>
            </p:cNvSpPr>
            <p:nvPr userDrawn="1"/>
          </p:nvSpPr>
          <p:spPr bwMode="auto">
            <a:xfrm>
              <a:off x="2361" y="2353"/>
              <a:ext cx="37" cy="19"/>
            </a:xfrm>
            <a:custGeom>
              <a:avLst/>
              <a:gdLst>
                <a:gd name="T0" fmla="*/ 141 w 141"/>
                <a:gd name="T1" fmla="*/ 0 h 69"/>
                <a:gd name="T2" fmla="*/ 0 w 141"/>
                <a:gd name="T3" fmla="*/ 0 h 69"/>
                <a:gd name="T4" fmla="*/ 42 w 141"/>
                <a:gd name="T5" fmla="*/ 66 h 69"/>
                <a:gd name="T6" fmla="*/ 42 w 141"/>
                <a:gd name="T7" fmla="*/ 69 h 69"/>
                <a:gd name="T8" fmla="*/ 98 w 141"/>
                <a:gd name="T9" fmla="*/ 69 h 69"/>
                <a:gd name="T10" fmla="*/ 98 w 141"/>
                <a:gd name="T11" fmla="*/ 66 h 69"/>
                <a:gd name="T12" fmla="*/ 141 w 141"/>
                <a:gd name="T13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1" h="69">
                  <a:moveTo>
                    <a:pt x="14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5" y="11"/>
                    <a:pt x="42" y="37"/>
                    <a:pt x="42" y="66"/>
                  </a:cubicBezTo>
                  <a:cubicBezTo>
                    <a:pt x="42" y="67"/>
                    <a:pt x="42" y="68"/>
                    <a:pt x="42" y="69"/>
                  </a:cubicBezTo>
                  <a:cubicBezTo>
                    <a:pt x="98" y="69"/>
                    <a:pt x="98" y="69"/>
                    <a:pt x="98" y="69"/>
                  </a:cubicBezTo>
                  <a:cubicBezTo>
                    <a:pt x="98" y="68"/>
                    <a:pt x="98" y="67"/>
                    <a:pt x="98" y="66"/>
                  </a:cubicBezTo>
                  <a:cubicBezTo>
                    <a:pt x="98" y="37"/>
                    <a:pt x="116" y="11"/>
                    <a:pt x="14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8" name="Freeform 323"/>
            <p:cNvSpPr>
              <a:spLocks/>
            </p:cNvSpPr>
            <p:nvPr userDrawn="1"/>
          </p:nvSpPr>
          <p:spPr bwMode="auto">
            <a:xfrm>
              <a:off x="2326" y="2353"/>
              <a:ext cx="18" cy="17"/>
            </a:xfrm>
            <a:custGeom>
              <a:avLst/>
              <a:gdLst>
                <a:gd name="T0" fmla="*/ 70 w 70"/>
                <a:gd name="T1" fmla="*/ 0 h 61"/>
                <a:gd name="T2" fmla="*/ 1 w 70"/>
                <a:gd name="T3" fmla="*/ 0 h 61"/>
                <a:gd name="T4" fmla="*/ 0 w 70"/>
                <a:gd name="T5" fmla="*/ 11 h 61"/>
                <a:gd name="T6" fmla="*/ 28 w 70"/>
                <a:gd name="T7" fmla="*/ 61 h 61"/>
                <a:gd name="T8" fmla="*/ 70 w 70"/>
                <a:gd name="T9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61">
                  <a:moveTo>
                    <a:pt x="7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3"/>
                    <a:pt x="0" y="7"/>
                    <a:pt x="0" y="11"/>
                  </a:cubicBezTo>
                  <a:cubicBezTo>
                    <a:pt x="0" y="32"/>
                    <a:pt x="11" y="50"/>
                    <a:pt x="28" y="61"/>
                  </a:cubicBezTo>
                  <a:cubicBezTo>
                    <a:pt x="30" y="33"/>
                    <a:pt x="47" y="10"/>
                    <a:pt x="7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9" name="Rectangle 324"/>
            <p:cNvSpPr>
              <a:spLocks noChangeArrowheads="1"/>
            </p:cNvSpPr>
            <p:nvPr userDrawn="1"/>
          </p:nvSpPr>
          <p:spPr bwMode="auto">
            <a:xfrm>
              <a:off x="1833" y="2386"/>
              <a:ext cx="1973" cy="1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7" name="Group 327"/>
          <p:cNvGrpSpPr>
            <a:grpSpLocks noChangeAspect="1"/>
          </p:cNvGrpSpPr>
          <p:nvPr userDrawn="1"/>
        </p:nvGrpSpPr>
        <p:grpSpPr bwMode="auto">
          <a:xfrm rot="1993884">
            <a:off x="5748002" y="307119"/>
            <a:ext cx="898069" cy="93820"/>
            <a:chOff x="2356" y="2465"/>
            <a:chExt cx="1723" cy="135"/>
          </a:xfrm>
          <a:solidFill>
            <a:schemeClr val="bg1"/>
          </a:solidFill>
        </p:grpSpPr>
        <p:sp>
          <p:nvSpPr>
            <p:cNvPr id="343" name="Freeform 328"/>
            <p:cNvSpPr>
              <a:spLocks/>
            </p:cNvSpPr>
            <p:nvPr userDrawn="1"/>
          </p:nvSpPr>
          <p:spPr bwMode="auto">
            <a:xfrm>
              <a:off x="3356" y="2583"/>
              <a:ext cx="85" cy="9"/>
            </a:xfrm>
            <a:custGeom>
              <a:avLst/>
              <a:gdLst>
                <a:gd name="T0" fmla="*/ 0 w 374"/>
                <a:gd name="T1" fmla="*/ 0 h 38"/>
                <a:gd name="T2" fmla="*/ 12 w 374"/>
                <a:gd name="T3" fmla="*/ 4 h 38"/>
                <a:gd name="T4" fmla="*/ 12 w 374"/>
                <a:gd name="T5" fmla="*/ 4 h 38"/>
                <a:gd name="T6" fmla="*/ 49 w 374"/>
                <a:gd name="T7" fmla="*/ 38 h 38"/>
                <a:gd name="T8" fmla="*/ 86 w 374"/>
                <a:gd name="T9" fmla="*/ 4 h 38"/>
                <a:gd name="T10" fmla="*/ 104 w 374"/>
                <a:gd name="T11" fmla="*/ 4 h 38"/>
                <a:gd name="T12" fmla="*/ 141 w 374"/>
                <a:gd name="T13" fmla="*/ 38 h 38"/>
                <a:gd name="T14" fmla="*/ 178 w 374"/>
                <a:gd name="T15" fmla="*/ 4 h 38"/>
                <a:gd name="T16" fmla="*/ 196 w 374"/>
                <a:gd name="T17" fmla="*/ 4 h 38"/>
                <a:gd name="T18" fmla="*/ 233 w 374"/>
                <a:gd name="T19" fmla="*/ 38 h 38"/>
                <a:gd name="T20" fmla="*/ 270 w 374"/>
                <a:gd name="T21" fmla="*/ 4 h 38"/>
                <a:gd name="T22" fmla="*/ 288 w 374"/>
                <a:gd name="T23" fmla="*/ 4 h 38"/>
                <a:gd name="T24" fmla="*/ 325 w 374"/>
                <a:gd name="T25" fmla="*/ 38 h 38"/>
                <a:gd name="T26" fmla="*/ 361 w 374"/>
                <a:gd name="T27" fmla="*/ 4 h 38"/>
                <a:gd name="T28" fmla="*/ 361 w 374"/>
                <a:gd name="T29" fmla="*/ 4 h 38"/>
                <a:gd name="T30" fmla="*/ 374 w 374"/>
                <a:gd name="T31" fmla="*/ 0 h 38"/>
                <a:gd name="T32" fmla="*/ 0 w 374"/>
                <a:gd name="T33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74" h="38">
                  <a:moveTo>
                    <a:pt x="0" y="0"/>
                  </a:moveTo>
                  <a:cubicBezTo>
                    <a:pt x="4" y="2"/>
                    <a:pt x="8" y="3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23"/>
                    <a:pt x="28" y="38"/>
                    <a:pt x="49" y="38"/>
                  </a:cubicBezTo>
                  <a:cubicBezTo>
                    <a:pt x="69" y="38"/>
                    <a:pt x="86" y="23"/>
                    <a:pt x="86" y="4"/>
                  </a:cubicBezTo>
                  <a:cubicBezTo>
                    <a:pt x="104" y="4"/>
                    <a:pt x="104" y="4"/>
                    <a:pt x="104" y="4"/>
                  </a:cubicBezTo>
                  <a:cubicBezTo>
                    <a:pt x="104" y="23"/>
                    <a:pt x="120" y="38"/>
                    <a:pt x="141" y="38"/>
                  </a:cubicBezTo>
                  <a:cubicBezTo>
                    <a:pt x="161" y="38"/>
                    <a:pt x="178" y="23"/>
                    <a:pt x="178" y="4"/>
                  </a:cubicBezTo>
                  <a:cubicBezTo>
                    <a:pt x="196" y="4"/>
                    <a:pt x="196" y="4"/>
                    <a:pt x="196" y="4"/>
                  </a:cubicBezTo>
                  <a:cubicBezTo>
                    <a:pt x="196" y="23"/>
                    <a:pt x="212" y="38"/>
                    <a:pt x="233" y="38"/>
                  </a:cubicBezTo>
                  <a:cubicBezTo>
                    <a:pt x="253" y="38"/>
                    <a:pt x="270" y="23"/>
                    <a:pt x="270" y="4"/>
                  </a:cubicBezTo>
                  <a:cubicBezTo>
                    <a:pt x="288" y="4"/>
                    <a:pt x="288" y="4"/>
                    <a:pt x="288" y="4"/>
                  </a:cubicBezTo>
                  <a:cubicBezTo>
                    <a:pt x="288" y="23"/>
                    <a:pt x="304" y="38"/>
                    <a:pt x="325" y="38"/>
                  </a:cubicBezTo>
                  <a:cubicBezTo>
                    <a:pt x="345" y="38"/>
                    <a:pt x="361" y="23"/>
                    <a:pt x="361" y="4"/>
                  </a:cubicBezTo>
                  <a:cubicBezTo>
                    <a:pt x="361" y="4"/>
                    <a:pt x="361" y="4"/>
                    <a:pt x="361" y="4"/>
                  </a:cubicBezTo>
                  <a:cubicBezTo>
                    <a:pt x="366" y="3"/>
                    <a:pt x="370" y="2"/>
                    <a:pt x="374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44" name="Freeform 329"/>
            <p:cNvSpPr>
              <a:spLocks/>
            </p:cNvSpPr>
            <p:nvPr userDrawn="1"/>
          </p:nvSpPr>
          <p:spPr bwMode="auto">
            <a:xfrm>
              <a:off x="3002" y="2583"/>
              <a:ext cx="85" cy="9"/>
            </a:xfrm>
            <a:custGeom>
              <a:avLst/>
              <a:gdLst>
                <a:gd name="T0" fmla="*/ 0 w 374"/>
                <a:gd name="T1" fmla="*/ 0 h 38"/>
                <a:gd name="T2" fmla="*/ 12 w 374"/>
                <a:gd name="T3" fmla="*/ 4 h 38"/>
                <a:gd name="T4" fmla="*/ 12 w 374"/>
                <a:gd name="T5" fmla="*/ 4 h 38"/>
                <a:gd name="T6" fmla="*/ 49 w 374"/>
                <a:gd name="T7" fmla="*/ 38 h 38"/>
                <a:gd name="T8" fmla="*/ 86 w 374"/>
                <a:gd name="T9" fmla="*/ 4 h 38"/>
                <a:gd name="T10" fmla="*/ 104 w 374"/>
                <a:gd name="T11" fmla="*/ 4 h 38"/>
                <a:gd name="T12" fmla="*/ 141 w 374"/>
                <a:gd name="T13" fmla="*/ 38 h 38"/>
                <a:gd name="T14" fmla="*/ 178 w 374"/>
                <a:gd name="T15" fmla="*/ 4 h 38"/>
                <a:gd name="T16" fmla="*/ 196 w 374"/>
                <a:gd name="T17" fmla="*/ 4 h 38"/>
                <a:gd name="T18" fmla="*/ 233 w 374"/>
                <a:gd name="T19" fmla="*/ 38 h 38"/>
                <a:gd name="T20" fmla="*/ 270 w 374"/>
                <a:gd name="T21" fmla="*/ 4 h 38"/>
                <a:gd name="T22" fmla="*/ 288 w 374"/>
                <a:gd name="T23" fmla="*/ 4 h 38"/>
                <a:gd name="T24" fmla="*/ 325 w 374"/>
                <a:gd name="T25" fmla="*/ 38 h 38"/>
                <a:gd name="T26" fmla="*/ 362 w 374"/>
                <a:gd name="T27" fmla="*/ 4 h 38"/>
                <a:gd name="T28" fmla="*/ 362 w 374"/>
                <a:gd name="T29" fmla="*/ 4 h 38"/>
                <a:gd name="T30" fmla="*/ 374 w 374"/>
                <a:gd name="T31" fmla="*/ 0 h 38"/>
                <a:gd name="T32" fmla="*/ 0 w 374"/>
                <a:gd name="T33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74" h="38">
                  <a:moveTo>
                    <a:pt x="0" y="0"/>
                  </a:moveTo>
                  <a:cubicBezTo>
                    <a:pt x="4" y="2"/>
                    <a:pt x="8" y="3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23"/>
                    <a:pt x="29" y="38"/>
                    <a:pt x="49" y="38"/>
                  </a:cubicBezTo>
                  <a:cubicBezTo>
                    <a:pt x="69" y="38"/>
                    <a:pt x="86" y="23"/>
                    <a:pt x="86" y="4"/>
                  </a:cubicBezTo>
                  <a:cubicBezTo>
                    <a:pt x="104" y="4"/>
                    <a:pt x="104" y="4"/>
                    <a:pt x="104" y="4"/>
                  </a:cubicBezTo>
                  <a:cubicBezTo>
                    <a:pt x="104" y="23"/>
                    <a:pt x="121" y="38"/>
                    <a:pt x="141" y="38"/>
                  </a:cubicBezTo>
                  <a:cubicBezTo>
                    <a:pt x="161" y="38"/>
                    <a:pt x="178" y="23"/>
                    <a:pt x="178" y="4"/>
                  </a:cubicBezTo>
                  <a:cubicBezTo>
                    <a:pt x="196" y="4"/>
                    <a:pt x="196" y="4"/>
                    <a:pt x="196" y="4"/>
                  </a:cubicBezTo>
                  <a:cubicBezTo>
                    <a:pt x="196" y="23"/>
                    <a:pt x="213" y="38"/>
                    <a:pt x="233" y="38"/>
                  </a:cubicBezTo>
                  <a:cubicBezTo>
                    <a:pt x="253" y="38"/>
                    <a:pt x="270" y="23"/>
                    <a:pt x="270" y="4"/>
                  </a:cubicBezTo>
                  <a:cubicBezTo>
                    <a:pt x="288" y="4"/>
                    <a:pt x="288" y="4"/>
                    <a:pt x="288" y="4"/>
                  </a:cubicBezTo>
                  <a:cubicBezTo>
                    <a:pt x="288" y="23"/>
                    <a:pt x="304" y="38"/>
                    <a:pt x="325" y="38"/>
                  </a:cubicBezTo>
                  <a:cubicBezTo>
                    <a:pt x="345" y="38"/>
                    <a:pt x="362" y="23"/>
                    <a:pt x="362" y="4"/>
                  </a:cubicBezTo>
                  <a:cubicBezTo>
                    <a:pt x="362" y="4"/>
                    <a:pt x="362" y="4"/>
                    <a:pt x="362" y="4"/>
                  </a:cubicBezTo>
                  <a:cubicBezTo>
                    <a:pt x="366" y="3"/>
                    <a:pt x="370" y="2"/>
                    <a:pt x="374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45" name="Freeform 330"/>
            <p:cNvSpPr>
              <a:spLocks noEditPoints="1"/>
            </p:cNvSpPr>
            <p:nvPr userDrawn="1"/>
          </p:nvSpPr>
          <p:spPr bwMode="auto">
            <a:xfrm>
              <a:off x="2938" y="2469"/>
              <a:ext cx="558" cy="111"/>
            </a:xfrm>
            <a:custGeom>
              <a:avLst/>
              <a:gdLst>
                <a:gd name="T0" fmla="*/ 0 w 558"/>
                <a:gd name="T1" fmla="*/ 0 h 111"/>
                <a:gd name="T2" fmla="*/ 0 w 558"/>
                <a:gd name="T3" fmla="*/ 111 h 111"/>
                <a:gd name="T4" fmla="*/ 558 w 558"/>
                <a:gd name="T5" fmla="*/ 111 h 111"/>
                <a:gd name="T6" fmla="*/ 558 w 558"/>
                <a:gd name="T7" fmla="*/ 0 h 111"/>
                <a:gd name="T8" fmla="*/ 0 w 558"/>
                <a:gd name="T9" fmla="*/ 0 h 111"/>
                <a:gd name="T10" fmla="*/ 48 w 558"/>
                <a:gd name="T11" fmla="*/ 87 h 111"/>
                <a:gd name="T12" fmla="*/ 22 w 558"/>
                <a:gd name="T13" fmla="*/ 87 h 111"/>
                <a:gd name="T14" fmla="*/ 22 w 558"/>
                <a:gd name="T15" fmla="*/ 30 h 111"/>
                <a:gd name="T16" fmla="*/ 48 w 558"/>
                <a:gd name="T17" fmla="*/ 30 h 111"/>
                <a:gd name="T18" fmla="*/ 48 w 558"/>
                <a:gd name="T19" fmla="*/ 87 h 111"/>
                <a:gd name="T20" fmla="*/ 489 w 558"/>
                <a:gd name="T21" fmla="*/ 69 h 111"/>
                <a:gd name="T22" fmla="*/ 69 w 558"/>
                <a:gd name="T23" fmla="*/ 69 h 111"/>
                <a:gd name="T24" fmla="*/ 69 w 558"/>
                <a:gd name="T25" fmla="*/ 55 h 111"/>
                <a:gd name="T26" fmla="*/ 489 w 558"/>
                <a:gd name="T27" fmla="*/ 55 h 111"/>
                <a:gd name="T28" fmla="*/ 489 w 558"/>
                <a:gd name="T29" fmla="*/ 69 h 111"/>
                <a:gd name="T30" fmla="*/ 489 w 558"/>
                <a:gd name="T31" fmla="*/ 43 h 111"/>
                <a:gd name="T32" fmla="*/ 69 w 558"/>
                <a:gd name="T33" fmla="*/ 43 h 111"/>
                <a:gd name="T34" fmla="*/ 69 w 558"/>
                <a:gd name="T35" fmla="*/ 29 h 111"/>
                <a:gd name="T36" fmla="*/ 489 w 558"/>
                <a:gd name="T37" fmla="*/ 29 h 111"/>
                <a:gd name="T38" fmla="*/ 489 w 558"/>
                <a:gd name="T39" fmla="*/ 43 h 111"/>
                <a:gd name="T40" fmla="*/ 536 w 558"/>
                <a:gd name="T41" fmla="*/ 87 h 111"/>
                <a:gd name="T42" fmla="*/ 509 w 558"/>
                <a:gd name="T43" fmla="*/ 87 h 111"/>
                <a:gd name="T44" fmla="*/ 509 w 558"/>
                <a:gd name="T45" fmla="*/ 30 h 111"/>
                <a:gd name="T46" fmla="*/ 536 w 558"/>
                <a:gd name="T47" fmla="*/ 30 h 111"/>
                <a:gd name="T48" fmla="*/ 536 w 558"/>
                <a:gd name="T49" fmla="*/ 87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58" h="111">
                  <a:moveTo>
                    <a:pt x="0" y="0"/>
                  </a:moveTo>
                  <a:lnTo>
                    <a:pt x="0" y="111"/>
                  </a:lnTo>
                  <a:lnTo>
                    <a:pt x="558" y="111"/>
                  </a:lnTo>
                  <a:lnTo>
                    <a:pt x="558" y="0"/>
                  </a:lnTo>
                  <a:lnTo>
                    <a:pt x="0" y="0"/>
                  </a:lnTo>
                  <a:close/>
                  <a:moveTo>
                    <a:pt x="48" y="87"/>
                  </a:moveTo>
                  <a:lnTo>
                    <a:pt x="22" y="87"/>
                  </a:lnTo>
                  <a:lnTo>
                    <a:pt x="22" y="30"/>
                  </a:lnTo>
                  <a:lnTo>
                    <a:pt x="48" y="30"/>
                  </a:lnTo>
                  <a:lnTo>
                    <a:pt x="48" y="87"/>
                  </a:lnTo>
                  <a:close/>
                  <a:moveTo>
                    <a:pt x="489" y="69"/>
                  </a:moveTo>
                  <a:lnTo>
                    <a:pt x="69" y="69"/>
                  </a:lnTo>
                  <a:lnTo>
                    <a:pt x="69" y="55"/>
                  </a:lnTo>
                  <a:lnTo>
                    <a:pt x="489" y="55"/>
                  </a:lnTo>
                  <a:lnTo>
                    <a:pt x="489" y="69"/>
                  </a:lnTo>
                  <a:close/>
                  <a:moveTo>
                    <a:pt x="489" y="43"/>
                  </a:moveTo>
                  <a:lnTo>
                    <a:pt x="69" y="43"/>
                  </a:lnTo>
                  <a:lnTo>
                    <a:pt x="69" y="29"/>
                  </a:lnTo>
                  <a:lnTo>
                    <a:pt x="489" y="29"/>
                  </a:lnTo>
                  <a:lnTo>
                    <a:pt x="489" y="43"/>
                  </a:lnTo>
                  <a:close/>
                  <a:moveTo>
                    <a:pt x="536" y="87"/>
                  </a:moveTo>
                  <a:lnTo>
                    <a:pt x="509" y="87"/>
                  </a:lnTo>
                  <a:lnTo>
                    <a:pt x="509" y="30"/>
                  </a:lnTo>
                  <a:lnTo>
                    <a:pt x="536" y="30"/>
                  </a:lnTo>
                  <a:lnTo>
                    <a:pt x="536" y="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46" name="Freeform 331"/>
            <p:cNvSpPr>
              <a:spLocks/>
            </p:cNvSpPr>
            <p:nvPr userDrawn="1"/>
          </p:nvSpPr>
          <p:spPr bwMode="auto">
            <a:xfrm>
              <a:off x="3934" y="2583"/>
              <a:ext cx="85" cy="9"/>
            </a:xfrm>
            <a:custGeom>
              <a:avLst/>
              <a:gdLst>
                <a:gd name="T0" fmla="*/ 0 w 374"/>
                <a:gd name="T1" fmla="*/ 0 h 38"/>
                <a:gd name="T2" fmla="*/ 12 w 374"/>
                <a:gd name="T3" fmla="*/ 4 h 38"/>
                <a:gd name="T4" fmla="*/ 12 w 374"/>
                <a:gd name="T5" fmla="*/ 4 h 38"/>
                <a:gd name="T6" fmla="*/ 49 w 374"/>
                <a:gd name="T7" fmla="*/ 38 h 38"/>
                <a:gd name="T8" fmla="*/ 86 w 374"/>
                <a:gd name="T9" fmla="*/ 4 h 38"/>
                <a:gd name="T10" fmla="*/ 104 w 374"/>
                <a:gd name="T11" fmla="*/ 4 h 38"/>
                <a:gd name="T12" fmla="*/ 141 w 374"/>
                <a:gd name="T13" fmla="*/ 38 h 38"/>
                <a:gd name="T14" fmla="*/ 178 w 374"/>
                <a:gd name="T15" fmla="*/ 4 h 38"/>
                <a:gd name="T16" fmla="*/ 196 w 374"/>
                <a:gd name="T17" fmla="*/ 4 h 38"/>
                <a:gd name="T18" fmla="*/ 233 w 374"/>
                <a:gd name="T19" fmla="*/ 38 h 38"/>
                <a:gd name="T20" fmla="*/ 270 w 374"/>
                <a:gd name="T21" fmla="*/ 4 h 38"/>
                <a:gd name="T22" fmla="*/ 288 w 374"/>
                <a:gd name="T23" fmla="*/ 4 h 38"/>
                <a:gd name="T24" fmla="*/ 325 w 374"/>
                <a:gd name="T25" fmla="*/ 38 h 38"/>
                <a:gd name="T26" fmla="*/ 362 w 374"/>
                <a:gd name="T27" fmla="*/ 4 h 38"/>
                <a:gd name="T28" fmla="*/ 361 w 374"/>
                <a:gd name="T29" fmla="*/ 4 h 38"/>
                <a:gd name="T30" fmla="*/ 374 w 374"/>
                <a:gd name="T31" fmla="*/ 0 h 38"/>
                <a:gd name="T32" fmla="*/ 0 w 374"/>
                <a:gd name="T33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74" h="38">
                  <a:moveTo>
                    <a:pt x="0" y="0"/>
                  </a:moveTo>
                  <a:cubicBezTo>
                    <a:pt x="4" y="2"/>
                    <a:pt x="8" y="3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23"/>
                    <a:pt x="29" y="38"/>
                    <a:pt x="49" y="38"/>
                  </a:cubicBezTo>
                  <a:cubicBezTo>
                    <a:pt x="69" y="38"/>
                    <a:pt x="86" y="23"/>
                    <a:pt x="86" y="4"/>
                  </a:cubicBezTo>
                  <a:cubicBezTo>
                    <a:pt x="104" y="4"/>
                    <a:pt x="104" y="4"/>
                    <a:pt x="104" y="4"/>
                  </a:cubicBezTo>
                  <a:cubicBezTo>
                    <a:pt x="104" y="23"/>
                    <a:pt x="120" y="38"/>
                    <a:pt x="141" y="38"/>
                  </a:cubicBezTo>
                  <a:cubicBezTo>
                    <a:pt x="161" y="38"/>
                    <a:pt x="178" y="23"/>
                    <a:pt x="178" y="4"/>
                  </a:cubicBezTo>
                  <a:cubicBezTo>
                    <a:pt x="196" y="4"/>
                    <a:pt x="196" y="4"/>
                    <a:pt x="196" y="4"/>
                  </a:cubicBezTo>
                  <a:cubicBezTo>
                    <a:pt x="196" y="23"/>
                    <a:pt x="212" y="38"/>
                    <a:pt x="233" y="38"/>
                  </a:cubicBezTo>
                  <a:cubicBezTo>
                    <a:pt x="253" y="38"/>
                    <a:pt x="270" y="23"/>
                    <a:pt x="270" y="4"/>
                  </a:cubicBezTo>
                  <a:cubicBezTo>
                    <a:pt x="288" y="4"/>
                    <a:pt x="288" y="4"/>
                    <a:pt x="288" y="4"/>
                  </a:cubicBezTo>
                  <a:cubicBezTo>
                    <a:pt x="288" y="23"/>
                    <a:pt x="304" y="38"/>
                    <a:pt x="325" y="38"/>
                  </a:cubicBezTo>
                  <a:cubicBezTo>
                    <a:pt x="345" y="38"/>
                    <a:pt x="362" y="23"/>
                    <a:pt x="362" y="4"/>
                  </a:cubicBezTo>
                  <a:cubicBezTo>
                    <a:pt x="362" y="4"/>
                    <a:pt x="361" y="4"/>
                    <a:pt x="361" y="4"/>
                  </a:cubicBezTo>
                  <a:cubicBezTo>
                    <a:pt x="366" y="3"/>
                    <a:pt x="370" y="2"/>
                    <a:pt x="374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47" name="Freeform 332"/>
            <p:cNvSpPr>
              <a:spLocks/>
            </p:cNvSpPr>
            <p:nvPr userDrawn="1"/>
          </p:nvSpPr>
          <p:spPr bwMode="auto">
            <a:xfrm>
              <a:off x="3554" y="2583"/>
              <a:ext cx="85" cy="9"/>
            </a:xfrm>
            <a:custGeom>
              <a:avLst/>
              <a:gdLst>
                <a:gd name="T0" fmla="*/ 0 w 373"/>
                <a:gd name="T1" fmla="*/ 0 h 38"/>
                <a:gd name="T2" fmla="*/ 12 w 373"/>
                <a:gd name="T3" fmla="*/ 4 h 38"/>
                <a:gd name="T4" fmla="*/ 12 w 373"/>
                <a:gd name="T5" fmla="*/ 4 h 38"/>
                <a:gd name="T6" fmla="*/ 49 w 373"/>
                <a:gd name="T7" fmla="*/ 38 h 38"/>
                <a:gd name="T8" fmla="*/ 85 w 373"/>
                <a:gd name="T9" fmla="*/ 4 h 38"/>
                <a:gd name="T10" fmla="*/ 104 w 373"/>
                <a:gd name="T11" fmla="*/ 4 h 38"/>
                <a:gd name="T12" fmla="*/ 141 w 373"/>
                <a:gd name="T13" fmla="*/ 38 h 38"/>
                <a:gd name="T14" fmla="*/ 177 w 373"/>
                <a:gd name="T15" fmla="*/ 4 h 38"/>
                <a:gd name="T16" fmla="*/ 196 w 373"/>
                <a:gd name="T17" fmla="*/ 4 h 38"/>
                <a:gd name="T18" fmla="*/ 232 w 373"/>
                <a:gd name="T19" fmla="*/ 38 h 38"/>
                <a:gd name="T20" fmla="*/ 269 w 373"/>
                <a:gd name="T21" fmla="*/ 4 h 38"/>
                <a:gd name="T22" fmla="*/ 288 w 373"/>
                <a:gd name="T23" fmla="*/ 4 h 38"/>
                <a:gd name="T24" fmla="*/ 324 w 373"/>
                <a:gd name="T25" fmla="*/ 38 h 38"/>
                <a:gd name="T26" fmla="*/ 361 w 373"/>
                <a:gd name="T27" fmla="*/ 4 h 38"/>
                <a:gd name="T28" fmla="*/ 361 w 373"/>
                <a:gd name="T29" fmla="*/ 4 h 38"/>
                <a:gd name="T30" fmla="*/ 373 w 373"/>
                <a:gd name="T31" fmla="*/ 0 h 38"/>
                <a:gd name="T32" fmla="*/ 0 w 373"/>
                <a:gd name="T33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73" h="38">
                  <a:moveTo>
                    <a:pt x="0" y="0"/>
                  </a:moveTo>
                  <a:cubicBezTo>
                    <a:pt x="3" y="2"/>
                    <a:pt x="7" y="3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23"/>
                    <a:pt x="28" y="38"/>
                    <a:pt x="49" y="38"/>
                  </a:cubicBezTo>
                  <a:cubicBezTo>
                    <a:pt x="69" y="38"/>
                    <a:pt x="85" y="23"/>
                    <a:pt x="85" y="4"/>
                  </a:cubicBezTo>
                  <a:cubicBezTo>
                    <a:pt x="104" y="4"/>
                    <a:pt x="104" y="4"/>
                    <a:pt x="104" y="4"/>
                  </a:cubicBezTo>
                  <a:cubicBezTo>
                    <a:pt x="104" y="23"/>
                    <a:pt x="120" y="38"/>
                    <a:pt x="141" y="38"/>
                  </a:cubicBezTo>
                  <a:cubicBezTo>
                    <a:pt x="161" y="38"/>
                    <a:pt x="177" y="23"/>
                    <a:pt x="177" y="4"/>
                  </a:cubicBezTo>
                  <a:cubicBezTo>
                    <a:pt x="196" y="4"/>
                    <a:pt x="196" y="4"/>
                    <a:pt x="196" y="4"/>
                  </a:cubicBezTo>
                  <a:cubicBezTo>
                    <a:pt x="196" y="23"/>
                    <a:pt x="212" y="38"/>
                    <a:pt x="232" y="38"/>
                  </a:cubicBezTo>
                  <a:cubicBezTo>
                    <a:pt x="253" y="38"/>
                    <a:pt x="269" y="23"/>
                    <a:pt x="269" y="4"/>
                  </a:cubicBezTo>
                  <a:cubicBezTo>
                    <a:pt x="288" y="4"/>
                    <a:pt x="288" y="4"/>
                    <a:pt x="288" y="4"/>
                  </a:cubicBezTo>
                  <a:cubicBezTo>
                    <a:pt x="288" y="23"/>
                    <a:pt x="304" y="38"/>
                    <a:pt x="324" y="38"/>
                  </a:cubicBezTo>
                  <a:cubicBezTo>
                    <a:pt x="345" y="38"/>
                    <a:pt x="361" y="23"/>
                    <a:pt x="361" y="4"/>
                  </a:cubicBezTo>
                  <a:cubicBezTo>
                    <a:pt x="361" y="4"/>
                    <a:pt x="361" y="4"/>
                    <a:pt x="361" y="4"/>
                  </a:cubicBezTo>
                  <a:cubicBezTo>
                    <a:pt x="366" y="3"/>
                    <a:pt x="370" y="2"/>
                    <a:pt x="373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48" name="Freeform 333"/>
            <p:cNvSpPr>
              <a:spLocks noEditPoints="1"/>
            </p:cNvSpPr>
            <p:nvPr userDrawn="1"/>
          </p:nvSpPr>
          <p:spPr bwMode="auto">
            <a:xfrm>
              <a:off x="3499" y="2465"/>
              <a:ext cx="580" cy="115"/>
            </a:xfrm>
            <a:custGeom>
              <a:avLst/>
              <a:gdLst>
                <a:gd name="T0" fmla="*/ 1532 w 2550"/>
                <a:gd name="T1" fmla="*/ 19 h 505"/>
                <a:gd name="T2" fmla="*/ 0 w 2550"/>
                <a:gd name="T3" fmla="*/ 18 h 505"/>
                <a:gd name="T4" fmla="*/ 0 w 2550"/>
                <a:gd name="T5" fmla="*/ 196 h 505"/>
                <a:gd name="T6" fmla="*/ 0 w 2550"/>
                <a:gd name="T7" fmla="*/ 364 h 505"/>
                <a:gd name="T8" fmla="*/ 0 w 2550"/>
                <a:gd name="T9" fmla="*/ 505 h 505"/>
                <a:gd name="T10" fmla="*/ 2550 w 2550"/>
                <a:gd name="T11" fmla="*/ 505 h 505"/>
                <a:gd name="T12" fmla="*/ 1532 w 2550"/>
                <a:gd name="T13" fmla="*/ 19 h 505"/>
                <a:gd name="T14" fmla="*/ 193 w 2550"/>
                <a:gd name="T15" fmla="*/ 398 h 505"/>
                <a:gd name="T16" fmla="*/ 74 w 2550"/>
                <a:gd name="T17" fmla="*/ 398 h 505"/>
                <a:gd name="T18" fmla="*/ 74 w 2550"/>
                <a:gd name="T19" fmla="*/ 152 h 505"/>
                <a:gd name="T20" fmla="*/ 193 w 2550"/>
                <a:gd name="T21" fmla="*/ 152 h 505"/>
                <a:gd name="T22" fmla="*/ 193 w 2550"/>
                <a:gd name="T23" fmla="*/ 398 h 505"/>
                <a:gd name="T24" fmla="*/ 1923 w 2550"/>
                <a:gd name="T25" fmla="*/ 322 h 505"/>
                <a:gd name="T26" fmla="*/ 254 w 2550"/>
                <a:gd name="T27" fmla="*/ 322 h 505"/>
                <a:gd name="T28" fmla="*/ 254 w 2550"/>
                <a:gd name="T29" fmla="*/ 261 h 505"/>
                <a:gd name="T30" fmla="*/ 1923 w 2550"/>
                <a:gd name="T31" fmla="*/ 261 h 505"/>
                <a:gd name="T32" fmla="*/ 1923 w 2550"/>
                <a:gd name="T33" fmla="*/ 322 h 505"/>
                <a:gd name="T34" fmla="*/ 1923 w 2550"/>
                <a:gd name="T35" fmla="*/ 208 h 505"/>
                <a:gd name="T36" fmla="*/ 254 w 2550"/>
                <a:gd name="T37" fmla="*/ 208 h 505"/>
                <a:gd name="T38" fmla="*/ 254 w 2550"/>
                <a:gd name="T39" fmla="*/ 147 h 505"/>
                <a:gd name="T40" fmla="*/ 1923 w 2550"/>
                <a:gd name="T41" fmla="*/ 147 h 505"/>
                <a:gd name="T42" fmla="*/ 1923 w 2550"/>
                <a:gd name="T43" fmla="*/ 208 h 505"/>
                <a:gd name="T44" fmla="*/ 2325 w 2550"/>
                <a:gd name="T45" fmla="*/ 350 h 505"/>
                <a:gd name="T46" fmla="*/ 2157 w 2550"/>
                <a:gd name="T47" fmla="*/ 298 h 505"/>
                <a:gd name="T48" fmla="*/ 2045 w 2550"/>
                <a:gd name="T49" fmla="*/ 172 h 505"/>
                <a:gd name="T50" fmla="*/ 2213 w 2550"/>
                <a:gd name="T51" fmla="*/ 225 h 505"/>
                <a:gd name="T52" fmla="*/ 2325 w 2550"/>
                <a:gd name="T53" fmla="*/ 350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550" h="505">
                  <a:moveTo>
                    <a:pt x="1532" y="19"/>
                  </a:moveTo>
                  <a:cubicBezTo>
                    <a:pt x="0" y="18"/>
                    <a:pt x="0" y="18"/>
                    <a:pt x="0" y="18"/>
                  </a:cubicBezTo>
                  <a:cubicBezTo>
                    <a:pt x="0" y="196"/>
                    <a:pt x="0" y="196"/>
                    <a:pt x="0" y="196"/>
                  </a:cubicBezTo>
                  <a:cubicBezTo>
                    <a:pt x="0" y="364"/>
                    <a:pt x="0" y="364"/>
                    <a:pt x="0" y="364"/>
                  </a:cubicBezTo>
                  <a:cubicBezTo>
                    <a:pt x="0" y="505"/>
                    <a:pt x="0" y="505"/>
                    <a:pt x="0" y="505"/>
                  </a:cubicBezTo>
                  <a:cubicBezTo>
                    <a:pt x="2550" y="505"/>
                    <a:pt x="2550" y="505"/>
                    <a:pt x="2550" y="505"/>
                  </a:cubicBezTo>
                  <a:cubicBezTo>
                    <a:pt x="2550" y="505"/>
                    <a:pt x="2458" y="0"/>
                    <a:pt x="1532" y="19"/>
                  </a:cubicBezTo>
                  <a:close/>
                  <a:moveTo>
                    <a:pt x="193" y="398"/>
                  </a:moveTo>
                  <a:cubicBezTo>
                    <a:pt x="74" y="398"/>
                    <a:pt x="74" y="398"/>
                    <a:pt x="74" y="398"/>
                  </a:cubicBezTo>
                  <a:cubicBezTo>
                    <a:pt x="74" y="152"/>
                    <a:pt x="74" y="152"/>
                    <a:pt x="74" y="152"/>
                  </a:cubicBezTo>
                  <a:cubicBezTo>
                    <a:pt x="193" y="152"/>
                    <a:pt x="193" y="152"/>
                    <a:pt x="193" y="152"/>
                  </a:cubicBezTo>
                  <a:lnTo>
                    <a:pt x="193" y="398"/>
                  </a:lnTo>
                  <a:close/>
                  <a:moveTo>
                    <a:pt x="1923" y="322"/>
                  </a:moveTo>
                  <a:cubicBezTo>
                    <a:pt x="254" y="322"/>
                    <a:pt x="254" y="322"/>
                    <a:pt x="254" y="322"/>
                  </a:cubicBezTo>
                  <a:cubicBezTo>
                    <a:pt x="254" y="261"/>
                    <a:pt x="254" y="261"/>
                    <a:pt x="254" y="261"/>
                  </a:cubicBezTo>
                  <a:cubicBezTo>
                    <a:pt x="1923" y="261"/>
                    <a:pt x="1923" y="261"/>
                    <a:pt x="1923" y="261"/>
                  </a:cubicBezTo>
                  <a:lnTo>
                    <a:pt x="1923" y="322"/>
                  </a:lnTo>
                  <a:close/>
                  <a:moveTo>
                    <a:pt x="1923" y="208"/>
                  </a:moveTo>
                  <a:cubicBezTo>
                    <a:pt x="254" y="208"/>
                    <a:pt x="254" y="208"/>
                    <a:pt x="254" y="208"/>
                  </a:cubicBezTo>
                  <a:cubicBezTo>
                    <a:pt x="254" y="147"/>
                    <a:pt x="254" y="147"/>
                    <a:pt x="254" y="147"/>
                  </a:cubicBezTo>
                  <a:cubicBezTo>
                    <a:pt x="1923" y="147"/>
                    <a:pt x="1923" y="147"/>
                    <a:pt x="1923" y="147"/>
                  </a:cubicBezTo>
                  <a:lnTo>
                    <a:pt x="1923" y="208"/>
                  </a:lnTo>
                  <a:close/>
                  <a:moveTo>
                    <a:pt x="2325" y="350"/>
                  </a:moveTo>
                  <a:cubicBezTo>
                    <a:pt x="2310" y="371"/>
                    <a:pt x="2235" y="347"/>
                    <a:pt x="2157" y="298"/>
                  </a:cubicBezTo>
                  <a:cubicBezTo>
                    <a:pt x="2080" y="249"/>
                    <a:pt x="2030" y="193"/>
                    <a:pt x="2045" y="172"/>
                  </a:cubicBezTo>
                  <a:cubicBezTo>
                    <a:pt x="2061" y="152"/>
                    <a:pt x="2136" y="176"/>
                    <a:pt x="2213" y="225"/>
                  </a:cubicBezTo>
                  <a:cubicBezTo>
                    <a:pt x="2290" y="274"/>
                    <a:pt x="2340" y="330"/>
                    <a:pt x="2325" y="3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49" name="Freeform 334"/>
            <p:cNvSpPr>
              <a:spLocks/>
            </p:cNvSpPr>
            <p:nvPr userDrawn="1"/>
          </p:nvSpPr>
          <p:spPr bwMode="auto">
            <a:xfrm>
              <a:off x="2416" y="2583"/>
              <a:ext cx="85" cy="9"/>
            </a:xfrm>
            <a:custGeom>
              <a:avLst/>
              <a:gdLst>
                <a:gd name="T0" fmla="*/ 0 w 374"/>
                <a:gd name="T1" fmla="*/ 0 h 38"/>
                <a:gd name="T2" fmla="*/ 13 w 374"/>
                <a:gd name="T3" fmla="*/ 4 h 38"/>
                <a:gd name="T4" fmla="*/ 12 w 374"/>
                <a:gd name="T5" fmla="*/ 4 h 38"/>
                <a:gd name="T6" fmla="*/ 49 w 374"/>
                <a:gd name="T7" fmla="*/ 38 h 38"/>
                <a:gd name="T8" fmla="*/ 86 w 374"/>
                <a:gd name="T9" fmla="*/ 4 h 38"/>
                <a:gd name="T10" fmla="*/ 104 w 374"/>
                <a:gd name="T11" fmla="*/ 4 h 38"/>
                <a:gd name="T12" fmla="*/ 141 w 374"/>
                <a:gd name="T13" fmla="*/ 38 h 38"/>
                <a:gd name="T14" fmla="*/ 178 w 374"/>
                <a:gd name="T15" fmla="*/ 4 h 38"/>
                <a:gd name="T16" fmla="*/ 196 w 374"/>
                <a:gd name="T17" fmla="*/ 4 h 38"/>
                <a:gd name="T18" fmla="*/ 233 w 374"/>
                <a:gd name="T19" fmla="*/ 38 h 38"/>
                <a:gd name="T20" fmla="*/ 270 w 374"/>
                <a:gd name="T21" fmla="*/ 4 h 38"/>
                <a:gd name="T22" fmla="*/ 288 w 374"/>
                <a:gd name="T23" fmla="*/ 4 h 38"/>
                <a:gd name="T24" fmla="*/ 325 w 374"/>
                <a:gd name="T25" fmla="*/ 38 h 38"/>
                <a:gd name="T26" fmla="*/ 362 w 374"/>
                <a:gd name="T27" fmla="*/ 4 h 38"/>
                <a:gd name="T28" fmla="*/ 362 w 374"/>
                <a:gd name="T29" fmla="*/ 4 h 38"/>
                <a:gd name="T30" fmla="*/ 374 w 374"/>
                <a:gd name="T31" fmla="*/ 0 h 38"/>
                <a:gd name="T32" fmla="*/ 0 w 374"/>
                <a:gd name="T33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74" h="38">
                  <a:moveTo>
                    <a:pt x="0" y="0"/>
                  </a:moveTo>
                  <a:cubicBezTo>
                    <a:pt x="4" y="2"/>
                    <a:pt x="8" y="3"/>
                    <a:pt x="13" y="4"/>
                  </a:cubicBezTo>
                  <a:cubicBezTo>
                    <a:pt x="13" y="4"/>
                    <a:pt x="12" y="4"/>
                    <a:pt x="12" y="4"/>
                  </a:cubicBezTo>
                  <a:cubicBezTo>
                    <a:pt x="12" y="23"/>
                    <a:pt x="29" y="38"/>
                    <a:pt x="49" y="38"/>
                  </a:cubicBezTo>
                  <a:cubicBezTo>
                    <a:pt x="70" y="38"/>
                    <a:pt x="86" y="23"/>
                    <a:pt x="86" y="4"/>
                  </a:cubicBezTo>
                  <a:cubicBezTo>
                    <a:pt x="104" y="4"/>
                    <a:pt x="104" y="4"/>
                    <a:pt x="104" y="4"/>
                  </a:cubicBezTo>
                  <a:cubicBezTo>
                    <a:pt x="104" y="23"/>
                    <a:pt x="121" y="38"/>
                    <a:pt x="141" y="38"/>
                  </a:cubicBezTo>
                  <a:cubicBezTo>
                    <a:pt x="162" y="38"/>
                    <a:pt x="178" y="23"/>
                    <a:pt x="178" y="4"/>
                  </a:cubicBezTo>
                  <a:cubicBezTo>
                    <a:pt x="196" y="4"/>
                    <a:pt x="196" y="4"/>
                    <a:pt x="196" y="4"/>
                  </a:cubicBezTo>
                  <a:cubicBezTo>
                    <a:pt x="196" y="23"/>
                    <a:pt x="213" y="38"/>
                    <a:pt x="233" y="38"/>
                  </a:cubicBezTo>
                  <a:cubicBezTo>
                    <a:pt x="254" y="38"/>
                    <a:pt x="270" y="23"/>
                    <a:pt x="270" y="4"/>
                  </a:cubicBezTo>
                  <a:cubicBezTo>
                    <a:pt x="288" y="4"/>
                    <a:pt x="288" y="4"/>
                    <a:pt x="288" y="4"/>
                  </a:cubicBezTo>
                  <a:cubicBezTo>
                    <a:pt x="288" y="23"/>
                    <a:pt x="305" y="38"/>
                    <a:pt x="325" y="38"/>
                  </a:cubicBezTo>
                  <a:cubicBezTo>
                    <a:pt x="345" y="38"/>
                    <a:pt x="362" y="23"/>
                    <a:pt x="362" y="4"/>
                  </a:cubicBezTo>
                  <a:cubicBezTo>
                    <a:pt x="362" y="4"/>
                    <a:pt x="362" y="4"/>
                    <a:pt x="362" y="4"/>
                  </a:cubicBezTo>
                  <a:cubicBezTo>
                    <a:pt x="366" y="3"/>
                    <a:pt x="370" y="2"/>
                    <a:pt x="374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50" name="Freeform 335"/>
            <p:cNvSpPr>
              <a:spLocks/>
            </p:cNvSpPr>
            <p:nvPr userDrawn="1"/>
          </p:nvSpPr>
          <p:spPr bwMode="auto">
            <a:xfrm>
              <a:off x="2796" y="2583"/>
              <a:ext cx="84" cy="9"/>
            </a:xfrm>
            <a:custGeom>
              <a:avLst/>
              <a:gdLst>
                <a:gd name="T0" fmla="*/ 0 w 373"/>
                <a:gd name="T1" fmla="*/ 0 h 38"/>
                <a:gd name="T2" fmla="*/ 12 w 373"/>
                <a:gd name="T3" fmla="*/ 4 h 38"/>
                <a:gd name="T4" fmla="*/ 12 w 373"/>
                <a:gd name="T5" fmla="*/ 4 h 38"/>
                <a:gd name="T6" fmla="*/ 49 w 373"/>
                <a:gd name="T7" fmla="*/ 38 h 38"/>
                <a:gd name="T8" fmla="*/ 85 w 373"/>
                <a:gd name="T9" fmla="*/ 4 h 38"/>
                <a:gd name="T10" fmla="*/ 104 w 373"/>
                <a:gd name="T11" fmla="*/ 4 h 38"/>
                <a:gd name="T12" fmla="*/ 141 w 373"/>
                <a:gd name="T13" fmla="*/ 38 h 38"/>
                <a:gd name="T14" fmla="*/ 177 w 373"/>
                <a:gd name="T15" fmla="*/ 4 h 38"/>
                <a:gd name="T16" fmla="*/ 196 w 373"/>
                <a:gd name="T17" fmla="*/ 4 h 38"/>
                <a:gd name="T18" fmla="*/ 232 w 373"/>
                <a:gd name="T19" fmla="*/ 38 h 38"/>
                <a:gd name="T20" fmla="*/ 269 w 373"/>
                <a:gd name="T21" fmla="*/ 4 h 38"/>
                <a:gd name="T22" fmla="*/ 288 w 373"/>
                <a:gd name="T23" fmla="*/ 4 h 38"/>
                <a:gd name="T24" fmla="*/ 324 w 373"/>
                <a:gd name="T25" fmla="*/ 38 h 38"/>
                <a:gd name="T26" fmla="*/ 361 w 373"/>
                <a:gd name="T27" fmla="*/ 4 h 38"/>
                <a:gd name="T28" fmla="*/ 361 w 373"/>
                <a:gd name="T29" fmla="*/ 4 h 38"/>
                <a:gd name="T30" fmla="*/ 373 w 373"/>
                <a:gd name="T31" fmla="*/ 0 h 38"/>
                <a:gd name="T32" fmla="*/ 0 w 373"/>
                <a:gd name="T33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73" h="38">
                  <a:moveTo>
                    <a:pt x="0" y="0"/>
                  </a:moveTo>
                  <a:cubicBezTo>
                    <a:pt x="3" y="2"/>
                    <a:pt x="7" y="3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23"/>
                    <a:pt x="28" y="38"/>
                    <a:pt x="49" y="38"/>
                  </a:cubicBezTo>
                  <a:cubicBezTo>
                    <a:pt x="69" y="38"/>
                    <a:pt x="85" y="23"/>
                    <a:pt x="85" y="4"/>
                  </a:cubicBezTo>
                  <a:cubicBezTo>
                    <a:pt x="104" y="4"/>
                    <a:pt x="104" y="4"/>
                    <a:pt x="104" y="4"/>
                  </a:cubicBezTo>
                  <a:cubicBezTo>
                    <a:pt x="104" y="23"/>
                    <a:pt x="120" y="38"/>
                    <a:pt x="141" y="38"/>
                  </a:cubicBezTo>
                  <a:cubicBezTo>
                    <a:pt x="161" y="38"/>
                    <a:pt x="177" y="23"/>
                    <a:pt x="177" y="4"/>
                  </a:cubicBezTo>
                  <a:cubicBezTo>
                    <a:pt x="196" y="4"/>
                    <a:pt x="196" y="4"/>
                    <a:pt x="196" y="4"/>
                  </a:cubicBezTo>
                  <a:cubicBezTo>
                    <a:pt x="196" y="23"/>
                    <a:pt x="212" y="38"/>
                    <a:pt x="232" y="38"/>
                  </a:cubicBezTo>
                  <a:cubicBezTo>
                    <a:pt x="253" y="38"/>
                    <a:pt x="269" y="23"/>
                    <a:pt x="269" y="4"/>
                  </a:cubicBezTo>
                  <a:cubicBezTo>
                    <a:pt x="288" y="4"/>
                    <a:pt x="288" y="4"/>
                    <a:pt x="288" y="4"/>
                  </a:cubicBezTo>
                  <a:cubicBezTo>
                    <a:pt x="288" y="23"/>
                    <a:pt x="304" y="38"/>
                    <a:pt x="324" y="38"/>
                  </a:cubicBezTo>
                  <a:cubicBezTo>
                    <a:pt x="345" y="38"/>
                    <a:pt x="361" y="23"/>
                    <a:pt x="361" y="4"/>
                  </a:cubicBezTo>
                  <a:cubicBezTo>
                    <a:pt x="361" y="4"/>
                    <a:pt x="361" y="4"/>
                    <a:pt x="361" y="4"/>
                  </a:cubicBezTo>
                  <a:cubicBezTo>
                    <a:pt x="366" y="3"/>
                    <a:pt x="370" y="2"/>
                    <a:pt x="373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51" name="Freeform 336"/>
            <p:cNvSpPr>
              <a:spLocks noEditPoints="1"/>
            </p:cNvSpPr>
            <p:nvPr userDrawn="1"/>
          </p:nvSpPr>
          <p:spPr bwMode="auto">
            <a:xfrm>
              <a:off x="2356" y="2465"/>
              <a:ext cx="579" cy="115"/>
            </a:xfrm>
            <a:custGeom>
              <a:avLst/>
              <a:gdLst>
                <a:gd name="T0" fmla="*/ 1018 w 2550"/>
                <a:gd name="T1" fmla="*/ 19 h 505"/>
                <a:gd name="T2" fmla="*/ 0 w 2550"/>
                <a:gd name="T3" fmla="*/ 505 h 505"/>
                <a:gd name="T4" fmla="*/ 2550 w 2550"/>
                <a:gd name="T5" fmla="*/ 505 h 505"/>
                <a:gd name="T6" fmla="*/ 2550 w 2550"/>
                <a:gd name="T7" fmla="*/ 364 h 505"/>
                <a:gd name="T8" fmla="*/ 2550 w 2550"/>
                <a:gd name="T9" fmla="*/ 196 h 505"/>
                <a:gd name="T10" fmla="*/ 2550 w 2550"/>
                <a:gd name="T11" fmla="*/ 18 h 505"/>
                <a:gd name="T12" fmla="*/ 1018 w 2550"/>
                <a:gd name="T13" fmla="*/ 19 h 505"/>
                <a:gd name="T14" fmla="*/ 393 w 2550"/>
                <a:gd name="T15" fmla="*/ 298 h 505"/>
                <a:gd name="T16" fmla="*/ 225 w 2550"/>
                <a:gd name="T17" fmla="*/ 350 h 505"/>
                <a:gd name="T18" fmla="*/ 337 w 2550"/>
                <a:gd name="T19" fmla="*/ 225 h 505"/>
                <a:gd name="T20" fmla="*/ 505 w 2550"/>
                <a:gd name="T21" fmla="*/ 172 h 505"/>
                <a:gd name="T22" fmla="*/ 393 w 2550"/>
                <a:gd name="T23" fmla="*/ 298 h 505"/>
                <a:gd name="T24" fmla="*/ 2296 w 2550"/>
                <a:gd name="T25" fmla="*/ 322 h 505"/>
                <a:gd name="T26" fmla="*/ 627 w 2550"/>
                <a:gd name="T27" fmla="*/ 322 h 505"/>
                <a:gd name="T28" fmla="*/ 627 w 2550"/>
                <a:gd name="T29" fmla="*/ 261 h 505"/>
                <a:gd name="T30" fmla="*/ 2296 w 2550"/>
                <a:gd name="T31" fmla="*/ 261 h 505"/>
                <a:gd name="T32" fmla="*/ 2296 w 2550"/>
                <a:gd name="T33" fmla="*/ 322 h 505"/>
                <a:gd name="T34" fmla="*/ 2296 w 2550"/>
                <a:gd name="T35" fmla="*/ 208 h 505"/>
                <a:gd name="T36" fmla="*/ 627 w 2550"/>
                <a:gd name="T37" fmla="*/ 208 h 505"/>
                <a:gd name="T38" fmla="*/ 627 w 2550"/>
                <a:gd name="T39" fmla="*/ 147 h 505"/>
                <a:gd name="T40" fmla="*/ 2296 w 2550"/>
                <a:gd name="T41" fmla="*/ 147 h 505"/>
                <a:gd name="T42" fmla="*/ 2296 w 2550"/>
                <a:gd name="T43" fmla="*/ 208 h 505"/>
                <a:gd name="T44" fmla="*/ 2476 w 2550"/>
                <a:gd name="T45" fmla="*/ 398 h 505"/>
                <a:gd name="T46" fmla="*/ 2357 w 2550"/>
                <a:gd name="T47" fmla="*/ 398 h 505"/>
                <a:gd name="T48" fmla="*/ 2357 w 2550"/>
                <a:gd name="T49" fmla="*/ 152 h 505"/>
                <a:gd name="T50" fmla="*/ 2476 w 2550"/>
                <a:gd name="T51" fmla="*/ 152 h 505"/>
                <a:gd name="T52" fmla="*/ 2476 w 2550"/>
                <a:gd name="T53" fmla="*/ 398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550" h="505">
                  <a:moveTo>
                    <a:pt x="1018" y="19"/>
                  </a:moveTo>
                  <a:cubicBezTo>
                    <a:pt x="92" y="0"/>
                    <a:pt x="0" y="505"/>
                    <a:pt x="0" y="505"/>
                  </a:cubicBezTo>
                  <a:cubicBezTo>
                    <a:pt x="2550" y="505"/>
                    <a:pt x="2550" y="505"/>
                    <a:pt x="2550" y="505"/>
                  </a:cubicBezTo>
                  <a:cubicBezTo>
                    <a:pt x="2550" y="364"/>
                    <a:pt x="2550" y="364"/>
                    <a:pt x="2550" y="364"/>
                  </a:cubicBezTo>
                  <a:cubicBezTo>
                    <a:pt x="2550" y="196"/>
                    <a:pt x="2550" y="196"/>
                    <a:pt x="2550" y="196"/>
                  </a:cubicBezTo>
                  <a:cubicBezTo>
                    <a:pt x="2550" y="18"/>
                    <a:pt x="2550" y="18"/>
                    <a:pt x="2550" y="18"/>
                  </a:cubicBezTo>
                  <a:lnTo>
                    <a:pt x="1018" y="19"/>
                  </a:lnTo>
                  <a:close/>
                  <a:moveTo>
                    <a:pt x="393" y="298"/>
                  </a:moveTo>
                  <a:cubicBezTo>
                    <a:pt x="315" y="347"/>
                    <a:pt x="240" y="371"/>
                    <a:pt x="225" y="350"/>
                  </a:cubicBezTo>
                  <a:cubicBezTo>
                    <a:pt x="210" y="330"/>
                    <a:pt x="260" y="274"/>
                    <a:pt x="337" y="225"/>
                  </a:cubicBezTo>
                  <a:cubicBezTo>
                    <a:pt x="414" y="176"/>
                    <a:pt x="489" y="152"/>
                    <a:pt x="505" y="172"/>
                  </a:cubicBezTo>
                  <a:cubicBezTo>
                    <a:pt x="520" y="193"/>
                    <a:pt x="470" y="249"/>
                    <a:pt x="393" y="298"/>
                  </a:cubicBezTo>
                  <a:close/>
                  <a:moveTo>
                    <a:pt x="2296" y="322"/>
                  </a:moveTo>
                  <a:cubicBezTo>
                    <a:pt x="627" y="322"/>
                    <a:pt x="627" y="322"/>
                    <a:pt x="627" y="322"/>
                  </a:cubicBezTo>
                  <a:cubicBezTo>
                    <a:pt x="627" y="261"/>
                    <a:pt x="627" y="261"/>
                    <a:pt x="627" y="261"/>
                  </a:cubicBezTo>
                  <a:cubicBezTo>
                    <a:pt x="2296" y="261"/>
                    <a:pt x="2296" y="261"/>
                    <a:pt x="2296" y="261"/>
                  </a:cubicBezTo>
                  <a:lnTo>
                    <a:pt x="2296" y="322"/>
                  </a:lnTo>
                  <a:close/>
                  <a:moveTo>
                    <a:pt x="2296" y="208"/>
                  </a:moveTo>
                  <a:cubicBezTo>
                    <a:pt x="627" y="208"/>
                    <a:pt x="627" y="208"/>
                    <a:pt x="627" y="208"/>
                  </a:cubicBezTo>
                  <a:cubicBezTo>
                    <a:pt x="627" y="147"/>
                    <a:pt x="627" y="147"/>
                    <a:pt x="627" y="147"/>
                  </a:cubicBezTo>
                  <a:cubicBezTo>
                    <a:pt x="2296" y="147"/>
                    <a:pt x="2296" y="147"/>
                    <a:pt x="2296" y="147"/>
                  </a:cubicBezTo>
                  <a:lnTo>
                    <a:pt x="2296" y="208"/>
                  </a:lnTo>
                  <a:close/>
                  <a:moveTo>
                    <a:pt x="2476" y="398"/>
                  </a:moveTo>
                  <a:cubicBezTo>
                    <a:pt x="2357" y="398"/>
                    <a:pt x="2357" y="398"/>
                    <a:pt x="2357" y="398"/>
                  </a:cubicBezTo>
                  <a:cubicBezTo>
                    <a:pt x="2357" y="152"/>
                    <a:pt x="2357" y="152"/>
                    <a:pt x="2357" y="152"/>
                  </a:cubicBezTo>
                  <a:cubicBezTo>
                    <a:pt x="2476" y="152"/>
                    <a:pt x="2476" y="152"/>
                    <a:pt x="2476" y="152"/>
                  </a:cubicBezTo>
                  <a:lnTo>
                    <a:pt x="2476" y="3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52" name="Rectangle 337"/>
            <p:cNvSpPr>
              <a:spLocks noChangeArrowheads="1"/>
            </p:cNvSpPr>
            <p:nvPr userDrawn="1"/>
          </p:nvSpPr>
          <p:spPr bwMode="auto">
            <a:xfrm>
              <a:off x="2376" y="2592"/>
              <a:ext cx="1692" cy="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8" name="Группа 463"/>
          <p:cNvGrpSpPr/>
          <p:nvPr userDrawn="1"/>
        </p:nvGrpSpPr>
        <p:grpSpPr>
          <a:xfrm>
            <a:off x="5744715" y="1298470"/>
            <a:ext cx="2545160" cy="295543"/>
            <a:chOff x="1182688" y="4068571"/>
            <a:chExt cx="2700000" cy="235142"/>
          </a:xfrm>
          <a:solidFill>
            <a:schemeClr val="bg1"/>
          </a:solidFill>
        </p:grpSpPr>
        <p:sp>
          <p:nvSpPr>
            <p:cNvPr id="372" name="Freeform 358"/>
            <p:cNvSpPr>
              <a:spLocks noEditPoints="1"/>
            </p:cNvSpPr>
            <p:nvPr userDrawn="1"/>
          </p:nvSpPr>
          <p:spPr bwMode="auto">
            <a:xfrm>
              <a:off x="3786959" y="4242714"/>
              <a:ext cx="44274" cy="44274"/>
            </a:xfrm>
            <a:custGeom>
              <a:avLst/>
              <a:gdLst>
                <a:gd name="T0" fmla="*/ 51 w 101"/>
                <a:gd name="T1" fmla="*/ 0 h 101"/>
                <a:gd name="T2" fmla="*/ 0 w 101"/>
                <a:gd name="T3" fmla="*/ 51 h 101"/>
                <a:gd name="T4" fmla="*/ 51 w 101"/>
                <a:gd name="T5" fmla="*/ 101 h 101"/>
                <a:gd name="T6" fmla="*/ 101 w 101"/>
                <a:gd name="T7" fmla="*/ 51 h 101"/>
                <a:gd name="T8" fmla="*/ 51 w 101"/>
                <a:gd name="T9" fmla="*/ 0 h 101"/>
                <a:gd name="T10" fmla="*/ 51 w 101"/>
                <a:gd name="T11" fmla="*/ 86 h 101"/>
                <a:gd name="T12" fmla="*/ 15 w 101"/>
                <a:gd name="T13" fmla="*/ 51 h 101"/>
                <a:gd name="T14" fmla="*/ 51 w 101"/>
                <a:gd name="T15" fmla="*/ 15 h 101"/>
                <a:gd name="T16" fmla="*/ 86 w 101"/>
                <a:gd name="T17" fmla="*/ 51 h 101"/>
                <a:gd name="T18" fmla="*/ 51 w 101"/>
                <a:gd name="T19" fmla="*/ 86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1" h="101">
                  <a:moveTo>
                    <a:pt x="51" y="0"/>
                  </a:moveTo>
                  <a:cubicBezTo>
                    <a:pt x="23" y="0"/>
                    <a:pt x="0" y="23"/>
                    <a:pt x="0" y="51"/>
                  </a:cubicBezTo>
                  <a:cubicBezTo>
                    <a:pt x="0" y="78"/>
                    <a:pt x="23" y="101"/>
                    <a:pt x="51" y="101"/>
                  </a:cubicBezTo>
                  <a:cubicBezTo>
                    <a:pt x="78" y="101"/>
                    <a:pt x="101" y="78"/>
                    <a:pt x="101" y="51"/>
                  </a:cubicBezTo>
                  <a:cubicBezTo>
                    <a:pt x="101" y="23"/>
                    <a:pt x="78" y="0"/>
                    <a:pt x="51" y="0"/>
                  </a:cubicBezTo>
                  <a:close/>
                  <a:moveTo>
                    <a:pt x="51" y="86"/>
                  </a:moveTo>
                  <a:cubicBezTo>
                    <a:pt x="31" y="86"/>
                    <a:pt x="15" y="70"/>
                    <a:pt x="15" y="51"/>
                  </a:cubicBezTo>
                  <a:cubicBezTo>
                    <a:pt x="15" y="31"/>
                    <a:pt x="31" y="15"/>
                    <a:pt x="51" y="15"/>
                  </a:cubicBezTo>
                  <a:cubicBezTo>
                    <a:pt x="70" y="15"/>
                    <a:pt x="86" y="31"/>
                    <a:pt x="86" y="51"/>
                  </a:cubicBezTo>
                  <a:cubicBezTo>
                    <a:pt x="86" y="70"/>
                    <a:pt x="70" y="86"/>
                    <a:pt x="51" y="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73" name="Oval 359"/>
            <p:cNvSpPr>
              <a:spLocks noChangeArrowheads="1"/>
            </p:cNvSpPr>
            <p:nvPr userDrawn="1"/>
          </p:nvSpPr>
          <p:spPr bwMode="auto">
            <a:xfrm>
              <a:off x="3795814" y="4252552"/>
              <a:ext cx="25580" cy="2558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74" name="Freeform 360"/>
            <p:cNvSpPr>
              <a:spLocks noEditPoints="1"/>
            </p:cNvSpPr>
            <p:nvPr userDrawn="1"/>
          </p:nvSpPr>
          <p:spPr bwMode="auto">
            <a:xfrm>
              <a:off x="3714154" y="4242714"/>
              <a:ext cx="44274" cy="44274"/>
            </a:xfrm>
            <a:custGeom>
              <a:avLst/>
              <a:gdLst>
                <a:gd name="T0" fmla="*/ 51 w 101"/>
                <a:gd name="T1" fmla="*/ 0 h 101"/>
                <a:gd name="T2" fmla="*/ 0 w 101"/>
                <a:gd name="T3" fmla="*/ 51 h 101"/>
                <a:gd name="T4" fmla="*/ 51 w 101"/>
                <a:gd name="T5" fmla="*/ 101 h 101"/>
                <a:gd name="T6" fmla="*/ 101 w 101"/>
                <a:gd name="T7" fmla="*/ 51 h 101"/>
                <a:gd name="T8" fmla="*/ 51 w 101"/>
                <a:gd name="T9" fmla="*/ 0 h 101"/>
                <a:gd name="T10" fmla="*/ 51 w 101"/>
                <a:gd name="T11" fmla="*/ 86 h 101"/>
                <a:gd name="T12" fmla="*/ 15 w 101"/>
                <a:gd name="T13" fmla="*/ 51 h 101"/>
                <a:gd name="T14" fmla="*/ 51 w 101"/>
                <a:gd name="T15" fmla="*/ 15 h 101"/>
                <a:gd name="T16" fmla="*/ 86 w 101"/>
                <a:gd name="T17" fmla="*/ 51 h 101"/>
                <a:gd name="T18" fmla="*/ 51 w 101"/>
                <a:gd name="T19" fmla="*/ 86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1" h="101">
                  <a:moveTo>
                    <a:pt x="51" y="0"/>
                  </a:moveTo>
                  <a:cubicBezTo>
                    <a:pt x="23" y="0"/>
                    <a:pt x="0" y="23"/>
                    <a:pt x="0" y="51"/>
                  </a:cubicBezTo>
                  <a:cubicBezTo>
                    <a:pt x="0" y="78"/>
                    <a:pt x="23" y="101"/>
                    <a:pt x="51" y="101"/>
                  </a:cubicBezTo>
                  <a:cubicBezTo>
                    <a:pt x="78" y="101"/>
                    <a:pt x="101" y="78"/>
                    <a:pt x="101" y="51"/>
                  </a:cubicBezTo>
                  <a:cubicBezTo>
                    <a:pt x="101" y="23"/>
                    <a:pt x="78" y="0"/>
                    <a:pt x="51" y="0"/>
                  </a:cubicBezTo>
                  <a:close/>
                  <a:moveTo>
                    <a:pt x="51" y="86"/>
                  </a:moveTo>
                  <a:cubicBezTo>
                    <a:pt x="31" y="86"/>
                    <a:pt x="15" y="70"/>
                    <a:pt x="15" y="51"/>
                  </a:cubicBezTo>
                  <a:cubicBezTo>
                    <a:pt x="15" y="31"/>
                    <a:pt x="31" y="15"/>
                    <a:pt x="51" y="15"/>
                  </a:cubicBezTo>
                  <a:cubicBezTo>
                    <a:pt x="70" y="15"/>
                    <a:pt x="86" y="31"/>
                    <a:pt x="86" y="51"/>
                  </a:cubicBezTo>
                  <a:cubicBezTo>
                    <a:pt x="86" y="70"/>
                    <a:pt x="70" y="86"/>
                    <a:pt x="51" y="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75" name="Oval 361"/>
            <p:cNvSpPr>
              <a:spLocks noChangeArrowheads="1"/>
            </p:cNvSpPr>
            <p:nvPr userDrawn="1"/>
          </p:nvSpPr>
          <p:spPr bwMode="auto">
            <a:xfrm>
              <a:off x="3723992" y="4252552"/>
              <a:ext cx="24596" cy="2558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76" name="Freeform 362"/>
            <p:cNvSpPr>
              <a:spLocks noEditPoints="1"/>
            </p:cNvSpPr>
            <p:nvPr userDrawn="1"/>
          </p:nvSpPr>
          <p:spPr bwMode="auto">
            <a:xfrm>
              <a:off x="3613800" y="4242714"/>
              <a:ext cx="44274" cy="44274"/>
            </a:xfrm>
            <a:custGeom>
              <a:avLst/>
              <a:gdLst>
                <a:gd name="T0" fmla="*/ 50 w 100"/>
                <a:gd name="T1" fmla="*/ 0 h 101"/>
                <a:gd name="T2" fmla="*/ 0 w 100"/>
                <a:gd name="T3" fmla="*/ 51 h 101"/>
                <a:gd name="T4" fmla="*/ 50 w 100"/>
                <a:gd name="T5" fmla="*/ 101 h 101"/>
                <a:gd name="T6" fmla="*/ 100 w 100"/>
                <a:gd name="T7" fmla="*/ 51 h 101"/>
                <a:gd name="T8" fmla="*/ 50 w 100"/>
                <a:gd name="T9" fmla="*/ 0 h 101"/>
                <a:gd name="T10" fmla="*/ 50 w 100"/>
                <a:gd name="T11" fmla="*/ 86 h 101"/>
                <a:gd name="T12" fmla="*/ 14 w 100"/>
                <a:gd name="T13" fmla="*/ 51 h 101"/>
                <a:gd name="T14" fmla="*/ 50 w 100"/>
                <a:gd name="T15" fmla="*/ 15 h 101"/>
                <a:gd name="T16" fmla="*/ 85 w 100"/>
                <a:gd name="T17" fmla="*/ 51 h 101"/>
                <a:gd name="T18" fmla="*/ 50 w 100"/>
                <a:gd name="T19" fmla="*/ 86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0" h="101">
                  <a:moveTo>
                    <a:pt x="50" y="0"/>
                  </a:moveTo>
                  <a:cubicBezTo>
                    <a:pt x="22" y="0"/>
                    <a:pt x="0" y="23"/>
                    <a:pt x="0" y="51"/>
                  </a:cubicBezTo>
                  <a:cubicBezTo>
                    <a:pt x="0" y="78"/>
                    <a:pt x="22" y="101"/>
                    <a:pt x="50" y="101"/>
                  </a:cubicBezTo>
                  <a:cubicBezTo>
                    <a:pt x="78" y="101"/>
                    <a:pt x="100" y="78"/>
                    <a:pt x="100" y="51"/>
                  </a:cubicBezTo>
                  <a:cubicBezTo>
                    <a:pt x="100" y="23"/>
                    <a:pt x="78" y="0"/>
                    <a:pt x="50" y="0"/>
                  </a:cubicBezTo>
                  <a:close/>
                  <a:moveTo>
                    <a:pt x="50" y="86"/>
                  </a:moveTo>
                  <a:cubicBezTo>
                    <a:pt x="30" y="86"/>
                    <a:pt x="14" y="70"/>
                    <a:pt x="14" y="51"/>
                  </a:cubicBezTo>
                  <a:cubicBezTo>
                    <a:pt x="14" y="31"/>
                    <a:pt x="30" y="15"/>
                    <a:pt x="50" y="15"/>
                  </a:cubicBezTo>
                  <a:cubicBezTo>
                    <a:pt x="69" y="15"/>
                    <a:pt x="85" y="31"/>
                    <a:pt x="85" y="51"/>
                  </a:cubicBezTo>
                  <a:cubicBezTo>
                    <a:pt x="85" y="70"/>
                    <a:pt x="69" y="86"/>
                    <a:pt x="50" y="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77" name="Oval 363"/>
            <p:cNvSpPr>
              <a:spLocks noChangeArrowheads="1"/>
            </p:cNvSpPr>
            <p:nvPr userDrawn="1"/>
          </p:nvSpPr>
          <p:spPr bwMode="auto">
            <a:xfrm>
              <a:off x="3623639" y="4252552"/>
              <a:ext cx="25580" cy="2558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78" name="Freeform 364"/>
            <p:cNvSpPr>
              <a:spLocks noEditPoints="1"/>
            </p:cNvSpPr>
            <p:nvPr userDrawn="1"/>
          </p:nvSpPr>
          <p:spPr bwMode="auto">
            <a:xfrm>
              <a:off x="3541979" y="4242714"/>
              <a:ext cx="44274" cy="44274"/>
            </a:xfrm>
            <a:custGeom>
              <a:avLst/>
              <a:gdLst>
                <a:gd name="T0" fmla="*/ 50 w 100"/>
                <a:gd name="T1" fmla="*/ 0 h 101"/>
                <a:gd name="T2" fmla="*/ 0 w 100"/>
                <a:gd name="T3" fmla="*/ 51 h 101"/>
                <a:gd name="T4" fmla="*/ 50 w 100"/>
                <a:gd name="T5" fmla="*/ 101 h 101"/>
                <a:gd name="T6" fmla="*/ 100 w 100"/>
                <a:gd name="T7" fmla="*/ 51 h 101"/>
                <a:gd name="T8" fmla="*/ 50 w 100"/>
                <a:gd name="T9" fmla="*/ 0 h 101"/>
                <a:gd name="T10" fmla="*/ 50 w 100"/>
                <a:gd name="T11" fmla="*/ 86 h 101"/>
                <a:gd name="T12" fmla="*/ 14 w 100"/>
                <a:gd name="T13" fmla="*/ 51 h 101"/>
                <a:gd name="T14" fmla="*/ 50 w 100"/>
                <a:gd name="T15" fmla="*/ 15 h 101"/>
                <a:gd name="T16" fmla="*/ 85 w 100"/>
                <a:gd name="T17" fmla="*/ 51 h 101"/>
                <a:gd name="T18" fmla="*/ 50 w 100"/>
                <a:gd name="T19" fmla="*/ 86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0" h="101">
                  <a:moveTo>
                    <a:pt x="50" y="0"/>
                  </a:moveTo>
                  <a:cubicBezTo>
                    <a:pt x="22" y="0"/>
                    <a:pt x="0" y="23"/>
                    <a:pt x="0" y="51"/>
                  </a:cubicBezTo>
                  <a:cubicBezTo>
                    <a:pt x="0" y="78"/>
                    <a:pt x="22" y="101"/>
                    <a:pt x="50" y="101"/>
                  </a:cubicBezTo>
                  <a:cubicBezTo>
                    <a:pt x="78" y="101"/>
                    <a:pt x="100" y="78"/>
                    <a:pt x="100" y="51"/>
                  </a:cubicBezTo>
                  <a:cubicBezTo>
                    <a:pt x="100" y="23"/>
                    <a:pt x="78" y="0"/>
                    <a:pt x="50" y="0"/>
                  </a:cubicBezTo>
                  <a:close/>
                  <a:moveTo>
                    <a:pt x="50" y="86"/>
                  </a:moveTo>
                  <a:cubicBezTo>
                    <a:pt x="30" y="86"/>
                    <a:pt x="14" y="70"/>
                    <a:pt x="14" y="51"/>
                  </a:cubicBezTo>
                  <a:cubicBezTo>
                    <a:pt x="14" y="31"/>
                    <a:pt x="30" y="15"/>
                    <a:pt x="50" y="15"/>
                  </a:cubicBezTo>
                  <a:cubicBezTo>
                    <a:pt x="69" y="15"/>
                    <a:pt x="85" y="31"/>
                    <a:pt x="85" y="51"/>
                  </a:cubicBezTo>
                  <a:cubicBezTo>
                    <a:pt x="85" y="70"/>
                    <a:pt x="69" y="86"/>
                    <a:pt x="50" y="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79" name="Oval 365"/>
            <p:cNvSpPr>
              <a:spLocks noChangeArrowheads="1"/>
            </p:cNvSpPr>
            <p:nvPr userDrawn="1"/>
          </p:nvSpPr>
          <p:spPr bwMode="auto">
            <a:xfrm>
              <a:off x="3550833" y="4252552"/>
              <a:ext cx="25580" cy="2558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80" name="Freeform 366"/>
            <p:cNvSpPr>
              <a:spLocks/>
            </p:cNvSpPr>
            <p:nvPr userDrawn="1"/>
          </p:nvSpPr>
          <p:spPr bwMode="auto">
            <a:xfrm>
              <a:off x="3494754" y="4217133"/>
              <a:ext cx="365011" cy="39354"/>
            </a:xfrm>
            <a:custGeom>
              <a:avLst/>
              <a:gdLst>
                <a:gd name="T0" fmla="*/ 824 w 835"/>
                <a:gd name="T1" fmla="*/ 19 h 90"/>
                <a:gd name="T2" fmla="*/ 814 w 835"/>
                <a:gd name="T3" fmla="*/ 30 h 90"/>
                <a:gd name="T4" fmla="*/ 814 w 835"/>
                <a:gd name="T5" fmla="*/ 30 h 90"/>
                <a:gd name="T6" fmla="*/ 789 w 835"/>
                <a:gd name="T7" fmla="*/ 30 h 90"/>
                <a:gd name="T8" fmla="*/ 789 w 835"/>
                <a:gd name="T9" fmla="*/ 13 h 90"/>
                <a:gd name="T10" fmla="*/ 775 w 835"/>
                <a:gd name="T11" fmla="*/ 0 h 90"/>
                <a:gd name="T12" fmla="*/ 66 w 835"/>
                <a:gd name="T13" fmla="*/ 0 h 90"/>
                <a:gd name="T14" fmla="*/ 53 w 835"/>
                <a:gd name="T15" fmla="*/ 13 h 90"/>
                <a:gd name="T16" fmla="*/ 53 w 835"/>
                <a:gd name="T17" fmla="*/ 44 h 90"/>
                <a:gd name="T18" fmla="*/ 22 w 835"/>
                <a:gd name="T19" fmla="*/ 44 h 90"/>
                <a:gd name="T20" fmla="*/ 22 w 835"/>
                <a:gd name="T21" fmla="*/ 44 h 90"/>
                <a:gd name="T22" fmla="*/ 11 w 835"/>
                <a:gd name="T23" fmla="*/ 33 h 90"/>
                <a:gd name="T24" fmla="*/ 0 w 835"/>
                <a:gd name="T25" fmla="*/ 44 h 90"/>
                <a:gd name="T26" fmla="*/ 0 w 835"/>
                <a:gd name="T27" fmla="*/ 75 h 90"/>
                <a:gd name="T28" fmla="*/ 11 w 835"/>
                <a:gd name="T29" fmla="*/ 85 h 90"/>
                <a:gd name="T30" fmla="*/ 22 w 835"/>
                <a:gd name="T31" fmla="*/ 75 h 90"/>
                <a:gd name="T32" fmla="*/ 22 w 835"/>
                <a:gd name="T33" fmla="*/ 74 h 90"/>
                <a:gd name="T34" fmla="*/ 53 w 835"/>
                <a:gd name="T35" fmla="*/ 74 h 90"/>
                <a:gd name="T36" fmla="*/ 53 w 835"/>
                <a:gd name="T37" fmla="*/ 77 h 90"/>
                <a:gd name="T38" fmla="*/ 66 w 835"/>
                <a:gd name="T39" fmla="*/ 90 h 90"/>
                <a:gd name="T40" fmla="*/ 99 w 835"/>
                <a:gd name="T41" fmla="*/ 90 h 90"/>
                <a:gd name="T42" fmla="*/ 158 w 835"/>
                <a:gd name="T43" fmla="*/ 48 h 90"/>
                <a:gd name="T44" fmla="*/ 216 w 835"/>
                <a:gd name="T45" fmla="*/ 90 h 90"/>
                <a:gd name="T46" fmla="*/ 264 w 835"/>
                <a:gd name="T47" fmla="*/ 90 h 90"/>
                <a:gd name="T48" fmla="*/ 323 w 835"/>
                <a:gd name="T49" fmla="*/ 48 h 90"/>
                <a:gd name="T50" fmla="*/ 381 w 835"/>
                <a:gd name="T51" fmla="*/ 90 h 90"/>
                <a:gd name="T52" fmla="*/ 494 w 835"/>
                <a:gd name="T53" fmla="*/ 90 h 90"/>
                <a:gd name="T54" fmla="*/ 553 w 835"/>
                <a:gd name="T55" fmla="*/ 48 h 90"/>
                <a:gd name="T56" fmla="*/ 611 w 835"/>
                <a:gd name="T57" fmla="*/ 90 h 90"/>
                <a:gd name="T58" fmla="*/ 659 w 835"/>
                <a:gd name="T59" fmla="*/ 90 h 90"/>
                <a:gd name="T60" fmla="*/ 718 w 835"/>
                <a:gd name="T61" fmla="*/ 48 h 90"/>
                <a:gd name="T62" fmla="*/ 776 w 835"/>
                <a:gd name="T63" fmla="*/ 90 h 90"/>
                <a:gd name="T64" fmla="*/ 789 w 835"/>
                <a:gd name="T65" fmla="*/ 77 h 90"/>
                <a:gd name="T66" fmla="*/ 789 w 835"/>
                <a:gd name="T67" fmla="*/ 60 h 90"/>
                <a:gd name="T68" fmla="*/ 814 w 835"/>
                <a:gd name="T69" fmla="*/ 60 h 90"/>
                <a:gd name="T70" fmla="*/ 814 w 835"/>
                <a:gd name="T71" fmla="*/ 61 h 90"/>
                <a:gd name="T72" fmla="*/ 824 w 835"/>
                <a:gd name="T73" fmla="*/ 71 h 90"/>
                <a:gd name="T74" fmla="*/ 835 w 835"/>
                <a:gd name="T75" fmla="*/ 61 h 90"/>
                <a:gd name="T76" fmla="*/ 835 w 835"/>
                <a:gd name="T77" fmla="*/ 30 h 90"/>
                <a:gd name="T78" fmla="*/ 824 w 835"/>
                <a:gd name="T79" fmla="*/ 19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835" h="90">
                  <a:moveTo>
                    <a:pt x="824" y="19"/>
                  </a:moveTo>
                  <a:cubicBezTo>
                    <a:pt x="818" y="19"/>
                    <a:pt x="814" y="24"/>
                    <a:pt x="814" y="30"/>
                  </a:cubicBezTo>
                  <a:cubicBezTo>
                    <a:pt x="814" y="30"/>
                    <a:pt x="814" y="30"/>
                    <a:pt x="814" y="30"/>
                  </a:cubicBezTo>
                  <a:cubicBezTo>
                    <a:pt x="789" y="30"/>
                    <a:pt x="789" y="30"/>
                    <a:pt x="789" y="30"/>
                  </a:cubicBezTo>
                  <a:cubicBezTo>
                    <a:pt x="789" y="13"/>
                    <a:pt x="789" y="13"/>
                    <a:pt x="789" y="13"/>
                  </a:cubicBezTo>
                  <a:cubicBezTo>
                    <a:pt x="789" y="6"/>
                    <a:pt x="783" y="0"/>
                    <a:pt x="775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59" y="0"/>
                    <a:pt x="53" y="6"/>
                    <a:pt x="53" y="13"/>
                  </a:cubicBezTo>
                  <a:cubicBezTo>
                    <a:pt x="53" y="44"/>
                    <a:pt x="53" y="44"/>
                    <a:pt x="53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38"/>
                    <a:pt x="17" y="33"/>
                    <a:pt x="11" y="33"/>
                  </a:cubicBezTo>
                  <a:cubicBezTo>
                    <a:pt x="5" y="33"/>
                    <a:pt x="0" y="38"/>
                    <a:pt x="0" y="44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81"/>
                    <a:pt x="5" y="85"/>
                    <a:pt x="11" y="85"/>
                  </a:cubicBezTo>
                  <a:cubicBezTo>
                    <a:pt x="17" y="85"/>
                    <a:pt x="22" y="81"/>
                    <a:pt x="22" y="75"/>
                  </a:cubicBezTo>
                  <a:cubicBezTo>
                    <a:pt x="22" y="74"/>
                    <a:pt x="22" y="74"/>
                    <a:pt x="22" y="74"/>
                  </a:cubicBezTo>
                  <a:cubicBezTo>
                    <a:pt x="53" y="74"/>
                    <a:pt x="53" y="74"/>
                    <a:pt x="53" y="74"/>
                  </a:cubicBezTo>
                  <a:cubicBezTo>
                    <a:pt x="53" y="77"/>
                    <a:pt x="53" y="77"/>
                    <a:pt x="53" y="77"/>
                  </a:cubicBezTo>
                  <a:cubicBezTo>
                    <a:pt x="53" y="84"/>
                    <a:pt x="59" y="90"/>
                    <a:pt x="66" y="90"/>
                  </a:cubicBezTo>
                  <a:cubicBezTo>
                    <a:pt x="99" y="90"/>
                    <a:pt x="99" y="90"/>
                    <a:pt x="99" y="90"/>
                  </a:cubicBezTo>
                  <a:cubicBezTo>
                    <a:pt x="108" y="66"/>
                    <a:pt x="131" y="48"/>
                    <a:pt x="158" y="48"/>
                  </a:cubicBezTo>
                  <a:cubicBezTo>
                    <a:pt x="185" y="48"/>
                    <a:pt x="208" y="66"/>
                    <a:pt x="216" y="90"/>
                  </a:cubicBezTo>
                  <a:cubicBezTo>
                    <a:pt x="264" y="90"/>
                    <a:pt x="264" y="90"/>
                    <a:pt x="264" y="90"/>
                  </a:cubicBezTo>
                  <a:cubicBezTo>
                    <a:pt x="273" y="66"/>
                    <a:pt x="296" y="48"/>
                    <a:pt x="323" y="48"/>
                  </a:cubicBezTo>
                  <a:cubicBezTo>
                    <a:pt x="350" y="48"/>
                    <a:pt x="373" y="66"/>
                    <a:pt x="381" y="90"/>
                  </a:cubicBezTo>
                  <a:cubicBezTo>
                    <a:pt x="494" y="90"/>
                    <a:pt x="494" y="90"/>
                    <a:pt x="494" y="90"/>
                  </a:cubicBezTo>
                  <a:cubicBezTo>
                    <a:pt x="502" y="66"/>
                    <a:pt x="525" y="48"/>
                    <a:pt x="553" y="48"/>
                  </a:cubicBezTo>
                  <a:cubicBezTo>
                    <a:pt x="580" y="48"/>
                    <a:pt x="603" y="66"/>
                    <a:pt x="611" y="90"/>
                  </a:cubicBezTo>
                  <a:cubicBezTo>
                    <a:pt x="659" y="90"/>
                    <a:pt x="659" y="90"/>
                    <a:pt x="659" y="90"/>
                  </a:cubicBezTo>
                  <a:cubicBezTo>
                    <a:pt x="667" y="66"/>
                    <a:pt x="690" y="48"/>
                    <a:pt x="718" y="48"/>
                  </a:cubicBezTo>
                  <a:cubicBezTo>
                    <a:pt x="745" y="48"/>
                    <a:pt x="768" y="66"/>
                    <a:pt x="776" y="90"/>
                  </a:cubicBezTo>
                  <a:cubicBezTo>
                    <a:pt x="783" y="90"/>
                    <a:pt x="789" y="84"/>
                    <a:pt x="789" y="77"/>
                  </a:cubicBezTo>
                  <a:cubicBezTo>
                    <a:pt x="789" y="60"/>
                    <a:pt x="789" y="60"/>
                    <a:pt x="789" y="60"/>
                  </a:cubicBezTo>
                  <a:cubicBezTo>
                    <a:pt x="814" y="60"/>
                    <a:pt x="814" y="60"/>
                    <a:pt x="814" y="60"/>
                  </a:cubicBezTo>
                  <a:cubicBezTo>
                    <a:pt x="814" y="61"/>
                    <a:pt x="814" y="61"/>
                    <a:pt x="814" y="61"/>
                  </a:cubicBezTo>
                  <a:cubicBezTo>
                    <a:pt x="814" y="67"/>
                    <a:pt x="818" y="71"/>
                    <a:pt x="824" y="71"/>
                  </a:cubicBezTo>
                  <a:cubicBezTo>
                    <a:pt x="830" y="71"/>
                    <a:pt x="835" y="67"/>
                    <a:pt x="835" y="61"/>
                  </a:cubicBezTo>
                  <a:cubicBezTo>
                    <a:pt x="835" y="30"/>
                    <a:pt x="835" y="30"/>
                    <a:pt x="835" y="30"/>
                  </a:cubicBezTo>
                  <a:cubicBezTo>
                    <a:pt x="835" y="24"/>
                    <a:pt x="830" y="19"/>
                    <a:pt x="824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81" name="Freeform 367"/>
            <p:cNvSpPr>
              <a:spLocks/>
            </p:cNvSpPr>
            <p:nvPr userDrawn="1"/>
          </p:nvSpPr>
          <p:spPr bwMode="auto">
            <a:xfrm>
              <a:off x="3541979" y="4144328"/>
              <a:ext cx="289254" cy="66902"/>
            </a:xfrm>
            <a:custGeom>
              <a:avLst/>
              <a:gdLst>
                <a:gd name="T0" fmla="*/ 660 w 660"/>
                <a:gd name="T1" fmla="*/ 13 h 152"/>
                <a:gd name="T2" fmla="*/ 647 w 660"/>
                <a:gd name="T3" fmla="*/ 0 h 152"/>
                <a:gd name="T4" fmla="*/ 13 w 660"/>
                <a:gd name="T5" fmla="*/ 0 h 152"/>
                <a:gd name="T6" fmla="*/ 0 w 660"/>
                <a:gd name="T7" fmla="*/ 13 h 152"/>
                <a:gd name="T8" fmla="*/ 0 w 660"/>
                <a:gd name="T9" fmla="*/ 152 h 152"/>
                <a:gd name="T10" fmla="*/ 660 w 660"/>
                <a:gd name="T11" fmla="*/ 152 h 152"/>
                <a:gd name="T12" fmla="*/ 660 w 660"/>
                <a:gd name="T13" fmla="*/ 13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0" h="152">
                  <a:moveTo>
                    <a:pt x="660" y="13"/>
                  </a:moveTo>
                  <a:cubicBezTo>
                    <a:pt x="660" y="6"/>
                    <a:pt x="654" y="0"/>
                    <a:pt x="647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6" y="0"/>
                    <a:pt x="0" y="6"/>
                    <a:pt x="0" y="13"/>
                  </a:cubicBezTo>
                  <a:cubicBezTo>
                    <a:pt x="0" y="152"/>
                    <a:pt x="0" y="152"/>
                    <a:pt x="0" y="152"/>
                  </a:cubicBezTo>
                  <a:cubicBezTo>
                    <a:pt x="660" y="152"/>
                    <a:pt x="660" y="152"/>
                    <a:pt x="660" y="152"/>
                  </a:cubicBezTo>
                  <a:lnTo>
                    <a:pt x="66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82" name="Freeform 368"/>
            <p:cNvSpPr>
              <a:spLocks/>
            </p:cNvSpPr>
            <p:nvPr userDrawn="1"/>
          </p:nvSpPr>
          <p:spPr bwMode="auto">
            <a:xfrm>
              <a:off x="3592155" y="4092183"/>
              <a:ext cx="114127" cy="48209"/>
            </a:xfrm>
            <a:custGeom>
              <a:avLst/>
              <a:gdLst>
                <a:gd name="T0" fmla="*/ 261 w 261"/>
                <a:gd name="T1" fmla="*/ 85 h 109"/>
                <a:gd name="T2" fmla="*/ 248 w 261"/>
                <a:gd name="T3" fmla="*/ 72 h 109"/>
                <a:gd name="T4" fmla="*/ 138 w 261"/>
                <a:gd name="T5" fmla="*/ 72 h 109"/>
                <a:gd name="T6" fmla="*/ 138 w 261"/>
                <a:gd name="T7" fmla="*/ 13 h 109"/>
                <a:gd name="T8" fmla="*/ 128 w 261"/>
                <a:gd name="T9" fmla="*/ 0 h 109"/>
                <a:gd name="T10" fmla="*/ 117 w 261"/>
                <a:gd name="T11" fmla="*/ 13 h 109"/>
                <a:gd name="T12" fmla="*/ 117 w 261"/>
                <a:gd name="T13" fmla="*/ 72 h 109"/>
                <a:gd name="T14" fmla="*/ 13 w 261"/>
                <a:gd name="T15" fmla="*/ 72 h 109"/>
                <a:gd name="T16" fmla="*/ 0 w 261"/>
                <a:gd name="T17" fmla="*/ 85 h 109"/>
                <a:gd name="T18" fmla="*/ 0 w 261"/>
                <a:gd name="T19" fmla="*/ 109 h 109"/>
                <a:gd name="T20" fmla="*/ 261 w 261"/>
                <a:gd name="T21" fmla="*/ 109 h 109"/>
                <a:gd name="T22" fmla="*/ 261 w 261"/>
                <a:gd name="T23" fmla="*/ 85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1" h="109">
                  <a:moveTo>
                    <a:pt x="261" y="85"/>
                  </a:moveTo>
                  <a:cubicBezTo>
                    <a:pt x="261" y="77"/>
                    <a:pt x="255" y="72"/>
                    <a:pt x="248" y="72"/>
                  </a:cubicBezTo>
                  <a:cubicBezTo>
                    <a:pt x="138" y="72"/>
                    <a:pt x="138" y="72"/>
                    <a:pt x="138" y="72"/>
                  </a:cubicBezTo>
                  <a:cubicBezTo>
                    <a:pt x="138" y="13"/>
                    <a:pt x="138" y="13"/>
                    <a:pt x="138" y="13"/>
                  </a:cubicBezTo>
                  <a:cubicBezTo>
                    <a:pt x="138" y="6"/>
                    <a:pt x="133" y="0"/>
                    <a:pt x="128" y="0"/>
                  </a:cubicBezTo>
                  <a:cubicBezTo>
                    <a:pt x="122" y="0"/>
                    <a:pt x="117" y="6"/>
                    <a:pt x="117" y="13"/>
                  </a:cubicBezTo>
                  <a:cubicBezTo>
                    <a:pt x="117" y="72"/>
                    <a:pt x="117" y="72"/>
                    <a:pt x="117" y="72"/>
                  </a:cubicBezTo>
                  <a:cubicBezTo>
                    <a:pt x="13" y="72"/>
                    <a:pt x="13" y="72"/>
                    <a:pt x="13" y="72"/>
                  </a:cubicBezTo>
                  <a:cubicBezTo>
                    <a:pt x="6" y="72"/>
                    <a:pt x="0" y="77"/>
                    <a:pt x="0" y="85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261" y="109"/>
                    <a:pt x="261" y="109"/>
                    <a:pt x="261" y="109"/>
                  </a:cubicBezTo>
                  <a:lnTo>
                    <a:pt x="261" y="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83" name="Freeform 369"/>
            <p:cNvSpPr>
              <a:spLocks/>
            </p:cNvSpPr>
            <p:nvPr userDrawn="1"/>
          </p:nvSpPr>
          <p:spPr bwMode="auto">
            <a:xfrm>
              <a:off x="3714154" y="4092183"/>
              <a:ext cx="107240" cy="48209"/>
            </a:xfrm>
            <a:custGeom>
              <a:avLst/>
              <a:gdLst>
                <a:gd name="T0" fmla="*/ 244 w 244"/>
                <a:gd name="T1" fmla="*/ 69 h 109"/>
                <a:gd name="T2" fmla="*/ 231 w 244"/>
                <a:gd name="T3" fmla="*/ 56 h 109"/>
                <a:gd name="T4" fmla="*/ 139 w 244"/>
                <a:gd name="T5" fmla="*/ 56 h 109"/>
                <a:gd name="T6" fmla="*/ 139 w 244"/>
                <a:gd name="T7" fmla="*/ 13 h 109"/>
                <a:gd name="T8" fmla="*/ 131 w 244"/>
                <a:gd name="T9" fmla="*/ 0 h 109"/>
                <a:gd name="T10" fmla="*/ 122 w 244"/>
                <a:gd name="T11" fmla="*/ 13 h 109"/>
                <a:gd name="T12" fmla="*/ 122 w 244"/>
                <a:gd name="T13" fmla="*/ 56 h 109"/>
                <a:gd name="T14" fmla="*/ 13 w 244"/>
                <a:gd name="T15" fmla="*/ 56 h 109"/>
                <a:gd name="T16" fmla="*/ 0 w 244"/>
                <a:gd name="T17" fmla="*/ 69 h 109"/>
                <a:gd name="T18" fmla="*/ 0 w 244"/>
                <a:gd name="T19" fmla="*/ 109 h 109"/>
                <a:gd name="T20" fmla="*/ 244 w 244"/>
                <a:gd name="T21" fmla="*/ 109 h 109"/>
                <a:gd name="T22" fmla="*/ 244 w 244"/>
                <a:gd name="T23" fmla="*/ 69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4" h="109">
                  <a:moveTo>
                    <a:pt x="244" y="69"/>
                  </a:moveTo>
                  <a:cubicBezTo>
                    <a:pt x="244" y="62"/>
                    <a:pt x="238" y="56"/>
                    <a:pt x="231" y="56"/>
                  </a:cubicBezTo>
                  <a:cubicBezTo>
                    <a:pt x="139" y="56"/>
                    <a:pt x="139" y="56"/>
                    <a:pt x="139" y="56"/>
                  </a:cubicBezTo>
                  <a:cubicBezTo>
                    <a:pt x="139" y="13"/>
                    <a:pt x="139" y="13"/>
                    <a:pt x="139" y="13"/>
                  </a:cubicBezTo>
                  <a:cubicBezTo>
                    <a:pt x="139" y="6"/>
                    <a:pt x="135" y="0"/>
                    <a:pt x="131" y="0"/>
                  </a:cubicBezTo>
                  <a:cubicBezTo>
                    <a:pt x="126" y="0"/>
                    <a:pt x="122" y="6"/>
                    <a:pt x="122" y="13"/>
                  </a:cubicBezTo>
                  <a:cubicBezTo>
                    <a:pt x="122" y="56"/>
                    <a:pt x="122" y="56"/>
                    <a:pt x="122" y="56"/>
                  </a:cubicBezTo>
                  <a:cubicBezTo>
                    <a:pt x="13" y="56"/>
                    <a:pt x="13" y="56"/>
                    <a:pt x="13" y="56"/>
                  </a:cubicBezTo>
                  <a:cubicBezTo>
                    <a:pt x="6" y="56"/>
                    <a:pt x="0" y="62"/>
                    <a:pt x="0" y="69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244" y="109"/>
                    <a:pt x="244" y="109"/>
                    <a:pt x="244" y="109"/>
                  </a:cubicBezTo>
                  <a:lnTo>
                    <a:pt x="244" y="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84" name="Freeform 370"/>
            <p:cNvSpPr>
              <a:spLocks noEditPoints="1"/>
            </p:cNvSpPr>
            <p:nvPr userDrawn="1"/>
          </p:nvSpPr>
          <p:spPr bwMode="auto">
            <a:xfrm>
              <a:off x="1590005" y="4250585"/>
              <a:ext cx="36403" cy="36403"/>
            </a:xfrm>
            <a:custGeom>
              <a:avLst/>
              <a:gdLst>
                <a:gd name="T0" fmla="*/ 42 w 83"/>
                <a:gd name="T1" fmla="*/ 0 h 84"/>
                <a:gd name="T2" fmla="*/ 0 w 83"/>
                <a:gd name="T3" fmla="*/ 42 h 84"/>
                <a:gd name="T4" fmla="*/ 42 w 83"/>
                <a:gd name="T5" fmla="*/ 84 h 84"/>
                <a:gd name="T6" fmla="*/ 83 w 83"/>
                <a:gd name="T7" fmla="*/ 42 h 84"/>
                <a:gd name="T8" fmla="*/ 42 w 83"/>
                <a:gd name="T9" fmla="*/ 0 h 84"/>
                <a:gd name="T10" fmla="*/ 42 w 83"/>
                <a:gd name="T11" fmla="*/ 72 h 84"/>
                <a:gd name="T12" fmla="*/ 12 w 83"/>
                <a:gd name="T13" fmla="*/ 42 h 84"/>
                <a:gd name="T14" fmla="*/ 42 w 83"/>
                <a:gd name="T15" fmla="*/ 13 h 84"/>
                <a:gd name="T16" fmla="*/ 71 w 83"/>
                <a:gd name="T17" fmla="*/ 42 h 84"/>
                <a:gd name="T18" fmla="*/ 42 w 83"/>
                <a:gd name="T19" fmla="*/ 7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3" h="84">
                  <a:moveTo>
                    <a:pt x="42" y="0"/>
                  </a:moveTo>
                  <a:cubicBezTo>
                    <a:pt x="18" y="0"/>
                    <a:pt x="0" y="19"/>
                    <a:pt x="0" y="42"/>
                  </a:cubicBezTo>
                  <a:cubicBezTo>
                    <a:pt x="0" y="65"/>
                    <a:pt x="18" y="84"/>
                    <a:pt x="42" y="84"/>
                  </a:cubicBezTo>
                  <a:cubicBezTo>
                    <a:pt x="65" y="84"/>
                    <a:pt x="83" y="65"/>
                    <a:pt x="83" y="42"/>
                  </a:cubicBezTo>
                  <a:cubicBezTo>
                    <a:pt x="83" y="19"/>
                    <a:pt x="65" y="0"/>
                    <a:pt x="42" y="0"/>
                  </a:cubicBezTo>
                  <a:close/>
                  <a:moveTo>
                    <a:pt x="42" y="72"/>
                  </a:moveTo>
                  <a:cubicBezTo>
                    <a:pt x="25" y="72"/>
                    <a:pt x="12" y="58"/>
                    <a:pt x="12" y="42"/>
                  </a:cubicBezTo>
                  <a:cubicBezTo>
                    <a:pt x="12" y="26"/>
                    <a:pt x="25" y="13"/>
                    <a:pt x="42" y="13"/>
                  </a:cubicBezTo>
                  <a:cubicBezTo>
                    <a:pt x="58" y="13"/>
                    <a:pt x="71" y="26"/>
                    <a:pt x="71" y="42"/>
                  </a:cubicBezTo>
                  <a:cubicBezTo>
                    <a:pt x="71" y="58"/>
                    <a:pt x="58" y="72"/>
                    <a:pt x="42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85" name="Oval 371"/>
            <p:cNvSpPr>
              <a:spLocks noChangeArrowheads="1"/>
            </p:cNvSpPr>
            <p:nvPr userDrawn="1"/>
          </p:nvSpPr>
          <p:spPr bwMode="auto">
            <a:xfrm>
              <a:off x="1597876" y="4258455"/>
              <a:ext cx="21645" cy="2066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86" name="Freeform 372"/>
            <p:cNvSpPr>
              <a:spLocks noEditPoints="1"/>
            </p:cNvSpPr>
            <p:nvPr userDrawn="1"/>
          </p:nvSpPr>
          <p:spPr bwMode="auto">
            <a:xfrm>
              <a:off x="1547699" y="4250585"/>
              <a:ext cx="36403" cy="36403"/>
            </a:xfrm>
            <a:custGeom>
              <a:avLst/>
              <a:gdLst>
                <a:gd name="T0" fmla="*/ 42 w 84"/>
                <a:gd name="T1" fmla="*/ 0 h 84"/>
                <a:gd name="T2" fmla="*/ 0 w 84"/>
                <a:gd name="T3" fmla="*/ 42 h 84"/>
                <a:gd name="T4" fmla="*/ 42 w 84"/>
                <a:gd name="T5" fmla="*/ 84 h 84"/>
                <a:gd name="T6" fmla="*/ 84 w 84"/>
                <a:gd name="T7" fmla="*/ 42 h 84"/>
                <a:gd name="T8" fmla="*/ 42 w 84"/>
                <a:gd name="T9" fmla="*/ 0 h 84"/>
                <a:gd name="T10" fmla="*/ 42 w 84"/>
                <a:gd name="T11" fmla="*/ 72 h 84"/>
                <a:gd name="T12" fmla="*/ 12 w 84"/>
                <a:gd name="T13" fmla="*/ 42 h 84"/>
                <a:gd name="T14" fmla="*/ 42 w 84"/>
                <a:gd name="T15" fmla="*/ 13 h 84"/>
                <a:gd name="T16" fmla="*/ 71 w 84"/>
                <a:gd name="T17" fmla="*/ 42 h 84"/>
                <a:gd name="T18" fmla="*/ 42 w 84"/>
                <a:gd name="T19" fmla="*/ 7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65"/>
                    <a:pt x="19" y="84"/>
                    <a:pt x="42" y="84"/>
                  </a:cubicBezTo>
                  <a:cubicBezTo>
                    <a:pt x="65" y="84"/>
                    <a:pt x="84" y="65"/>
                    <a:pt x="84" y="42"/>
                  </a:cubicBezTo>
                  <a:cubicBezTo>
                    <a:pt x="84" y="19"/>
                    <a:pt x="65" y="0"/>
                    <a:pt x="42" y="0"/>
                  </a:cubicBezTo>
                  <a:close/>
                  <a:moveTo>
                    <a:pt x="42" y="72"/>
                  </a:moveTo>
                  <a:cubicBezTo>
                    <a:pt x="26" y="72"/>
                    <a:pt x="12" y="58"/>
                    <a:pt x="12" y="42"/>
                  </a:cubicBezTo>
                  <a:cubicBezTo>
                    <a:pt x="12" y="26"/>
                    <a:pt x="26" y="13"/>
                    <a:pt x="42" y="13"/>
                  </a:cubicBezTo>
                  <a:cubicBezTo>
                    <a:pt x="58" y="13"/>
                    <a:pt x="71" y="26"/>
                    <a:pt x="71" y="42"/>
                  </a:cubicBezTo>
                  <a:cubicBezTo>
                    <a:pt x="71" y="58"/>
                    <a:pt x="58" y="72"/>
                    <a:pt x="42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87" name="Oval 373"/>
            <p:cNvSpPr>
              <a:spLocks noChangeArrowheads="1"/>
            </p:cNvSpPr>
            <p:nvPr userDrawn="1"/>
          </p:nvSpPr>
          <p:spPr bwMode="auto">
            <a:xfrm>
              <a:off x="1555570" y="4258455"/>
              <a:ext cx="20661" cy="2066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88" name="Freeform 374"/>
            <p:cNvSpPr>
              <a:spLocks noEditPoints="1"/>
            </p:cNvSpPr>
            <p:nvPr userDrawn="1"/>
          </p:nvSpPr>
          <p:spPr bwMode="auto">
            <a:xfrm>
              <a:off x="1504409" y="4250585"/>
              <a:ext cx="37387" cy="36403"/>
            </a:xfrm>
            <a:custGeom>
              <a:avLst/>
              <a:gdLst>
                <a:gd name="T0" fmla="*/ 42 w 84"/>
                <a:gd name="T1" fmla="*/ 0 h 84"/>
                <a:gd name="T2" fmla="*/ 0 w 84"/>
                <a:gd name="T3" fmla="*/ 42 h 84"/>
                <a:gd name="T4" fmla="*/ 42 w 84"/>
                <a:gd name="T5" fmla="*/ 84 h 84"/>
                <a:gd name="T6" fmla="*/ 84 w 84"/>
                <a:gd name="T7" fmla="*/ 42 h 84"/>
                <a:gd name="T8" fmla="*/ 42 w 84"/>
                <a:gd name="T9" fmla="*/ 0 h 84"/>
                <a:gd name="T10" fmla="*/ 42 w 84"/>
                <a:gd name="T11" fmla="*/ 72 h 84"/>
                <a:gd name="T12" fmla="*/ 13 w 84"/>
                <a:gd name="T13" fmla="*/ 42 h 84"/>
                <a:gd name="T14" fmla="*/ 42 w 84"/>
                <a:gd name="T15" fmla="*/ 13 h 84"/>
                <a:gd name="T16" fmla="*/ 72 w 84"/>
                <a:gd name="T17" fmla="*/ 42 h 84"/>
                <a:gd name="T18" fmla="*/ 42 w 84"/>
                <a:gd name="T19" fmla="*/ 7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65"/>
                    <a:pt x="19" y="84"/>
                    <a:pt x="42" y="84"/>
                  </a:cubicBezTo>
                  <a:cubicBezTo>
                    <a:pt x="65" y="84"/>
                    <a:pt x="84" y="65"/>
                    <a:pt x="84" y="42"/>
                  </a:cubicBezTo>
                  <a:cubicBezTo>
                    <a:pt x="84" y="19"/>
                    <a:pt x="65" y="0"/>
                    <a:pt x="42" y="0"/>
                  </a:cubicBezTo>
                  <a:close/>
                  <a:moveTo>
                    <a:pt x="42" y="72"/>
                  </a:moveTo>
                  <a:cubicBezTo>
                    <a:pt x="26" y="72"/>
                    <a:pt x="13" y="58"/>
                    <a:pt x="13" y="42"/>
                  </a:cubicBezTo>
                  <a:cubicBezTo>
                    <a:pt x="13" y="26"/>
                    <a:pt x="26" y="13"/>
                    <a:pt x="42" y="13"/>
                  </a:cubicBezTo>
                  <a:cubicBezTo>
                    <a:pt x="58" y="13"/>
                    <a:pt x="72" y="26"/>
                    <a:pt x="72" y="42"/>
                  </a:cubicBezTo>
                  <a:cubicBezTo>
                    <a:pt x="72" y="58"/>
                    <a:pt x="58" y="72"/>
                    <a:pt x="42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89" name="Oval 375"/>
            <p:cNvSpPr>
              <a:spLocks noChangeArrowheads="1"/>
            </p:cNvSpPr>
            <p:nvPr userDrawn="1"/>
          </p:nvSpPr>
          <p:spPr bwMode="auto">
            <a:xfrm>
              <a:off x="1512280" y="4258455"/>
              <a:ext cx="21645" cy="2066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90" name="Freeform 376"/>
            <p:cNvSpPr>
              <a:spLocks noEditPoints="1"/>
            </p:cNvSpPr>
            <p:nvPr userDrawn="1"/>
          </p:nvSpPr>
          <p:spPr bwMode="auto">
            <a:xfrm>
              <a:off x="1372573" y="4250585"/>
              <a:ext cx="35419" cy="36403"/>
            </a:xfrm>
            <a:custGeom>
              <a:avLst/>
              <a:gdLst>
                <a:gd name="T0" fmla="*/ 41 w 83"/>
                <a:gd name="T1" fmla="*/ 0 h 84"/>
                <a:gd name="T2" fmla="*/ 0 w 83"/>
                <a:gd name="T3" fmla="*/ 42 h 84"/>
                <a:gd name="T4" fmla="*/ 41 w 83"/>
                <a:gd name="T5" fmla="*/ 84 h 84"/>
                <a:gd name="T6" fmla="*/ 83 w 83"/>
                <a:gd name="T7" fmla="*/ 42 h 84"/>
                <a:gd name="T8" fmla="*/ 41 w 83"/>
                <a:gd name="T9" fmla="*/ 0 h 84"/>
                <a:gd name="T10" fmla="*/ 41 w 83"/>
                <a:gd name="T11" fmla="*/ 72 h 84"/>
                <a:gd name="T12" fmla="*/ 12 w 83"/>
                <a:gd name="T13" fmla="*/ 42 h 84"/>
                <a:gd name="T14" fmla="*/ 41 w 83"/>
                <a:gd name="T15" fmla="*/ 13 h 84"/>
                <a:gd name="T16" fmla="*/ 71 w 83"/>
                <a:gd name="T17" fmla="*/ 42 h 84"/>
                <a:gd name="T18" fmla="*/ 41 w 83"/>
                <a:gd name="T19" fmla="*/ 7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3" h="84">
                  <a:moveTo>
                    <a:pt x="41" y="0"/>
                  </a:moveTo>
                  <a:cubicBezTo>
                    <a:pt x="18" y="0"/>
                    <a:pt x="0" y="19"/>
                    <a:pt x="0" y="42"/>
                  </a:cubicBezTo>
                  <a:cubicBezTo>
                    <a:pt x="0" y="65"/>
                    <a:pt x="18" y="84"/>
                    <a:pt x="41" y="84"/>
                  </a:cubicBezTo>
                  <a:cubicBezTo>
                    <a:pt x="65" y="84"/>
                    <a:pt x="83" y="65"/>
                    <a:pt x="83" y="42"/>
                  </a:cubicBezTo>
                  <a:cubicBezTo>
                    <a:pt x="83" y="19"/>
                    <a:pt x="65" y="0"/>
                    <a:pt x="41" y="0"/>
                  </a:cubicBezTo>
                  <a:close/>
                  <a:moveTo>
                    <a:pt x="41" y="72"/>
                  </a:moveTo>
                  <a:cubicBezTo>
                    <a:pt x="25" y="72"/>
                    <a:pt x="12" y="58"/>
                    <a:pt x="12" y="42"/>
                  </a:cubicBezTo>
                  <a:cubicBezTo>
                    <a:pt x="12" y="26"/>
                    <a:pt x="25" y="13"/>
                    <a:pt x="41" y="13"/>
                  </a:cubicBezTo>
                  <a:cubicBezTo>
                    <a:pt x="58" y="13"/>
                    <a:pt x="71" y="26"/>
                    <a:pt x="71" y="42"/>
                  </a:cubicBezTo>
                  <a:cubicBezTo>
                    <a:pt x="71" y="58"/>
                    <a:pt x="58" y="72"/>
                    <a:pt x="41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91" name="Oval 377"/>
            <p:cNvSpPr>
              <a:spLocks noChangeArrowheads="1"/>
            </p:cNvSpPr>
            <p:nvPr userDrawn="1"/>
          </p:nvSpPr>
          <p:spPr bwMode="auto">
            <a:xfrm>
              <a:off x="1379460" y="4258455"/>
              <a:ext cx="20661" cy="2066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92" name="Freeform 378"/>
            <p:cNvSpPr>
              <a:spLocks noEditPoints="1"/>
            </p:cNvSpPr>
            <p:nvPr userDrawn="1"/>
          </p:nvSpPr>
          <p:spPr bwMode="auto">
            <a:xfrm>
              <a:off x="1329283" y="4250585"/>
              <a:ext cx="36403" cy="36403"/>
            </a:xfrm>
            <a:custGeom>
              <a:avLst/>
              <a:gdLst>
                <a:gd name="T0" fmla="*/ 42 w 84"/>
                <a:gd name="T1" fmla="*/ 0 h 84"/>
                <a:gd name="T2" fmla="*/ 0 w 84"/>
                <a:gd name="T3" fmla="*/ 42 h 84"/>
                <a:gd name="T4" fmla="*/ 42 w 84"/>
                <a:gd name="T5" fmla="*/ 84 h 84"/>
                <a:gd name="T6" fmla="*/ 84 w 84"/>
                <a:gd name="T7" fmla="*/ 42 h 84"/>
                <a:gd name="T8" fmla="*/ 42 w 84"/>
                <a:gd name="T9" fmla="*/ 0 h 84"/>
                <a:gd name="T10" fmla="*/ 42 w 84"/>
                <a:gd name="T11" fmla="*/ 72 h 84"/>
                <a:gd name="T12" fmla="*/ 12 w 84"/>
                <a:gd name="T13" fmla="*/ 42 h 84"/>
                <a:gd name="T14" fmla="*/ 42 w 84"/>
                <a:gd name="T15" fmla="*/ 13 h 84"/>
                <a:gd name="T16" fmla="*/ 71 w 84"/>
                <a:gd name="T17" fmla="*/ 42 h 84"/>
                <a:gd name="T18" fmla="*/ 42 w 84"/>
                <a:gd name="T19" fmla="*/ 7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65"/>
                    <a:pt x="19" y="84"/>
                    <a:pt x="42" y="84"/>
                  </a:cubicBezTo>
                  <a:cubicBezTo>
                    <a:pt x="65" y="84"/>
                    <a:pt x="84" y="65"/>
                    <a:pt x="84" y="42"/>
                  </a:cubicBezTo>
                  <a:cubicBezTo>
                    <a:pt x="84" y="19"/>
                    <a:pt x="65" y="0"/>
                    <a:pt x="42" y="0"/>
                  </a:cubicBezTo>
                  <a:close/>
                  <a:moveTo>
                    <a:pt x="42" y="72"/>
                  </a:moveTo>
                  <a:cubicBezTo>
                    <a:pt x="25" y="72"/>
                    <a:pt x="12" y="58"/>
                    <a:pt x="12" y="42"/>
                  </a:cubicBezTo>
                  <a:cubicBezTo>
                    <a:pt x="12" y="26"/>
                    <a:pt x="25" y="13"/>
                    <a:pt x="42" y="13"/>
                  </a:cubicBezTo>
                  <a:cubicBezTo>
                    <a:pt x="58" y="13"/>
                    <a:pt x="71" y="26"/>
                    <a:pt x="71" y="42"/>
                  </a:cubicBezTo>
                  <a:cubicBezTo>
                    <a:pt x="71" y="58"/>
                    <a:pt x="58" y="72"/>
                    <a:pt x="42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93" name="Oval 379"/>
            <p:cNvSpPr>
              <a:spLocks noChangeArrowheads="1"/>
            </p:cNvSpPr>
            <p:nvPr userDrawn="1"/>
          </p:nvSpPr>
          <p:spPr bwMode="auto">
            <a:xfrm>
              <a:off x="1337154" y="4258455"/>
              <a:ext cx="20661" cy="2066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94" name="Freeform 380"/>
            <p:cNvSpPr>
              <a:spLocks noEditPoints="1"/>
            </p:cNvSpPr>
            <p:nvPr userDrawn="1"/>
          </p:nvSpPr>
          <p:spPr bwMode="auto">
            <a:xfrm>
              <a:off x="1285993" y="4250585"/>
              <a:ext cx="37387" cy="36403"/>
            </a:xfrm>
            <a:custGeom>
              <a:avLst/>
              <a:gdLst>
                <a:gd name="T0" fmla="*/ 42 w 84"/>
                <a:gd name="T1" fmla="*/ 0 h 84"/>
                <a:gd name="T2" fmla="*/ 0 w 84"/>
                <a:gd name="T3" fmla="*/ 42 h 84"/>
                <a:gd name="T4" fmla="*/ 42 w 84"/>
                <a:gd name="T5" fmla="*/ 84 h 84"/>
                <a:gd name="T6" fmla="*/ 84 w 84"/>
                <a:gd name="T7" fmla="*/ 42 h 84"/>
                <a:gd name="T8" fmla="*/ 42 w 84"/>
                <a:gd name="T9" fmla="*/ 0 h 84"/>
                <a:gd name="T10" fmla="*/ 42 w 84"/>
                <a:gd name="T11" fmla="*/ 72 h 84"/>
                <a:gd name="T12" fmla="*/ 13 w 84"/>
                <a:gd name="T13" fmla="*/ 42 h 84"/>
                <a:gd name="T14" fmla="*/ 42 w 84"/>
                <a:gd name="T15" fmla="*/ 13 h 84"/>
                <a:gd name="T16" fmla="*/ 72 w 84"/>
                <a:gd name="T17" fmla="*/ 42 h 84"/>
                <a:gd name="T18" fmla="*/ 42 w 84"/>
                <a:gd name="T19" fmla="*/ 7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65"/>
                    <a:pt x="19" y="84"/>
                    <a:pt x="42" y="84"/>
                  </a:cubicBezTo>
                  <a:cubicBezTo>
                    <a:pt x="65" y="84"/>
                    <a:pt x="84" y="65"/>
                    <a:pt x="84" y="42"/>
                  </a:cubicBezTo>
                  <a:cubicBezTo>
                    <a:pt x="84" y="19"/>
                    <a:pt x="65" y="0"/>
                    <a:pt x="42" y="0"/>
                  </a:cubicBezTo>
                  <a:close/>
                  <a:moveTo>
                    <a:pt x="42" y="72"/>
                  </a:moveTo>
                  <a:cubicBezTo>
                    <a:pt x="26" y="72"/>
                    <a:pt x="13" y="58"/>
                    <a:pt x="13" y="42"/>
                  </a:cubicBezTo>
                  <a:cubicBezTo>
                    <a:pt x="13" y="26"/>
                    <a:pt x="26" y="13"/>
                    <a:pt x="42" y="13"/>
                  </a:cubicBezTo>
                  <a:cubicBezTo>
                    <a:pt x="58" y="13"/>
                    <a:pt x="72" y="26"/>
                    <a:pt x="72" y="42"/>
                  </a:cubicBezTo>
                  <a:cubicBezTo>
                    <a:pt x="72" y="58"/>
                    <a:pt x="58" y="72"/>
                    <a:pt x="42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95" name="Oval 381"/>
            <p:cNvSpPr>
              <a:spLocks noChangeArrowheads="1"/>
            </p:cNvSpPr>
            <p:nvPr userDrawn="1"/>
          </p:nvSpPr>
          <p:spPr bwMode="auto">
            <a:xfrm>
              <a:off x="1293864" y="4258455"/>
              <a:ext cx="21645" cy="2066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96" name="Freeform 382"/>
            <p:cNvSpPr>
              <a:spLocks noEditPoints="1"/>
            </p:cNvSpPr>
            <p:nvPr userDrawn="1"/>
          </p:nvSpPr>
          <p:spPr bwMode="auto">
            <a:xfrm>
              <a:off x="1208268" y="4068571"/>
              <a:ext cx="491929" cy="199723"/>
            </a:xfrm>
            <a:custGeom>
              <a:avLst/>
              <a:gdLst>
                <a:gd name="T0" fmla="*/ 1079 w 1125"/>
                <a:gd name="T1" fmla="*/ 348 h 455"/>
                <a:gd name="T2" fmla="*/ 1008 w 1125"/>
                <a:gd name="T3" fmla="*/ 355 h 455"/>
                <a:gd name="T4" fmla="*/ 1079 w 1125"/>
                <a:gd name="T5" fmla="*/ 343 h 455"/>
                <a:gd name="T6" fmla="*/ 1023 w 1125"/>
                <a:gd name="T7" fmla="*/ 120 h 455"/>
                <a:gd name="T8" fmla="*/ 958 w 1125"/>
                <a:gd name="T9" fmla="*/ 29 h 455"/>
                <a:gd name="T10" fmla="*/ 796 w 1125"/>
                <a:gd name="T11" fmla="*/ 29 h 455"/>
                <a:gd name="T12" fmla="*/ 781 w 1125"/>
                <a:gd name="T13" fmla="*/ 0 h 455"/>
                <a:gd name="T14" fmla="*/ 780 w 1125"/>
                <a:gd name="T15" fmla="*/ 0 h 455"/>
                <a:gd name="T16" fmla="*/ 765 w 1125"/>
                <a:gd name="T17" fmla="*/ 29 h 455"/>
                <a:gd name="T18" fmla="*/ 578 w 1125"/>
                <a:gd name="T19" fmla="*/ 15 h 455"/>
                <a:gd name="T20" fmla="*/ 563 w 1125"/>
                <a:gd name="T21" fmla="*/ 1 h 455"/>
                <a:gd name="T22" fmla="*/ 547 w 1125"/>
                <a:gd name="T23" fmla="*/ 15 h 455"/>
                <a:gd name="T24" fmla="*/ 360 w 1125"/>
                <a:gd name="T25" fmla="*/ 29 h 455"/>
                <a:gd name="T26" fmla="*/ 345 w 1125"/>
                <a:gd name="T27" fmla="*/ 0 h 455"/>
                <a:gd name="T28" fmla="*/ 344 w 1125"/>
                <a:gd name="T29" fmla="*/ 0 h 455"/>
                <a:gd name="T30" fmla="*/ 329 w 1125"/>
                <a:gd name="T31" fmla="*/ 29 h 455"/>
                <a:gd name="T32" fmla="*/ 167 w 1125"/>
                <a:gd name="T33" fmla="*/ 29 h 455"/>
                <a:gd name="T34" fmla="*/ 102 w 1125"/>
                <a:gd name="T35" fmla="*/ 120 h 455"/>
                <a:gd name="T36" fmla="*/ 46 w 1125"/>
                <a:gd name="T37" fmla="*/ 343 h 455"/>
                <a:gd name="T38" fmla="*/ 117 w 1125"/>
                <a:gd name="T39" fmla="*/ 355 h 455"/>
                <a:gd name="T40" fmla="*/ 46 w 1125"/>
                <a:gd name="T41" fmla="*/ 348 h 455"/>
                <a:gd name="T42" fmla="*/ 0 w 1125"/>
                <a:gd name="T43" fmla="*/ 356 h 455"/>
                <a:gd name="T44" fmla="*/ 8 w 1125"/>
                <a:gd name="T45" fmla="*/ 413 h 455"/>
                <a:gd name="T46" fmla="*/ 54 w 1125"/>
                <a:gd name="T47" fmla="*/ 406 h 455"/>
                <a:gd name="T48" fmla="*/ 157 w 1125"/>
                <a:gd name="T49" fmla="*/ 455 h 455"/>
                <a:gd name="T50" fmla="*/ 158 w 1125"/>
                <a:gd name="T51" fmla="*/ 455 h 455"/>
                <a:gd name="T52" fmla="*/ 269 w 1125"/>
                <a:gd name="T53" fmla="*/ 417 h 455"/>
                <a:gd name="T54" fmla="*/ 367 w 1125"/>
                <a:gd name="T55" fmla="*/ 417 h 455"/>
                <a:gd name="T56" fmla="*/ 477 w 1125"/>
                <a:gd name="T57" fmla="*/ 455 h 455"/>
                <a:gd name="T58" fmla="*/ 657 w 1125"/>
                <a:gd name="T59" fmla="*/ 455 h 455"/>
                <a:gd name="T60" fmla="*/ 719 w 1125"/>
                <a:gd name="T61" fmla="*/ 393 h 455"/>
                <a:gd name="T62" fmla="*/ 817 w 1125"/>
                <a:gd name="T63" fmla="*/ 393 h 455"/>
                <a:gd name="T64" fmla="*/ 915 w 1125"/>
                <a:gd name="T65" fmla="*/ 393 h 455"/>
                <a:gd name="T66" fmla="*/ 996 w 1125"/>
                <a:gd name="T67" fmla="*/ 406 h 455"/>
                <a:gd name="T68" fmla="*/ 1079 w 1125"/>
                <a:gd name="T69" fmla="*/ 413 h 455"/>
                <a:gd name="T70" fmla="*/ 1125 w 1125"/>
                <a:gd name="T71" fmla="*/ 405 h 455"/>
                <a:gd name="T72" fmla="*/ 1117 w 1125"/>
                <a:gd name="T73" fmla="*/ 348 h 455"/>
                <a:gd name="T74" fmla="*/ 157 w 1125"/>
                <a:gd name="T75" fmla="*/ 368 h 455"/>
                <a:gd name="T76" fmla="*/ 969 w 1125"/>
                <a:gd name="T77" fmla="*/ 344 h 455"/>
                <a:gd name="T78" fmla="*/ 159 w 1125"/>
                <a:gd name="T79" fmla="*/ 326 h 455"/>
                <a:gd name="T80" fmla="*/ 210 w 1125"/>
                <a:gd name="T81" fmla="*/ 120 h 455"/>
                <a:gd name="T82" fmla="*/ 159 w 1125"/>
                <a:gd name="T83" fmla="*/ 326 h 455"/>
                <a:gd name="T84" fmla="*/ 915 w 1125"/>
                <a:gd name="T85" fmla="*/ 120 h 455"/>
                <a:gd name="T86" fmla="*/ 966 w 1125"/>
                <a:gd name="T87" fmla="*/ 326 h 455"/>
                <a:gd name="T88" fmla="*/ 991 w 1125"/>
                <a:gd name="T89" fmla="*/ 86 h 455"/>
                <a:gd name="T90" fmla="*/ 745 w 1125"/>
                <a:gd name="T91" fmla="*/ 86 h 455"/>
                <a:gd name="T92" fmla="*/ 729 w 1125"/>
                <a:gd name="T93" fmla="*/ 340 h 455"/>
                <a:gd name="T94" fmla="*/ 571 w 1125"/>
                <a:gd name="T95" fmla="*/ 86 h 455"/>
                <a:gd name="T96" fmla="*/ 555 w 1125"/>
                <a:gd name="T97" fmla="*/ 340 h 455"/>
                <a:gd name="T98" fmla="*/ 396 w 1125"/>
                <a:gd name="T99" fmla="*/ 86 h 455"/>
                <a:gd name="T100" fmla="*/ 380 w 1125"/>
                <a:gd name="T101" fmla="*/ 340 h 455"/>
                <a:gd name="T102" fmla="*/ 210 w 1125"/>
                <a:gd name="T103" fmla="*/ 86 h 455"/>
                <a:gd name="T104" fmla="*/ 126 w 1125"/>
                <a:gd name="T105" fmla="*/ 77 h 455"/>
                <a:gd name="T106" fmla="*/ 210 w 1125"/>
                <a:gd name="T107" fmla="*/ 69 h 455"/>
                <a:gd name="T108" fmla="*/ 991 w 1125"/>
                <a:gd name="T109" fmla="*/ 69 h 455"/>
                <a:gd name="T110" fmla="*/ 991 w 1125"/>
                <a:gd name="T111" fmla="*/ 86 h 4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25" h="455">
                  <a:moveTo>
                    <a:pt x="1117" y="348"/>
                  </a:moveTo>
                  <a:cubicBezTo>
                    <a:pt x="1079" y="348"/>
                    <a:pt x="1079" y="348"/>
                    <a:pt x="1079" y="348"/>
                  </a:cubicBezTo>
                  <a:cubicBezTo>
                    <a:pt x="1075" y="348"/>
                    <a:pt x="1071" y="351"/>
                    <a:pt x="1071" y="355"/>
                  </a:cubicBezTo>
                  <a:cubicBezTo>
                    <a:pt x="1008" y="355"/>
                    <a:pt x="1008" y="355"/>
                    <a:pt x="1008" y="355"/>
                  </a:cubicBezTo>
                  <a:cubicBezTo>
                    <a:pt x="1011" y="351"/>
                    <a:pt x="1014" y="347"/>
                    <a:pt x="1016" y="343"/>
                  </a:cubicBezTo>
                  <a:cubicBezTo>
                    <a:pt x="1079" y="343"/>
                    <a:pt x="1079" y="343"/>
                    <a:pt x="1079" y="343"/>
                  </a:cubicBezTo>
                  <a:cubicBezTo>
                    <a:pt x="1079" y="120"/>
                    <a:pt x="1079" y="120"/>
                    <a:pt x="1079" y="120"/>
                  </a:cubicBezTo>
                  <a:cubicBezTo>
                    <a:pt x="1023" y="120"/>
                    <a:pt x="1023" y="120"/>
                    <a:pt x="1023" y="120"/>
                  </a:cubicBezTo>
                  <a:cubicBezTo>
                    <a:pt x="1023" y="89"/>
                    <a:pt x="1023" y="89"/>
                    <a:pt x="1023" y="89"/>
                  </a:cubicBezTo>
                  <a:cubicBezTo>
                    <a:pt x="1023" y="56"/>
                    <a:pt x="994" y="29"/>
                    <a:pt x="958" y="29"/>
                  </a:cubicBezTo>
                  <a:cubicBezTo>
                    <a:pt x="915" y="29"/>
                    <a:pt x="915" y="29"/>
                    <a:pt x="915" y="29"/>
                  </a:cubicBezTo>
                  <a:cubicBezTo>
                    <a:pt x="796" y="29"/>
                    <a:pt x="796" y="29"/>
                    <a:pt x="796" y="29"/>
                  </a:cubicBezTo>
                  <a:cubicBezTo>
                    <a:pt x="796" y="15"/>
                    <a:pt x="796" y="15"/>
                    <a:pt x="796" y="15"/>
                  </a:cubicBezTo>
                  <a:cubicBezTo>
                    <a:pt x="796" y="7"/>
                    <a:pt x="789" y="0"/>
                    <a:pt x="781" y="0"/>
                  </a:cubicBezTo>
                  <a:cubicBezTo>
                    <a:pt x="781" y="0"/>
                    <a:pt x="780" y="0"/>
                    <a:pt x="780" y="1"/>
                  </a:cubicBezTo>
                  <a:cubicBezTo>
                    <a:pt x="780" y="0"/>
                    <a:pt x="780" y="0"/>
                    <a:pt x="780" y="0"/>
                  </a:cubicBezTo>
                  <a:cubicBezTo>
                    <a:pt x="772" y="0"/>
                    <a:pt x="765" y="7"/>
                    <a:pt x="765" y="15"/>
                  </a:cubicBezTo>
                  <a:cubicBezTo>
                    <a:pt x="765" y="29"/>
                    <a:pt x="765" y="29"/>
                    <a:pt x="765" y="29"/>
                  </a:cubicBezTo>
                  <a:cubicBezTo>
                    <a:pt x="578" y="29"/>
                    <a:pt x="578" y="29"/>
                    <a:pt x="578" y="29"/>
                  </a:cubicBezTo>
                  <a:cubicBezTo>
                    <a:pt x="578" y="15"/>
                    <a:pt x="578" y="15"/>
                    <a:pt x="578" y="15"/>
                  </a:cubicBezTo>
                  <a:cubicBezTo>
                    <a:pt x="578" y="7"/>
                    <a:pt x="571" y="0"/>
                    <a:pt x="563" y="0"/>
                  </a:cubicBezTo>
                  <a:cubicBezTo>
                    <a:pt x="563" y="0"/>
                    <a:pt x="563" y="0"/>
                    <a:pt x="563" y="1"/>
                  </a:cubicBezTo>
                  <a:cubicBezTo>
                    <a:pt x="562" y="0"/>
                    <a:pt x="562" y="0"/>
                    <a:pt x="562" y="0"/>
                  </a:cubicBezTo>
                  <a:cubicBezTo>
                    <a:pt x="554" y="0"/>
                    <a:pt x="547" y="7"/>
                    <a:pt x="547" y="15"/>
                  </a:cubicBezTo>
                  <a:cubicBezTo>
                    <a:pt x="547" y="29"/>
                    <a:pt x="547" y="29"/>
                    <a:pt x="547" y="29"/>
                  </a:cubicBezTo>
                  <a:cubicBezTo>
                    <a:pt x="360" y="29"/>
                    <a:pt x="360" y="29"/>
                    <a:pt x="360" y="29"/>
                  </a:cubicBezTo>
                  <a:cubicBezTo>
                    <a:pt x="360" y="15"/>
                    <a:pt x="360" y="15"/>
                    <a:pt x="360" y="15"/>
                  </a:cubicBezTo>
                  <a:cubicBezTo>
                    <a:pt x="360" y="7"/>
                    <a:pt x="353" y="0"/>
                    <a:pt x="345" y="0"/>
                  </a:cubicBezTo>
                  <a:cubicBezTo>
                    <a:pt x="345" y="0"/>
                    <a:pt x="345" y="0"/>
                    <a:pt x="345" y="1"/>
                  </a:cubicBezTo>
                  <a:cubicBezTo>
                    <a:pt x="345" y="0"/>
                    <a:pt x="344" y="0"/>
                    <a:pt x="344" y="0"/>
                  </a:cubicBezTo>
                  <a:cubicBezTo>
                    <a:pt x="336" y="0"/>
                    <a:pt x="329" y="7"/>
                    <a:pt x="329" y="15"/>
                  </a:cubicBezTo>
                  <a:cubicBezTo>
                    <a:pt x="329" y="29"/>
                    <a:pt x="329" y="29"/>
                    <a:pt x="329" y="29"/>
                  </a:cubicBezTo>
                  <a:cubicBezTo>
                    <a:pt x="210" y="29"/>
                    <a:pt x="210" y="29"/>
                    <a:pt x="210" y="29"/>
                  </a:cubicBezTo>
                  <a:cubicBezTo>
                    <a:pt x="167" y="29"/>
                    <a:pt x="167" y="29"/>
                    <a:pt x="167" y="29"/>
                  </a:cubicBezTo>
                  <a:cubicBezTo>
                    <a:pt x="131" y="29"/>
                    <a:pt x="102" y="56"/>
                    <a:pt x="102" y="89"/>
                  </a:cubicBezTo>
                  <a:cubicBezTo>
                    <a:pt x="102" y="120"/>
                    <a:pt x="102" y="120"/>
                    <a:pt x="102" y="120"/>
                  </a:cubicBezTo>
                  <a:cubicBezTo>
                    <a:pt x="46" y="120"/>
                    <a:pt x="46" y="120"/>
                    <a:pt x="46" y="120"/>
                  </a:cubicBezTo>
                  <a:cubicBezTo>
                    <a:pt x="46" y="343"/>
                    <a:pt x="46" y="343"/>
                    <a:pt x="46" y="343"/>
                  </a:cubicBezTo>
                  <a:cubicBezTo>
                    <a:pt x="109" y="343"/>
                    <a:pt x="109" y="343"/>
                    <a:pt x="109" y="343"/>
                  </a:cubicBezTo>
                  <a:cubicBezTo>
                    <a:pt x="111" y="347"/>
                    <a:pt x="114" y="351"/>
                    <a:pt x="117" y="355"/>
                  </a:cubicBezTo>
                  <a:cubicBezTo>
                    <a:pt x="54" y="355"/>
                    <a:pt x="54" y="355"/>
                    <a:pt x="54" y="355"/>
                  </a:cubicBezTo>
                  <a:cubicBezTo>
                    <a:pt x="54" y="351"/>
                    <a:pt x="50" y="348"/>
                    <a:pt x="46" y="348"/>
                  </a:cubicBezTo>
                  <a:cubicBezTo>
                    <a:pt x="8" y="348"/>
                    <a:pt x="8" y="348"/>
                    <a:pt x="8" y="348"/>
                  </a:cubicBezTo>
                  <a:cubicBezTo>
                    <a:pt x="4" y="348"/>
                    <a:pt x="0" y="351"/>
                    <a:pt x="0" y="356"/>
                  </a:cubicBezTo>
                  <a:cubicBezTo>
                    <a:pt x="0" y="405"/>
                    <a:pt x="0" y="405"/>
                    <a:pt x="0" y="405"/>
                  </a:cubicBezTo>
                  <a:cubicBezTo>
                    <a:pt x="0" y="410"/>
                    <a:pt x="4" y="413"/>
                    <a:pt x="8" y="413"/>
                  </a:cubicBezTo>
                  <a:cubicBezTo>
                    <a:pt x="46" y="413"/>
                    <a:pt x="46" y="413"/>
                    <a:pt x="46" y="413"/>
                  </a:cubicBezTo>
                  <a:cubicBezTo>
                    <a:pt x="50" y="413"/>
                    <a:pt x="54" y="410"/>
                    <a:pt x="54" y="406"/>
                  </a:cubicBezTo>
                  <a:cubicBezTo>
                    <a:pt x="129" y="406"/>
                    <a:pt x="129" y="406"/>
                    <a:pt x="129" y="406"/>
                  </a:cubicBezTo>
                  <a:cubicBezTo>
                    <a:pt x="129" y="427"/>
                    <a:pt x="140" y="445"/>
                    <a:pt x="157" y="455"/>
                  </a:cubicBezTo>
                  <a:cubicBezTo>
                    <a:pt x="158" y="455"/>
                    <a:pt x="158" y="455"/>
                    <a:pt x="158" y="455"/>
                  </a:cubicBezTo>
                  <a:cubicBezTo>
                    <a:pt x="158" y="455"/>
                    <a:pt x="158" y="455"/>
                    <a:pt x="158" y="455"/>
                  </a:cubicBezTo>
                  <a:cubicBezTo>
                    <a:pt x="158" y="421"/>
                    <a:pt x="186" y="393"/>
                    <a:pt x="220" y="393"/>
                  </a:cubicBezTo>
                  <a:cubicBezTo>
                    <a:pt x="240" y="393"/>
                    <a:pt x="258" y="403"/>
                    <a:pt x="269" y="417"/>
                  </a:cubicBezTo>
                  <a:cubicBezTo>
                    <a:pt x="280" y="403"/>
                    <a:pt x="298" y="393"/>
                    <a:pt x="318" y="393"/>
                  </a:cubicBezTo>
                  <a:cubicBezTo>
                    <a:pt x="338" y="393"/>
                    <a:pt x="355" y="403"/>
                    <a:pt x="367" y="417"/>
                  </a:cubicBezTo>
                  <a:cubicBezTo>
                    <a:pt x="378" y="403"/>
                    <a:pt x="396" y="393"/>
                    <a:pt x="415" y="393"/>
                  </a:cubicBezTo>
                  <a:cubicBezTo>
                    <a:pt x="450" y="393"/>
                    <a:pt x="477" y="421"/>
                    <a:pt x="477" y="455"/>
                  </a:cubicBezTo>
                  <a:cubicBezTo>
                    <a:pt x="477" y="455"/>
                    <a:pt x="477" y="455"/>
                    <a:pt x="477" y="455"/>
                  </a:cubicBezTo>
                  <a:cubicBezTo>
                    <a:pt x="657" y="455"/>
                    <a:pt x="657" y="455"/>
                    <a:pt x="657" y="455"/>
                  </a:cubicBezTo>
                  <a:cubicBezTo>
                    <a:pt x="657" y="455"/>
                    <a:pt x="657" y="455"/>
                    <a:pt x="657" y="455"/>
                  </a:cubicBezTo>
                  <a:cubicBezTo>
                    <a:pt x="657" y="421"/>
                    <a:pt x="685" y="393"/>
                    <a:pt x="719" y="393"/>
                  </a:cubicBezTo>
                  <a:cubicBezTo>
                    <a:pt x="739" y="393"/>
                    <a:pt x="757" y="403"/>
                    <a:pt x="768" y="417"/>
                  </a:cubicBezTo>
                  <a:cubicBezTo>
                    <a:pt x="779" y="403"/>
                    <a:pt x="797" y="393"/>
                    <a:pt x="817" y="393"/>
                  </a:cubicBezTo>
                  <a:cubicBezTo>
                    <a:pt x="837" y="393"/>
                    <a:pt x="854" y="403"/>
                    <a:pt x="866" y="417"/>
                  </a:cubicBezTo>
                  <a:cubicBezTo>
                    <a:pt x="877" y="403"/>
                    <a:pt x="895" y="393"/>
                    <a:pt x="915" y="393"/>
                  </a:cubicBezTo>
                  <a:cubicBezTo>
                    <a:pt x="947" y="393"/>
                    <a:pt x="973" y="418"/>
                    <a:pt x="976" y="449"/>
                  </a:cubicBezTo>
                  <a:cubicBezTo>
                    <a:pt x="988" y="439"/>
                    <a:pt x="996" y="423"/>
                    <a:pt x="996" y="406"/>
                  </a:cubicBezTo>
                  <a:cubicBezTo>
                    <a:pt x="1071" y="406"/>
                    <a:pt x="1071" y="406"/>
                    <a:pt x="1071" y="406"/>
                  </a:cubicBezTo>
                  <a:cubicBezTo>
                    <a:pt x="1071" y="410"/>
                    <a:pt x="1075" y="413"/>
                    <a:pt x="1079" y="413"/>
                  </a:cubicBezTo>
                  <a:cubicBezTo>
                    <a:pt x="1117" y="413"/>
                    <a:pt x="1117" y="413"/>
                    <a:pt x="1117" y="413"/>
                  </a:cubicBezTo>
                  <a:cubicBezTo>
                    <a:pt x="1121" y="413"/>
                    <a:pt x="1125" y="410"/>
                    <a:pt x="1125" y="405"/>
                  </a:cubicBezTo>
                  <a:cubicBezTo>
                    <a:pt x="1125" y="356"/>
                    <a:pt x="1125" y="356"/>
                    <a:pt x="1125" y="356"/>
                  </a:cubicBezTo>
                  <a:cubicBezTo>
                    <a:pt x="1125" y="351"/>
                    <a:pt x="1121" y="348"/>
                    <a:pt x="1117" y="348"/>
                  </a:cubicBezTo>
                  <a:close/>
                  <a:moveTo>
                    <a:pt x="969" y="368"/>
                  </a:moveTo>
                  <a:cubicBezTo>
                    <a:pt x="157" y="368"/>
                    <a:pt x="157" y="368"/>
                    <a:pt x="157" y="368"/>
                  </a:cubicBezTo>
                  <a:cubicBezTo>
                    <a:pt x="157" y="344"/>
                    <a:pt x="157" y="344"/>
                    <a:pt x="157" y="344"/>
                  </a:cubicBezTo>
                  <a:cubicBezTo>
                    <a:pt x="969" y="344"/>
                    <a:pt x="969" y="344"/>
                    <a:pt x="969" y="344"/>
                  </a:cubicBezTo>
                  <a:lnTo>
                    <a:pt x="969" y="368"/>
                  </a:lnTo>
                  <a:close/>
                  <a:moveTo>
                    <a:pt x="159" y="326"/>
                  </a:moveTo>
                  <a:cubicBezTo>
                    <a:pt x="159" y="120"/>
                    <a:pt x="159" y="120"/>
                    <a:pt x="159" y="120"/>
                  </a:cubicBezTo>
                  <a:cubicBezTo>
                    <a:pt x="210" y="120"/>
                    <a:pt x="210" y="120"/>
                    <a:pt x="210" y="120"/>
                  </a:cubicBezTo>
                  <a:cubicBezTo>
                    <a:pt x="210" y="326"/>
                    <a:pt x="210" y="326"/>
                    <a:pt x="210" y="326"/>
                  </a:cubicBezTo>
                  <a:lnTo>
                    <a:pt x="159" y="326"/>
                  </a:lnTo>
                  <a:close/>
                  <a:moveTo>
                    <a:pt x="915" y="326"/>
                  </a:moveTo>
                  <a:cubicBezTo>
                    <a:pt x="915" y="120"/>
                    <a:pt x="915" y="120"/>
                    <a:pt x="915" y="120"/>
                  </a:cubicBezTo>
                  <a:cubicBezTo>
                    <a:pt x="966" y="120"/>
                    <a:pt x="966" y="120"/>
                    <a:pt x="966" y="120"/>
                  </a:cubicBezTo>
                  <a:cubicBezTo>
                    <a:pt x="966" y="326"/>
                    <a:pt x="966" y="326"/>
                    <a:pt x="966" y="326"/>
                  </a:cubicBezTo>
                  <a:lnTo>
                    <a:pt x="915" y="326"/>
                  </a:lnTo>
                  <a:close/>
                  <a:moveTo>
                    <a:pt x="991" y="86"/>
                  </a:moveTo>
                  <a:cubicBezTo>
                    <a:pt x="915" y="86"/>
                    <a:pt x="915" y="86"/>
                    <a:pt x="915" y="86"/>
                  </a:cubicBezTo>
                  <a:cubicBezTo>
                    <a:pt x="745" y="86"/>
                    <a:pt x="745" y="86"/>
                    <a:pt x="745" y="86"/>
                  </a:cubicBezTo>
                  <a:cubicBezTo>
                    <a:pt x="745" y="340"/>
                    <a:pt x="745" y="340"/>
                    <a:pt x="745" y="340"/>
                  </a:cubicBezTo>
                  <a:cubicBezTo>
                    <a:pt x="729" y="340"/>
                    <a:pt x="729" y="340"/>
                    <a:pt x="729" y="340"/>
                  </a:cubicBezTo>
                  <a:cubicBezTo>
                    <a:pt x="729" y="86"/>
                    <a:pt x="729" y="86"/>
                    <a:pt x="729" y="86"/>
                  </a:cubicBezTo>
                  <a:cubicBezTo>
                    <a:pt x="571" y="86"/>
                    <a:pt x="571" y="86"/>
                    <a:pt x="571" y="86"/>
                  </a:cubicBezTo>
                  <a:cubicBezTo>
                    <a:pt x="571" y="340"/>
                    <a:pt x="571" y="340"/>
                    <a:pt x="571" y="340"/>
                  </a:cubicBezTo>
                  <a:cubicBezTo>
                    <a:pt x="555" y="340"/>
                    <a:pt x="555" y="340"/>
                    <a:pt x="555" y="340"/>
                  </a:cubicBezTo>
                  <a:cubicBezTo>
                    <a:pt x="555" y="86"/>
                    <a:pt x="555" y="86"/>
                    <a:pt x="555" y="86"/>
                  </a:cubicBezTo>
                  <a:cubicBezTo>
                    <a:pt x="396" y="86"/>
                    <a:pt x="396" y="86"/>
                    <a:pt x="396" y="86"/>
                  </a:cubicBezTo>
                  <a:cubicBezTo>
                    <a:pt x="396" y="340"/>
                    <a:pt x="396" y="340"/>
                    <a:pt x="396" y="340"/>
                  </a:cubicBezTo>
                  <a:cubicBezTo>
                    <a:pt x="380" y="340"/>
                    <a:pt x="380" y="340"/>
                    <a:pt x="380" y="340"/>
                  </a:cubicBezTo>
                  <a:cubicBezTo>
                    <a:pt x="380" y="86"/>
                    <a:pt x="380" y="86"/>
                    <a:pt x="380" y="86"/>
                  </a:cubicBezTo>
                  <a:cubicBezTo>
                    <a:pt x="210" y="86"/>
                    <a:pt x="210" y="86"/>
                    <a:pt x="210" y="86"/>
                  </a:cubicBezTo>
                  <a:cubicBezTo>
                    <a:pt x="134" y="86"/>
                    <a:pt x="134" y="86"/>
                    <a:pt x="134" y="86"/>
                  </a:cubicBezTo>
                  <a:cubicBezTo>
                    <a:pt x="130" y="86"/>
                    <a:pt x="126" y="82"/>
                    <a:pt x="126" y="77"/>
                  </a:cubicBezTo>
                  <a:cubicBezTo>
                    <a:pt x="126" y="73"/>
                    <a:pt x="130" y="69"/>
                    <a:pt x="134" y="69"/>
                  </a:cubicBezTo>
                  <a:cubicBezTo>
                    <a:pt x="210" y="69"/>
                    <a:pt x="210" y="69"/>
                    <a:pt x="210" y="69"/>
                  </a:cubicBezTo>
                  <a:cubicBezTo>
                    <a:pt x="915" y="69"/>
                    <a:pt x="915" y="69"/>
                    <a:pt x="915" y="69"/>
                  </a:cubicBezTo>
                  <a:cubicBezTo>
                    <a:pt x="991" y="69"/>
                    <a:pt x="991" y="69"/>
                    <a:pt x="991" y="69"/>
                  </a:cubicBezTo>
                  <a:cubicBezTo>
                    <a:pt x="995" y="69"/>
                    <a:pt x="999" y="73"/>
                    <a:pt x="999" y="77"/>
                  </a:cubicBezTo>
                  <a:cubicBezTo>
                    <a:pt x="999" y="82"/>
                    <a:pt x="995" y="86"/>
                    <a:pt x="991" y="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97" name="Freeform 383"/>
            <p:cNvSpPr>
              <a:spLocks noEditPoints="1"/>
            </p:cNvSpPr>
            <p:nvPr userDrawn="1"/>
          </p:nvSpPr>
          <p:spPr bwMode="auto">
            <a:xfrm>
              <a:off x="2047499" y="4250585"/>
              <a:ext cx="37387" cy="36403"/>
            </a:xfrm>
            <a:custGeom>
              <a:avLst/>
              <a:gdLst>
                <a:gd name="T0" fmla="*/ 42 w 84"/>
                <a:gd name="T1" fmla="*/ 0 h 84"/>
                <a:gd name="T2" fmla="*/ 0 w 84"/>
                <a:gd name="T3" fmla="*/ 42 h 84"/>
                <a:gd name="T4" fmla="*/ 42 w 84"/>
                <a:gd name="T5" fmla="*/ 84 h 84"/>
                <a:gd name="T6" fmla="*/ 84 w 84"/>
                <a:gd name="T7" fmla="*/ 42 h 84"/>
                <a:gd name="T8" fmla="*/ 42 w 84"/>
                <a:gd name="T9" fmla="*/ 0 h 84"/>
                <a:gd name="T10" fmla="*/ 42 w 84"/>
                <a:gd name="T11" fmla="*/ 72 h 84"/>
                <a:gd name="T12" fmla="*/ 12 w 84"/>
                <a:gd name="T13" fmla="*/ 42 h 84"/>
                <a:gd name="T14" fmla="*/ 42 w 84"/>
                <a:gd name="T15" fmla="*/ 13 h 84"/>
                <a:gd name="T16" fmla="*/ 71 w 84"/>
                <a:gd name="T17" fmla="*/ 42 h 84"/>
                <a:gd name="T18" fmla="*/ 42 w 84"/>
                <a:gd name="T19" fmla="*/ 7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65"/>
                    <a:pt x="19" y="84"/>
                    <a:pt x="42" y="84"/>
                  </a:cubicBezTo>
                  <a:cubicBezTo>
                    <a:pt x="65" y="84"/>
                    <a:pt x="84" y="65"/>
                    <a:pt x="84" y="42"/>
                  </a:cubicBezTo>
                  <a:cubicBezTo>
                    <a:pt x="84" y="19"/>
                    <a:pt x="65" y="0"/>
                    <a:pt x="42" y="0"/>
                  </a:cubicBezTo>
                  <a:close/>
                  <a:moveTo>
                    <a:pt x="42" y="72"/>
                  </a:moveTo>
                  <a:cubicBezTo>
                    <a:pt x="25" y="72"/>
                    <a:pt x="12" y="58"/>
                    <a:pt x="12" y="42"/>
                  </a:cubicBezTo>
                  <a:cubicBezTo>
                    <a:pt x="12" y="26"/>
                    <a:pt x="25" y="13"/>
                    <a:pt x="42" y="13"/>
                  </a:cubicBezTo>
                  <a:cubicBezTo>
                    <a:pt x="58" y="13"/>
                    <a:pt x="71" y="26"/>
                    <a:pt x="71" y="42"/>
                  </a:cubicBezTo>
                  <a:cubicBezTo>
                    <a:pt x="71" y="58"/>
                    <a:pt x="58" y="72"/>
                    <a:pt x="42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98" name="Oval 384"/>
            <p:cNvSpPr>
              <a:spLocks noChangeArrowheads="1"/>
            </p:cNvSpPr>
            <p:nvPr userDrawn="1"/>
          </p:nvSpPr>
          <p:spPr bwMode="auto">
            <a:xfrm>
              <a:off x="2055370" y="4258455"/>
              <a:ext cx="21645" cy="2066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99" name="Freeform 385"/>
            <p:cNvSpPr>
              <a:spLocks noEditPoints="1"/>
            </p:cNvSpPr>
            <p:nvPr userDrawn="1"/>
          </p:nvSpPr>
          <p:spPr bwMode="auto">
            <a:xfrm>
              <a:off x="2003225" y="4250585"/>
              <a:ext cx="36403" cy="36403"/>
            </a:xfrm>
            <a:custGeom>
              <a:avLst/>
              <a:gdLst>
                <a:gd name="T0" fmla="*/ 42 w 84"/>
                <a:gd name="T1" fmla="*/ 0 h 84"/>
                <a:gd name="T2" fmla="*/ 0 w 84"/>
                <a:gd name="T3" fmla="*/ 42 h 84"/>
                <a:gd name="T4" fmla="*/ 42 w 84"/>
                <a:gd name="T5" fmla="*/ 84 h 84"/>
                <a:gd name="T6" fmla="*/ 84 w 84"/>
                <a:gd name="T7" fmla="*/ 42 h 84"/>
                <a:gd name="T8" fmla="*/ 42 w 84"/>
                <a:gd name="T9" fmla="*/ 0 h 84"/>
                <a:gd name="T10" fmla="*/ 42 w 84"/>
                <a:gd name="T11" fmla="*/ 72 h 84"/>
                <a:gd name="T12" fmla="*/ 12 w 84"/>
                <a:gd name="T13" fmla="*/ 42 h 84"/>
                <a:gd name="T14" fmla="*/ 42 w 84"/>
                <a:gd name="T15" fmla="*/ 13 h 84"/>
                <a:gd name="T16" fmla="*/ 71 w 84"/>
                <a:gd name="T17" fmla="*/ 42 h 84"/>
                <a:gd name="T18" fmla="*/ 42 w 84"/>
                <a:gd name="T19" fmla="*/ 7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65"/>
                    <a:pt x="19" y="84"/>
                    <a:pt x="42" y="84"/>
                  </a:cubicBezTo>
                  <a:cubicBezTo>
                    <a:pt x="65" y="84"/>
                    <a:pt x="84" y="65"/>
                    <a:pt x="84" y="42"/>
                  </a:cubicBezTo>
                  <a:cubicBezTo>
                    <a:pt x="84" y="19"/>
                    <a:pt x="65" y="0"/>
                    <a:pt x="42" y="0"/>
                  </a:cubicBezTo>
                  <a:close/>
                  <a:moveTo>
                    <a:pt x="42" y="72"/>
                  </a:moveTo>
                  <a:cubicBezTo>
                    <a:pt x="26" y="72"/>
                    <a:pt x="12" y="58"/>
                    <a:pt x="12" y="42"/>
                  </a:cubicBezTo>
                  <a:cubicBezTo>
                    <a:pt x="12" y="26"/>
                    <a:pt x="26" y="13"/>
                    <a:pt x="42" y="13"/>
                  </a:cubicBezTo>
                  <a:cubicBezTo>
                    <a:pt x="58" y="13"/>
                    <a:pt x="71" y="26"/>
                    <a:pt x="71" y="42"/>
                  </a:cubicBezTo>
                  <a:cubicBezTo>
                    <a:pt x="71" y="58"/>
                    <a:pt x="58" y="72"/>
                    <a:pt x="42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00" name="Oval 386"/>
            <p:cNvSpPr>
              <a:spLocks noChangeArrowheads="1"/>
            </p:cNvSpPr>
            <p:nvPr userDrawn="1"/>
          </p:nvSpPr>
          <p:spPr bwMode="auto">
            <a:xfrm>
              <a:off x="2011096" y="4258455"/>
              <a:ext cx="20661" cy="2066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01" name="Freeform 387"/>
            <p:cNvSpPr>
              <a:spLocks noEditPoints="1"/>
            </p:cNvSpPr>
            <p:nvPr userDrawn="1"/>
          </p:nvSpPr>
          <p:spPr bwMode="auto">
            <a:xfrm>
              <a:off x="1957968" y="4250585"/>
              <a:ext cx="36403" cy="36403"/>
            </a:xfrm>
            <a:custGeom>
              <a:avLst/>
              <a:gdLst>
                <a:gd name="T0" fmla="*/ 42 w 84"/>
                <a:gd name="T1" fmla="*/ 0 h 84"/>
                <a:gd name="T2" fmla="*/ 0 w 84"/>
                <a:gd name="T3" fmla="*/ 42 h 84"/>
                <a:gd name="T4" fmla="*/ 42 w 84"/>
                <a:gd name="T5" fmla="*/ 84 h 84"/>
                <a:gd name="T6" fmla="*/ 84 w 84"/>
                <a:gd name="T7" fmla="*/ 42 h 84"/>
                <a:gd name="T8" fmla="*/ 42 w 84"/>
                <a:gd name="T9" fmla="*/ 0 h 84"/>
                <a:gd name="T10" fmla="*/ 42 w 84"/>
                <a:gd name="T11" fmla="*/ 72 h 84"/>
                <a:gd name="T12" fmla="*/ 13 w 84"/>
                <a:gd name="T13" fmla="*/ 42 h 84"/>
                <a:gd name="T14" fmla="*/ 42 w 84"/>
                <a:gd name="T15" fmla="*/ 13 h 84"/>
                <a:gd name="T16" fmla="*/ 72 w 84"/>
                <a:gd name="T17" fmla="*/ 42 h 84"/>
                <a:gd name="T18" fmla="*/ 42 w 84"/>
                <a:gd name="T19" fmla="*/ 7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65"/>
                    <a:pt x="19" y="84"/>
                    <a:pt x="42" y="84"/>
                  </a:cubicBezTo>
                  <a:cubicBezTo>
                    <a:pt x="65" y="84"/>
                    <a:pt x="84" y="65"/>
                    <a:pt x="84" y="42"/>
                  </a:cubicBezTo>
                  <a:cubicBezTo>
                    <a:pt x="84" y="19"/>
                    <a:pt x="65" y="0"/>
                    <a:pt x="42" y="0"/>
                  </a:cubicBezTo>
                  <a:close/>
                  <a:moveTo>
                    <a:pt x="42" y="72"/>
                  </a:moveTo>
                  <a:cubicBezTo>
                    <a:pt x="26" y="72"/>
                    <a:pt x="13" y="58"/>
                    <a:pt x="13" y="42"/>
                  </a:cubicBezTo>
                  <a:cubicBezTo>
                    <a:pt x="13" y="26"/>
                    <a:pt x="26" y="13"/>
                    <a:pt x="42" y="13"/>
                  </a:cubicBezTo>
                  <a:cubicBezTo>
                    <a:pt x="58" y="13"/>
                    <a:pt x="72" y="26"/>
                    <a:pt x="72" y="42"/>
                  </a:cubicBezTo>
                  <a:cubicBezTo>
                    <a:pt x="72" y="58"/>
                    <a:pt x="58" y="72"/>
                    <a:pt x="42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02" name="Oval 388"/>
            <p:cNvSpPr>
              <a:spLocks noChangeArrowheads="1"/>
            </p:cNvSpPr>
            <p:nvPr userDrawn="1"/>
          </p:nvSpPr>
          <p:spPr bwMode="auto">
            <a:xfrm>
              <a:off x="1965839" y="4258455"/>
              <a:ext cx="20661" cy="2066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03" name="Freeform 389"/>
            <p:cNvSpPr>
              <a:spLocks noEditPoints="1"/>
            </p:cNvSpPr>
            <p:nvPr userDrawn="1"/>
          </p:nvSpPr>
          <p:spPr bwMode="auto">
            <a:xfrm>
              <a:off x="1834986" y="4250585"/>
              <a:ext cx="37387" cy="36403"/>
            </a:xfrm>
            <a:custGeom>
              <a:avLst/>
              <a:gdLst>
                <a:gd name="T0" fmla="*/ 42 w 84"/>
                <a:gd name="T1" fmla="*/ 0 h 84"/>
                <a:gd name="T2" fmla="*/ 0 w 84"/>
                <a:gd name="T3" fmla="*/ 42 h 84"/>
                <a:gd name="T4" fmla="*/ 42 w 84"/>
                <a:gd name="T5" fmla="*/ 84 h 84"/>
                <a:gd name="T6" fmla="*/ 84 w 84"/>
                <a:gd name="T7" fmla="*/ 42 h 84"/>
                <a:gd name="T8" fmla="*/ 42 w 84"/>
                <a:gd name="T9" fmla="*/ 0 h 84"/>
                <a:gd name="T10" fmla="*/ 42 w 84"/>
                <a:gd name="T11" fmla="*/ 72 h 84"/>
                <a:gd name="T12" fmla="*/ 12 w 84"/>
                <a:gd name="T13" fmla="*/ 42 h 84"/>
                <a:gd name="T14" fmla="*/ 42 w 84"/>
                <a:gd name="T15" fmla="*/ 13 h 84"/>
                <a:gd name="T16" fmla="*/ 72 w 84"/>
                <a:gd name="T17" fmla="*/ 42 h 84"/>
                <a:gd name="T18" fmla="*/ 42 w 84"/>
                <a:gd name="T19" fmla="*/ 7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65"/>
                    <a:pt x="19" y="84"/>
                    <a:pt x="42" y="84"/>
                  </a:cubicBezTo>
                  <a:cubicBezTo>
                    <a:pt x="65" y="84"/>
                    <a:pt x="84" y="65"/>
                    <a:pt x="84" y="42"/>
                  </a:cubicBezTo>
                  <a:cubicBezTo>
                    <a:pt x="84" y="19"/>
                    <a:pt x="65" y="0"/>
                    <a:pt x="42" y="0"/>
                  </a:cubicBezTo>
                  <a:close/>
                  <a:moveTo>
                    <a:pt x="42" y="72"/>
                  </a:moveTo>
                  <a:cubicBezTo>
                    <a:pt x="26" y="72"/>
                    <a:pt x="12" y="58"/>
                    <a:pt x="12" y="42"/>
                  </a:cubicBezTo>
                  <a:cubicBezTo>
                    <a:pt x="12" y="26"/>
                    <a:pt x="26" y="13"/>
                    <a:pt x="42" y="13"/>
                  </a:cubicBezTo>
                  <a:cubicBezTo>
                    <a:pt x="58" y="13"/>
                    <a:pt x="72" y="26"/>
                    <a:pt x="72" y="42"/>
                  </a:cubicBezTo>
                  <a:cubicBezTo>
                    <a:pt x="72" y="58"/>
                    <a:pt x="58" y="72"/>
                    <a:pt x="42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04" name="Oval 390"/>
            <p:cNvSpPr>
              <a:spLocks noChangeArrowheads="1"/>
            </p:cNvSpPr>
            <p:nvPr userDrawn="1"/>
          </p:nvSpPr>
          <p:spPr bwMode="auto">
            <a:xfrm>
              <a:off x="1842856" y="4258455"/>
              <a:ext cx="21645" cy="2066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05" name="Freeform 391"/>
            <p:cNvSpPr>
              <a:spLocks noEditPoints="1"/>
            </p:cNvSpPr>
            <p:nvPr userDrawn="1"/>
          </p:nvSpPr>
          <p:spPr bwMode="auto">
            <a:xfrm>
              <a:off x="1790712" y="4250585"/>
              <a:ext cx="36403" cy="36403"/>
            </a:xfrm>
            <a:custGeom>
              <a:avLst/>
              <a:gdLst>
                <a:gd name="T0" fmla="*/ 42 w 84"/>
                <a:gd name="T1" fmla="*/ 0 h 84"/>
                <a:gd name="T2" fmla="*/ 0 w 84"/>
                <a:gd name="T3" fmla="*/ 42 h 84"/>
                <a:gd name="T4" fmla="*/ 42 w 84"/>
                <a:gd name="T5" fmla="*/ 84 h 84"/>
                <a:gd name="T6" fmla="*/ 84 w 84"/>
                <a:gd name="T7" fmla="*/ 42 h 84"/>
                <a:gd name="T8" fmla="*/ 42 w 84"/>
                <a:gd name="T9" fmla="*/ 0 h 84"/>
                <a:gd name="T10" fmla="*/ 42 w 84"/>
                <a:gd name="T11" fmla="*/ 72 h 84"/>
                <a:gd name="T12" fmla="*/ 13 w 84"/>
                <a:gd name="T13" fmla="*/ 42 h 84"/>
                <a:gd name="T14" fmla="*/ 42 w 84"/>
                <a:gd name="T15" fmla="*/ 13 h 84"/>
                <a:gd name="T16" fmla="*/ 72 w 84"/>
                <a:gd name="T17" fmla="*/ 42 h 84"/>
                <a:gd name="T18" fmla="*/ 42 w 84"/>
                <a:gd name="T19" fmla="*/ 7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65"/>
                    <a:pt x="19" y="84"/>
                    <a:pt x="42" y="84"/>
                  </a:cubicBezTo>
                  <a:cubicBezTo>
                    <a:pt x="65" y="84"/>
                    <a:pt x="84" y="65"/>
                    <a:pt x="84" y="42"/>
                  </a:cubicBezTo>
                  <a:cubicBezTo>
                    <a:pt x="84" y="19"/>
                    <a:pt x="65" y="0"/>
                    <a:pt x="42" y="0"/>
                  </a:cubicBezTo>
                  <a:close/>
                  <a:moveTo>
                    <a:pt x="42" y="72"/>
                  </a:moveTo>
                  <a:cubicBezTo>
                    <a:pt x="26" y="72"/>
                    <a:pt x="13" y="58"/>
                    <a:pt x="13" y="42"/>
                  </a:cubicBezTo>
                  <a:cubicBezTo>
                    <a:pt x="13" y="26"/>
                    <a:pt x="26" y="13"/>
                    <a:pt x="42" y="13"/>
                  </a:cubicBezTo>
                  <a:cubicBezTo>
                    <a:pt x="59" y="13"/>
                    <a:pt x="72" y="26"/>
                    <a:pt x="72" y="42"/>
                  </a:cubicBezTo>
                  <a:cubicBezTo>
                    <a:pt x="72" y="58"/>
                    <a:pt x="59" y="72"/>
                    <a:pt x="42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06" name="Oval 392"/>
            <p:cNvSpPr>
              <a:spLocks noChangeArrowheads="1"/>
            </p:cNvSpPr>
            <p:nvPr userDrawn="1"/>
          </p:nvSpPr>
          <p:spPr bwMode="auto">
            <a:xfrm>
              <a:off x="1798583" y="4258455"/>
              <a:ext cx="20661" cy="2066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07" name="Freeform 393"/>
            <p:cNvSpPr>
              <a:spLocks noEditPoints="1"/>
            </p:cNvSpPr>
            <p:nvPr userDrawn="1"/>
          </p:nvSpPr>
          <p:spPr bwMode="auto">
            <a:xfrm>
              <a:off x="1745455" y="4250585"/>
              <a:ext cx="36403" cy="36403"/>
            </a:xfrm>
            <a:custGeom>
              <a:avLst/>
              <a:gdLst>
                <a:gd name="T0" fmla="*/ 41 w 83"/>
                <a:gd name="T1" fmla="*/ 0 h 84"/>
                <a:gd name="T2" fmla="*/ 0 w 83"/>
                <a:gd name="T3" fmla="*/ 42 h 84"/>
                <a:gd name="T4" fmla="*/ 41 w 83"/>
                <a:gd name="T5" fmla="*/ 84 h 84"/>
                <a:gd name="T6" fmla="*/ 83 w 83"/>
                <a:gd name="T7" fmla="*/ 42 h 84"/>
                <a:gd name="T8" fmla="*/ 41 w 83"/>
                <a:gd name="T9" fmla="*/ 0 h 84"/>
                <a:gd name="T10" fmla="*/ 41 w 83"/>
                <a:gd name="T11" fmla="*/ 72 h 84"/>
                <a:gd name="T12" fmla="*/ 12 w 83"/>
                <a:gd name="T13" fmla="*/ 42 h 84"/>
                <a:gd name="T14" fmla="*/ 41 w 83"/>
                <a:gd name="T15" fmla="*/ 13 h 84"/>
                <a:gd name="T16" fmla="*/ 71 w 83"/>
                <a:gd name="T17" fmla="*/ 42 h 84"/>
                <a:gd name="T18" fmla="*/ 41 w 83"/>
                <a:gd name="T19" fmla="*/ 7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3" h="84">
                  <a:moveTo>
                    <a:pt x="41" y="0"/>
                  </a:moveTo>
                  <a:cubicBezTo>
                    <a:pt x="18" y="0"/>
                    <a:pt x="0" y="19"/>
                    <a:pt x="0" y="42"/>
                  </a:cubicBezTo>
                  <a:cubicBezTo>
                    <a:pt x="0" y="65"/>
                    <a:pt x="18" y="84"/>
                    <a:pt x="41" y="84"/>
                  </a:cubicBezTo>
                  <a:cubicBezTo>
                    <a:pt x="65" y="84"/>
                    <a:pt x="83" y="65"/>
                    <a:pt x="83" y="42"/>
                  </a:cubicBezTo>
                  <a:cubicBezTo>
                    <a:pt x="83" y="19"/>
                    <a:pt x="65" y="0"/>
                    <a:pt x="41" y="0"/>
                  </a:cubicBezTo>
                  <a:close/>
                  <a:moveTo>
                    <a:pt x="41" y="72"/>
                  </a:moveTo>
                  <a:cubicBezTo>
                    <a:pt x="25" y="72"/>
                    <a:pt x="12" y="58"/>
                    <a:pt x="12" y="42"/>
                  </a:cubicBezTo>
                  <a:cubicBezTo>
                    <a:pt x="12" y="26"/>
                    <a:pt x="25" y="13"/>
                    <a:pt x="41" y="13"/>
                  </a:cubicBezTo>
                  <a:cubicBezTo>
                    <a:pt x="58" y="13"/>
                    <a:pt x="71" y="26"/>
                    <a:pt x="71" y="42"/>
                  </a:cubicBezTo>
                  <a:cubicBezTo>
                    <a:pt x="71" y="58"/>
                    <a:pt x="58" y="72"/>
                    <a:pt x="41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08" name="Oval 394"/>
            <p:cNvSpPr>
              <a:spLocks noChangeArrowheads="1"/>
            </p:cNvSpPr>
            <p:nvPr userDrawn="1"/>
          </p:nvSpPr>
          <p:spPr bwMode="auto">
            <a:xfrm>
              <a:off x="1753325" y="4258455"/>
              <a:ext cx="20661" cy="2066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09" name="Freeform 395"/>
            <p:cNvSpPr>
              <a:spLocks/>
            </p:cNvSpPr>
            <p:nvPr userDrawn="1"/>
          </p:nvSpPr>
          <p:spPr bwMode="auto">
            <a:xfrm>
              <a:off x="1704133" y="4138425"/>
              <a:ext cx="444704" cy="122982"/>
            </a:xfrm>
            <a:custGeom>
              <a:avLst/>
              <a:gdLst>
                <a:gd name="T0" fmla="*/ 996 w 1015"/>
                <a:gd name="T1" fmla="*/ 209 h 280"/>
                <a:gd name="T2" fmla="*/ 980 w 1015"/>
                <a:gd name="T3" fmla="*/ 226 h 280"/>
                <a:gd name="T4" fmla="*/ 951 w 1015"/>
                <a:gd name="T5" fmla="*/ 226 h 280"/>
                <a:gd name="T6" fmla="*/ 958 w 1015"/>
                <a:gd name="T7" fmla="*/ 200 h 280"/>
                <a:gd name="T8" fmla="*/ 930 w 1015"/>
                <a:gd name="T9" fmla="*/ 200 h 280"/>
                <a:gd name="T10" fmla="*/ 932 w 1015"/>
                <a:gd name="T11" fmla="*/ 190 h 280"/>
                <a:gd name="T12" fmla="*/ 911 w 1015"/>
                <a:gd name="T13" fmla="*/ 169 h 280"/>
                <a:gd name="T14" fmla="*/ 814 w 1015"/>
                <a:gd name="T15" fmla="*/ 169 h 280"/>
                <a:gd name="T16" fmla="*/ 793 w 1015"/>
                <a:gd name="T17" fmla="*/ 190 h 280"/>
                <a:gd name="T18" fmla="*/ 795 w 1015"/>
                <a:gd name="T19" fmla="*/ 200 h 280"/>
                <a:gd name="T20" fmla="*/ 765 w 1015"/>
                <a:gd name="T21" fmla="*/ 200 h 280"/>
                <a:gd name="T22" fmla="*/ 932 w 1015"/>
                <a:gd name="T23" fmla="*/ 19 h 280"/>
                <a:gd name="T24" fmla="*/ 933 w 1015"/>
                <a:gd name="T25" fmla="*/ 0 h 280"/>
                <a:gd name="T26" fmla="*/ 504 w 1015"/>
                <a:gd name="T27" fmla="*/ 0 h 280"/>
                <a:gd name="T28" fmla="*/ 74 w 1015"/>
                <a:gd name="T29" fmla="*/ 0 h 280"/>
                <a:gd name="T30" fmla="*/ 75 w 1015"/>
                <a:gd name="T31" fmla="*/ 19 h 280"/>
                <a:gd name="T32" fmla="*/ 242 w 1015"/>
                <a:gd name="T33" fmla="*/ 200 h 280"/>
                <a:gd name="T34" fmla="*/ 212 w 1015"/>
                <a:gd name="T35" fmla="*/ 200 h 280"/>
                <a:gd name="T36" fmla="*/ 214 w 1015"/>
                <a:gd name="T37" fmla="*/ 190 h 280"/>
                <a:gd name="T38" fmla="*/ 193 w 1015"/>
                <a:gd name="T39" fmla="*/ 169 h 280"/>
                <a:gd name="T40" fmla="*/ 96 w 1015"/>
                <a:gd name="T41" fmla="*/ 169 h 280"/>
                <a:gd name="T42" fmla="*/ 75 w 1015"/>
                <a:gd name="T43" fmla="*/ 190 h 280"/>
                <a:gd name="T44" fmla="*/ 77 w 1015"/>
                <a:gd name="T45" fmla="*/ 200 h 280"/>
                <a:gd name="T46" fmla="*/ 49 w 1015"/>
                <a:gd name="T47" fmla="*/ 200 h 280"/>
                <a:gd name="T48" fmla="*/ 53 w 1015"/>
                <a:gd name="T49" fmla="*/ 217 h 280"/>
                <a:gd name="T50" fmla="*/ 36 w 1015"/>
                <a:gd name="T51" fmla="*/ 217 h 280"/>
                <a:gd name="T52" fmla="*/ 19 w 1015"/>
                <a:gd name="T53" fmla="*/ 197 h 280"/>
                <a:gd name="T54" fmla="*/ 0 w 1015"/>
                <a:gd name="T55" fmla="*/ 231 h 280"/>
                <a:gd name="T56" fmla="*/ 19 w 1015"/>
                <a:gd name="T57" fmla="*/ 264 h 280"/>
                <a:gd name="T58" fmla="*/ 36 w 1015"/>
                <a:gd name="T59" fmla="*/ 245 h 280"/>
                <a:gd name="T60" fmla="*/ 64 w 1015"/>
                <a:gd name="T61" fmla="*/ 245 h 280"/>
                <a:gd name="T62" fmla="*/ 87 w 1015"/>
                <a:gd name="T63" fmla="*/ 269 h 280"/>
                <a:gd name="T64" fmla="*/ 135 w 1015"/>
                <a:gd name="T65" fmla="*/ 241 h 280"/>
                <a:gd name="T66" fmla="*/ 187 w 1015"/>
                <a:gd name="T67" fmla="*/ 276 h 280"/>
                <a:gd name="T68" fmla="*/ 238 w 1015"/>
                <a:gd name="T69" fmla="*/ 241 h 280"/>
                <a:gd name="T70" fmla="*/ 290 w 1015"/>
                <a:gd name="T71" fmla="*/ 276 h 280"/>
                <a:gd name="T72" fmla="*/ 341 w 1015"/>
                <a:gd name="T73" fmla="*/ 241 h 280"/>
                <a:gd name="T74" fmla="*/ 391 w 1015"/>
                <a:gd name="T75" fmla="*/ 273 h 280"/>
                <a:gd name="T76" fmla="*/ 435 w 1015"/>
                <a:gd name="T77" fmla="*/ 240 h 280"/>
                <a:gd name="T78" fmla="*/ 504 w 1015"/>
                <a:gd name="T79" fmla="*/ 240 h 280"/>
                <a:gd name="T80" fmla="*/ 572 w 1015"/>
                <a:gd name="T81" fmla="*/ 240 h 280"/>
                <a:gd name="T82" fmla="*/ 588 w 1015"/>
                <a:gd name="T83" fmla="*/ 252 h 280"/>
                <a:gd name="T84" fmla="*/ 621 w 1015"/>
                <a:gd name="T85" fmla="*/ 241 h 280"/>
                <a:gd name="T86" fmla="*/ 673 w 1015"/>
                <a:gd name="T87" fmla="*/ 276 h 280"/>
                <a:gd name="T88" fmla="*/ 724 w 1015"/>
                <a:gd name="T89" fmla="*/ 241 h 280"/>
                <a:gd name="T90" fmla="*/ 775 w 1015"/>
                <a:gd name="T91" fmla="*/ 276 h 280"/>
                <a:gd name="T92" fmla="*/ 827 w 1015"/>
                <a:gd name="T93" fmla="*/ 241 h 280"/>
                <a:gd name="T94" fmla="*/ 879 w 1015"/>
                <a:gd name="T95" fmla="*/ 280 h 280"/>
                <a:gd name="T96" fmla="*/ 910 w 1015"/>
                <a:gd name="T97" fmla="*/ 280 h 280"/>
                <a:gd name="T98" fmla="*/ 934 w 1015"/>
                <a:gd name="T99" fmla="*/ 254 h 280"/>
                <a:gd name="T100" fmla="*/ 980 w 1015"/>
                <a:gd name="T101" fmla="*/ 254 h 280"/>
                <a:gd name="T102" fmla="*/ 996 w 1015"/>
                <a:gd name="T103" fmla="*/ 271 h 280"/>
                <a:gd name="T104" fmla="*/ 1015 w 1015"/>
                <a:gd name="T105" fmla="*/ 240 h 280"/>
                <a:gd name="T106" fmla="*/ 996 w 1015"/>
                <a:gd name="T107" fmla="*/ 209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15" h="280">
                  <a:moveTo>
                    <a:pt x="996" y="209"/>
                  </a:moveTo>
                  <a:cubicBezTo>
                    <a:pt x="989" y="209"/>
                    <a:pt x="983" y="216"/>
                    <a:pt x="980" y="226"/>
                  </a:cubicBezTo>
                  <a:cubicBezTo>
                    <a:pt x="951" y="226"/>
                    <a:pt x="951" y="226"/>
                    <a:pt x="951" y="226"/>
                  </a:cubicBezTo>
                  <a:cubicBezTo>
                    <a:pt x="954" y="217"/>
                    <a:pt x="956" y="208"/>
                    <a:pt x="958" y="200"/>
                  </a:cubicBezTo>
                  <a:cubicBezTo>
                    <a:pt x="930" y="200"/>
                    <a:pt x="930" y="200"/>
                    <a:pt x="930" y="200"/>
                  </a:cubicBezTo>
                  <a:cubicBezTo>
                    <a:pt x="931" y="197"/>
                    <a:pt x="932" y="194"/>
                    <a:pt x="932" y="190"/>
                  </a:cubicBezTo>
                  <a:cubicBezTo>
                    <a:pt x="932" y="179"/>
                    <a:pt x="923" y="169"/>
                    <a:pt x="911" y="169"/>
                  </a:cubicBezTo>
                  <a:cubicBezTo>
                    <a:pt x="814" y="169"/>
                    <a:pt x="814" y="169"/>
                    <a:pt x="814" y="169"/>
                  </a:cubicBezTo>
                  <a:cubicBezTo>
                    <a:pt x="802" y="169"/>
                    <a:pt x="793" y="179"/>
                    <a:pt x="793" y="190"/>
                  </a:cubicBezTo>
                  <a:cubicBezTo>
                    <a:pt x="793" y="194"/>
                    <a:pt x="794" y="197"/>
                    <a:pt x="795" y="200"/>
                  </a:cubicBezTo>
                  <a:cubicBezTo>
                    <a:pt x="765" y="200"/>
                    <a:pt x="765" y="200"/>
                    <a:pt x="765" y="200"/>
                  </a:cubicBezTo>
                  <a:cubicBezTo>
                    <a:pt x="932" y="19"/>
                    <a:pt x="932" y="19"/>
                    <a:pt x="932" y="19"/>
                  </a:cubicBezTo>
                  <a:cubicBezTo>
                    <a:pt x="933" y="0"/>
                    <a:pt x="933" y="0"/>
                    <a:pt x="933" y="0"/>
                  </a:cubicBezTo>
                  <a:cubicBezTo>
                    <a:pt x="504" y="0"/>
                    <a:pt x="504" y="0"/>
                    <a:pt x="504" y="0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75" y="19"/>
                    <a:pt x="75" y="19"/>
                    <a:pt x="75" y="19"/>
                  </a:cubicBezTo>
                  <a:cubicBezTo>
                    <a:pt x="242" y="200"/>
                    <a:pt x="242" y="200"/>
                    <a:pt x="242" y="200"/>
                  </a:cubicBezTo>
                  <a:cubicBezTo>
                    <a:pt x="212" y="200"/>
                    <a:pt x="212" y="200"/>
                    <a:pt x="212" y="200"/>
                  </a:cubicBezTo>
                  <a:cubicBezTo>
                    <a:pt x="213" y="197"/>
                    <a:pt x="214" y="194"/>
                    <a:pt x="214" y="190"/>
                  </a:cubicBezTo>
                  <a:cubicBezTo>
                    <a:pt x="214" y="179"/>
                    <a:pt x="205" y="169"/>
                    <a:pt x="193" y="169"/>
                  </a:cubicBezTo>
                  <a:cubicBezTo>
                    <a:pt x="96" y="169"/>
                    <a:pt x="96" y="169"/>
                    <a:pt x="96" y="169"/>
                  </a:cubicBezTo>
                  <a:cubicBezTo>
                    <a:pt x="84" y="169"/>
                    <a:pt x="75" y="179"/>
                    <a:pt x="75" y="190"/>
                  </a:cubicBezTo>
                  <a:cubicBezTo>
                    <a:pt x="75" y="194"/>
                    <a:pt x="76" y="197"/>
                    <a:pt x="77" y="200"/>
                  </a:cubicBezTo>
                  <a:cubicBezTo>
                    <a:pt x="49" y="200"/>
                    <a:pt x="49" y="200"/>
                    <a:pt x="49" y="200"/>
                  </a:cubicBezTo>
                  <a:cubicBezTo>
                    <a:pt x="50" y="205"/>
                    <a:pt x="52" y="211"/>
                    <a:pt x="53" y="217"/>
                  </a:cubicBezTo>
                  <a:cubicBezTo>
                    <a:pt x="36" y="217"/>
                    <a:pt x="36" y="217"/>
                    <a:pt x="36" y="217"/>
                  </a:cubicBezTo>
                  <a:cubicBezTo>
                    <a:pt x="33" y="205"/>
                    <a:pt x="27" y="197"/>
                    <a:pt x="19" y="197"/>
                  </a:cubicBezTo>
                  <a:cubicBezTo>
                    <a:pt x="9" y="197"/>
                    <a:pt x="0" y="212"/>
                    <a:pt x="0" y="231"/>
                  </a:cubicBezTo>
                  <a:cubicBezTo>
                    <a:pt x="0" y="249"/>
                    <a:pt x="9" y="264"/>
                    <a:pt x="19" y="264"/>
                  </a:cubicBezTo>
                  <a:cubicBezTo>
                    <a:pt x="27" y="264"/>
                    <a:pt x="33" y="256"/>
                    <a:pt x="36" y="245"/>
                  </a:cubicBezTo>
                  <a:cubicBezTo>
                    <a:pt x="64" y="245"/>
                    <a:pt x="64" y="245"/>
                    <a:pt x="64" y="245"/>
                  </a:cubicBezTo>
                  <a:cubicBezTo>
                    <a:pt x="87" y="269"/>
                    <a:pt x="87" y="269"/>
                    <a:pt x="87" y="269"/>
                  </a:cubicBezTo>
                  <a:cubicBezTo>
                    <a:pt x="97" y="252"/>
                    <a:pt x="115" y="241"/>
                    <a:pt x="135" y="241"/>
                  </a:cubicBezTo>
                  <a:cubicBezTo>
                    <a:pt x="159" y="241"/>
                    <a:pt x="179" y="255"/>
                    <a:pt x="187" y="276"/>
                  </a:cubicBezTo>
                  <a:cubicBezTo>
                    <a:pt x="195" y="255"/>
                    <a:pt x="215" y="241"/>
                    <a:pt x="238" y="241"/>
                  </a:cubicBezTo>
                  <a:cubicBezTo>
                    <a:pt x="262" y="241"/>
                    <a:pt x="282" y="255"/>
                    <a:pt x="290" y="276"/>
                  </a:cubicBezTo>
                  <a:cubicBezTo>
                    <a:pt x="298" y="255"/>
                    <a:pt x="318" y="241"/>
                    <a:pt x="341" y="241"/>
                  </a:cubicBezTo>
                  <a:cubicBezTo>
                    <a:pt x="363" y="241"/>
                    <a:pt x="383" y="254"/>
                    <a:pt x="391" y="273"/>
                  </a:cubicBezTo>
                  <a:cubicBezTo>
                    <a:pt x="435" y="240"/>
                    <a:pt x="435" y="240"/>
                    <a:pt x="435" y="240"/>
                  </a:cubicBezTo>
                  <a:cubicBezTo>
                    <a:pt x="504" y="240"/>
                    <a:pt x="504" y="240"/>
                    <a:pt x="504" y="240"/>
                  </a:cubicBezTo>
                  <a:cubicBezTo>
                    <a:pt x="572" y="240"/>
                    <a:pt x="572" y="240"/>
                    <a:pt x="572" y="240"/>
                  </a:cubicBezTo>
                  <a:cubicBezTo>
                    <a:pt x="588" y="252"/>
                    <a:pt x="588" y="252"/>
                    <a:pt x="588" y="252"/>
                  </a:cubicBezTo>
                  <a:cubicBezTo>
                    <a:pt x="597" y="245"/>
                    <a:pt x="609" y="241"/>
                    <a:pt x="621" y="241"/>
                  </a:cubicBezTo>
                  <a:cubicBezTo>
                    <a:pt x="644" y="241"/>
                    <a:pt x="664" y="255"/>
                    <a:pt x="673" y="276"/>
                  </a:cubicBezTo>
                  <a:cubicBezTo>
                    <a:pt x="681" y="255"/>
                    <a:pt x="701" y="241"/>
                    <a:pt x="724" y="241"/>
                  </a:cubicBezTo>
                  <a:cubicBezTo>
                    <a:pt x="747" y="241"/>
                    <a:pt x="767" y="255"/>
                    <a:pt x="775" y="276"/>
                  </a:cubicBezTo>
                  <a:cubicBezTo>
                    <a:pt x="783" y="255"/>
                    <a:pt x="803" y="241"/>
                    <a:pt x="827" y="241"/>
                  </a:cubicBezTo>
                  <a:cubicBezTo>
                    <a:pt x="851" y="241"/>
                    <a:pt x="873" y="257"/>
                    <a:pt x="879" y="280"/>
                  </a:cubicBezTo>
                  <a:cubicBezTo>
                    <a:pt x="910" y="280"/>
                    <a:pt x="910" y="280"/>
                    <a:pt x="910" y="280"/>
                  </a:cubicBezTo>
                  <a:cubicBezTo>
                    <a:pt x="934" y="254"/>
                    <a:pt x="934" y="254"/>
                    <a:pt x="934" y="254"/>
                  </a:cubicBezTo>
                  <a:cubicBezTo>
                    <a:pt x="980" y="254"/>
                    <a:pt x="980" y="254"/>
                    <a:pt x="980" y="254"/>
                  </a:cubicBezTo>
                  <a:cubicBezTo>
                    <a:pt x="983" y="264"/>
                    <a:pt x="989" y="271"/>
                    <a:pt x="996" y="271"/>
                  </a:cubicBezTo>
                  <a:cubicBezTo>
                    <a:pt x="1006" y="271"/>
                    <a:pt x="1015" y="257"/>
                    <a:pt x="1015" y="240"/>
                  </a:cubicBezTo>
                  <a:cubicBezTo>
                    <a:pt x="1015" y="223"/>
                    <a:pt x="1006" y="209"/>
                    <a:pt x="996" y="20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10" name="Freeform 396"/>
            <p:cNvSpPr>
              <a:spLocks noEditPoints="1"/>
            </p:cNvSpPr>
            <p:nvPr userDrawn="1"/>
          </p:nvSpPr>
          <p:spPr bwMode="auto">
            <a:xfrm>
              <a:off x="2493186" y="4250585"/>
              <a:ext cx="37387" cy="36403"/>
            </a:xfrm>
            <a:custGeom>
              <a:avLst/>
              <a:gdLst>
                <a:gd name="T0" fmla="*/ 42 w 84"/>
                <a:gd name="T1" fmla="*/ 0 h 84"/>
                <a:gd name="T2" fmla="*/ 0 w 84"/>
                <a:gd name="T3" fmla="*/ 42 h 84"/>
                <a:gd name="T4" fmla="*/ 42 w 84"/>
                <a:gd name="T5" fmla="*/ 84 h 84"/>
                <a:gd name="T6" fmla="*/ 84 w 84"/>
                <a:gd name="T7" fmla="*/ 42 h 84"/>
                <a:gd name="T8" fmla="*/ 42 w 84"/>
                <a:gd name="T9" fmla="*/ 0 h 84"/>
                <a:gd name="T10" fmla="*/ 42 w 84"/>
                <a:gd name="T11" fmla="*/ 72 h 84"/>
                <a:gd name="T12" fmla="*/ 12 w 84"/>
                <a:gd name="T13" fmla="*/ 42 h 84"/>
                <a:gd name="T14" fmla="*/ 42 w 84"/>
                <a:gd name="T15" fmla="*/ 13 h 84"/>
                <a:gd name="T16" fmla="*/ 71 w 84"/>
                <a:gd name="T17" fmla="*/ 42 h 84"/>
                <a:gd name="T18" fmla="*/ 42 w 84"/>
                <a:gd name="T19" fmla="*/ 7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65"/>
                    <a:pt x="19" y="84"/>
                    <a:pt x="42" y="84"/>
                  </a:cubicBezTo>
                  <a:cubicBezTo>
                    <a:pt x="65" y="84"/>
                    <a:pt x="84" y="65"/>
                    <a:pt x="84" y="42"/>
                  </a:cubicBezTo>
                  <a:cubicBezTo>
                    <a:pt x="84" y="19"/>
                    <a:pt x="65" y="0"/>
                    <a:pt x="42" y="0"/>
                  </a:cubicBezTo>
                  <a:close/>
                  <a:moveTo>
                    <a:pt x="42" y="72"/>
                  </a:moveTo>
                  <a:cubicBezTo>
                    <a:pt x="26" y="72"/>
                    <a:pt x="12" y="58"/>
                    <a:pt x="12" y="42"/>
                  </a:cubicBezTo>
                  <a:cubicBezTo>
                    <a:pt x="12" y="26"/>
                    <a:pt x="26" y="13"/>
                    <a:pt x="42" y="13"/>
                  </a:cubicBezTo>
                  <a:cubicBezTo>
                    <a:pt x="58" y="13"/>
                    <a:pt x="71" y="26"/>
                    <a:pt x="71" y="42"/>
                  </a:cubicBezTo>
                  <a:cubicBezTo>
                    <a:pt x="71" y="58"/>
                    <a:pt x="58" y="72"/>
                    <a:pt x="42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11" name="Oval 397"/>
            <p:cNvSpPr>
              <a:spLocks noChangeArrowheads="1"/>
            </p:cNvSpPr>
            <p:nvPr userDrawn="1"/>
          </p:nvSpPr>
          <p:spPr bwMode="auto">
            <a:xfrm>
              <a:off x="2501057" y="4258455"/>
              <a:ext cx="21645" cy="2066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12" name="Freeform 398"/>
            <p:cNvSpPr>
              <a:spLocks noEditPoints="1"/>
            </p:cNvSpPr>
            <p:nvPr userDrawn="1"/>
          </p:nvSpPr>
          <p:spPr bwMode="auto">
            <a:xfrm>
              <a:off x="2448913" y="4250585"/>
              <a:ext cx="36403" cy="36403"/>
            </a:xfrm>
            <a:custGeom>
              <a:avLst/>
              <a:gdLst>
                <a:gd name="T0" fmla="*/ 42 w 84"/>
                <a:gd name="T1" fmla="*/ 0 h 84"/>
                <a:gd name="T2" fmla="*/ 0 w 84"/>
                <a:gd name="T3" fmla="*/ 42 h 84"/>
                <a:gd name="T4" fmla="*/ 42 w 84"/>
                <a:gd name="T5" fmla="*/ 84 h 84"/>
                <a:gd name="T6" fmla="*/ 84 w 84"/>
                <a:gd name="T7" fmla="*/ 42 h 84"/>
                <a:gd name="T8" fmla="*/ 42 w 84"/>
                <a:gd name="T9" fmla="*/ 0 h 84"/>
                <a:gd name="T10" fmla="*/ 42 w 84"/>
                <a:gd name="T11" fmla="*/ 72 h 84"/>
                <a:gd name="T12" fmla="*/ 13 w 84"/>
                <a:gd name="T13" fmla="*/ 42 h 84"/>
                <a:gd name="T14" fmla="*/ 42 w 84"/>
                <a:gd name="T15" fmla="*/ 13 h 84"/>
                <a:gd name="T16" fmla="*/ 72 w 84"/>
                <a:gd name="T17" fmla="*/ 42 h 84"/>
                <a:gd name="T18" fmla="*/ 42 w 84"/>
                <a:gd name="T19" fmla="*/ 7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65"/>
                    <a:pt x="19" y="84"/>
                    <a:pt x="42" y="84"/>
                  </a:cubicBezTo>
                  <a:cubicBezTo>
                    <a:pt x="65" y="84"/>
                    <a:pt x="84" y="65"/>
                    <a:pt x="84" y="42"/>
                  </a:cubicBezTo>
                  <a:cubicBezTo>
                    <a:pt x="84" y="19"/>
                    <a:pt x="65" y="0"/>
                    <a:pt x="42" y="0"/>
                  </a:cubicBezTo>
                  <a:close/>
                  <a:moveTo>
                    <a:pt x="42" y="72"/>
                  </a:moveTo>
                  <a:cubicBezTo>
                    <a:pt x="26" y="72"/>
                    <a:pt x="13" y="58"/>
                    <a:pt x="13" y="42"/>
                  </a:cubicBezTo>
                  <a:cubicBezTo>
                    <a:pt x="13" y="26"/>
                    <a:pt x="26" y="13"/>
                    <a:pt x="42" y="13"/>
                  </a:cubicBezTo>
                  <a:cubicBezTo>
                    <a:pt x="58" y="13"/>
                    <a:pt x="72" y="26"/>
                    <a:pt x="72" y="42"/>
                  </a:cubicBezTo>
                  <a:cubicBezTo>
                    <a:pt x="72" y="58"/>
                    <a:pt x="58" y="72"/>
                    <a:pt x="42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13" name="Oval 399"/>
            <p:cNvSpPr>
              <a:spLocks noChangeArrowheads="1"/>
            </p:cNvSpPr>
            <p:nvPr userDrawn="1"/>
          </p:nvSpPr>
          <p:spPr bwMode="auto">
            <a:xfrm>
              <a:off x="2456784" y="4258455"/>
              <a:ext cx="20661" cy="2066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14" name="Freeform 400"/>
            <p:cNvSpPr>
              <a:spLocks noEditPoints="1"/>
            </p:cNvSpPr>
            <p:nvPr userDrawn="1"/>
          </p:nvSpPr>
          <p:spPr bwMode="auto">
            <a:xfrm>
              <a:off x="2403655" y="4250585"/>
              <a:ext cx="36403" cy="36403"/>
            </a:xfrm>
            <a:custGeom>
              <a:avLst/>
              <a:gdLst>
                <a:gd name="T0" fmla="*/ 42 w 84"/>
                <a:gd name="T1" fmla="*/ 0 h 84"/>
                <a:gd name="T2" fmla="*/ 0 w 84"/>
                <a:gd name="T3" fmla="*/ 42 h 84"/>
                <a:gd name="T4" fmla="*/ 42 w 84"/>
                <a:gd name="T5" fmla="*/ 84 h 84"/>
                <a:gd name="T6" fmla="*/ 84 w 84"/>
                <a:gd name="T7" fmla="*/ 42 h 84"/>
                <a:gd name="T8" fmla="*/ 42 w 84"/>
                <a:gd name="T9" fmla="*/ 0 h 84"/>
                <a:gd name="T10" fmla="*/ 42 w 84"/>
                <a:gd name="T11" fmla="*/ 72 h 84"/>
                <a:gd name="T12" fmla="*/ 13 w 84"/>
                <a:gd name="T13" fmla="*/ 42 h 84"/>
                <a:gd name="T14" fmla="*/ 42 w 84"/>
                <a:gd name="T15" fmla="*/ 13 h 84"/>
                <a:gd name="T16" fmla="*/ 72 w 84"/>
                <a:gd name="T17" fmla="*/ 42 h 84"/>
                <a:gd name="T18" fmla="*/ 42 w 84"/>
                <a:gd name="T19" fmla="*/ 7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65"/>
                    <a:pt x="19" y="84"/>
                    <a:pt x="42" y="84"/>
                  </a:cubicBezTo>
                  <a:cubicBezTo>
                    <a:pt x="65" y="84"/>
                    <a:pt x="84" y="65"/>
                    <a:pt x="84" y="42"/>
                  </a:cubicBezTo>
                  <a:cubicBezTo>
                    <a:pt x="84" y="19"/>
                    <a:pt x="65" y="0"/>
                    <a:pt x="42" y="0"/>
                  </a:cubicBezTo>
                  <a:close/>
                  <a:moveTo>
                    <a:pt x="42" y="72"/>
                  </a:moveTo>
                  <a:cubicBezTo>
                    <a:pt x="26" y="72"/>
                    <a:pt x="13" y="58"/>
                    <a:pt x="13" y="42"/>
                  </a:cubicBezTo>
                  <a:cubicBezTo>
                    <a:pt x="13" y="26"/>
                    <a:pt x="26" y="13"/>
                    <a:pt x="42" y="13"/>
                  </a:cubicBezTo>
                  <a:cubicBezTo>
                    <a:pt x="59" y="13"/>
                    <a:pt x="72" y="26"/>
                    <a:pt x="72" y="42"/>
                  </a:cubicBezTo>
                  <a:cubicBezTo>
                    <a:pt x="72" y="58"/>
                    <a:pt x="59" y="72"/>
                    <a:pt x="42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15" name="Oval 401"/>
            <p:cNvSpPr>
              <a:spLocks noChangeArrowheads="1"/>
            </p:cNvSpPr>
            <p:nvPr userDrawn="1"/>
          </p:nvSpPr>
          <p:spPr bwMode="auto">
            <a:xfrm>
              <a:off x="2411526" y="4258455"/>
              <a:ext cx="20661" cy="2066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16" name="Freeform 402"/>
            <p:cNvSpPr>
              <a:spLocks noEditPoints="1"/>
            </p:cNvSpPr>
            <p:nvPr userDrawn="1"/>
          </p:nvSpPr>
          <p:spPr bwMode="auto">
            <a:xfrm>
              <a:off x="2280673" y="4250585"/>
              <a:ext cx="37387" cy="36403"/>
            </a:xfrm>
            <a:custGeom>
              <a:avLst/>
              <a:gdLst>
                <a:gd name="T0" fmla="*/ 42 w 84"/>
                <a:gd name="T1" fmla="*/ 0 h 84"/>
                <a:gd name="T2" fmla="*/ 0 w 84"/>
                <a:gd name="T3" fmla="*/ 42 h 84"/>
                <a:gd name="T4" fmla="*/ 42 w 84"/>
                <a:gd name="T5" fmla="*/ 84 h 84"/>
                <a:gd name="T6" fmla="*/ 84 w 84"/>
                <a:gd name="T7" fmla="*/ 42 h 84"/>
                <a:gd name="T8" fmla="*/ 42 w 84"/>
                <a:gd name="T9" fmla="*/ 0 h 84"/>
                <a:gd name="T10" fmla="*/ 42 w 84"/>
                <a:gd name="T11" fmla="*/ 72 h 84"/>
                <a:gd name="T12" fmla="*/ 13 w 84"/>
                <a:gd name="T13" fmla="*/ 42 h 84"/>
                <a:gd name="T14" fmla="*/ 42 w 84"/>
                <a:gd name="T15" fmla="*/ 13 h 84"/>
                <a:gd name="T16" fmla="*/ 72 w 84"/>
                <a:gd name="T17" fmla="*/ 42 h 84"/>
                <a:gd name="T18" fmla="*/ 42 w 84"/>
                <a:gd name="T19" fmla="*/ 7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65"/>
                    <a:pt x="19" y="84"/>
                    <a:pt x="42" y="84"/>
                  </a:cubicBezTo>
                  <a:cubicBezTo>
                    <a:pt x="65" y="84"/>
                    <a:pt x="84" y="65"/>
                    <a:pt x="84" y="42"/>
                  </a:cubicBezTo>
                  <a:cubicBezTo>
                    <a:pt x="84" y="19"/>
                    <a:pt x="65" y="0"/>
                    <a:pt x="42" y="0"/>
                  </a:cubicBezTo>
                  <a:close/>
                  <a:moveTo>
                    <a:pt x="42" y="72"/>
                  </a:moveTo>
                  <a:cubicBezTo>
                    <a:pt x="26" y="72"/>
                    <a:pt x="13" y="58"/>
                    <a:pt x="13" y="42"/>
                  </a:cubicBezTo>
                  <a:cubicBezTo>
                    <a:pt x="13" y="26"/>
                    <a:pt x="26" y="13"/>
                    <a:pt x="42" y="13"/>
                  </a:cubicBezTo>
                  <a:cubicBezTo>
                    <a:pt x="58" y="13"/>
                    <a:pt x="72" y="26"/>
                    <a:pt x="72" y="42"/>
                  </a:cubicBezTo>
                  <a:cubicBezTo>
                    <a:pt x="72" y="58"/>
                    <a:pt x="58" y="72"/>
                    <a:pt x="42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17" name="Oval 403"/>
            <p:cNvSpPr>
              <a:spLocks noChangeArrowheads="1"/>
            </p:cNvSpPr>
            <p:nvPr userDrawn="1"/>
          </p:nvSpPr>
          <p:spPr bwMode="auto">
            <a:xfrm>
              <a:off x="2288544" y="4258455"/>
              <a:ext cx="21645" cy="2066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18" name="Freeform 404"/>
            <p:cNvSpPr>
              <a:spLocks noEditPoints="1"/>
            </p:cNvSpPr>
            <p:nvPr userDrawn="1"/>
          </p:nvSpPr>
          <p:spPr bwMode="auto">
            <a:xfrm>
              <a:off x="2236400" y="4250585"/>
              <a:ext cx="36403" cy="36403"/>
            </a:xfrm>
            <a:custGeom>
              <a:avLst/>
              <a:gdLst>
                <a:gd name="T0" fmla="*/ 41 w 83"/>
                <a:gd name="T1" fmla="*/ 0 h 84"/>
                <a:gd name="T2" fmla="*/ 0 w 83"/>
                <a:gd name="T3" fmla="*/ 42 h 84"/>
                <a:gd name="T4" fmla="*/ 41 w 83"/>
                <a:gd name="T5" fmla="*/ 84 h 84"/>
                <a:gd name="T6" fmla="*/ 83 w 83"/>
                <a:gd name="T7" fmla="*/ 42 h 84"/>
                <a:gd name="T8" fmla="*/ 41 w 83"/>
                <a:gd name="T9" fmla="*/ 0 h 84"/>
                <a:gd name="T10" fmla="*/ 41 w 83"/>
                <a:gd name="T11" fmla="*/ 72 h 84"/>
                <a:gd name="T12" fmla="*/ 12 w 83"/>
                <a:gd name="T13" fmla="*/ 42 h 84"/>
                <a:gd name="T14" fmla="*/ 41 w 83"/>
                <a:gd name="T15" fmla="*/ 13 h 84"/>
                <a:gd name="T16" fmla="*/ 71 w 83"/>
                <a:gd name="T17" fmla="*/ 42 h 84"/>
                <a:gd name="T18" fmla="*/ 41 w 83"/>
                <a:gd name="T19" fmla="*/ 7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3" h="84">
                  <a:moveTo>
                    <a:pt x="41" y="0"/>
                  </a:moveTo>
                  <a:cubicBezTo>
                    <a:pt x="18" y="0"/>
                    <a:pt x="0" y="19"/>
                    <a:pt x="0" y="42"/>
                  </a:cubicBezTo>
                  <a:cubicBezTo>
                    <a:pt x="0" y="65"/>
                    <a:pt x="18" y="84"/>
                    <a:pt x="41" y="84"/>
                  </a:cubicBezTo>
                  <a:cubicBezTo>
                    <a:pt x="64" y="84"/>
                    <a:pt x="83" y="65"/>
                    <a:pt x="83" y="42"/>
                  </a:cubicBezTo>
                  <a:cubicBezTo>
                    <a:pt x="83" y="19"/>
                    <a:pt x="64" y="0"/>
                    <a:pt x="41" y="0"/>
                  </a:cubicBezTo>
                  <a:close/>
                  <a:moveTo>
                    <a:pt x="41" y="72"/>
                  </a:moveTo>
                  <a:cubicBezTo>
                    <a:pt x="25" y="72"/>
                    <a:pt x="12" y="58"/>
                    <a:pt x="12" y="42"/>
                  </a:cubicBezTo>
                  <a:cubicBezTo>
                    <a:pt x="12" y="26"/>
                    <a:pt x="25" y="13"/>
                    <a:pt x="41" y="13"/>
                  </a:cubicBezTo>
                  <a:cubicBezTo>
                    <a:pt x="58" y="13"/>
                    <a:pt x="71" y="26"/>
                    <a:pt x="71" y="42"/>
                  </a:cubicBezTo>
                  <a:cubicBezTo>
                    <a:pt x="71" y="58"/>
                    <a:pt x="58" y="72"/>
                    <a:pt x="41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19" name="Oval 405"/>
            <p:cNvSpPr>
              <a:spLocks noChangeArrowheads="1"/>
            </p:cNvSpPr>
            <p:nvPr userDrawn="1"/>
          </p:nvSpPr>
          <p:spPr bwMode="auto">
            <a:xfrm>
              <a:off x="2244270" y="4258455"/>
              <a:ext cx="20661" cy="2066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20" name="Freeform 406"/>
            <p:cNvSpPr>
              <a:spLocks noEditPoints="1"/>
            </p:cNvSpPr>
            <p:nvPr userDrawn="1"/>
          </p:nvSpPr>
          <p:spPr bwMode="auto">
            <a:xfrm>
              <a:off x="2191142" y="4250585"/>
              <a:ext cx="37387" cy="36403"/>
            </a:xfrm>
            <a:custGeom>
              <a:avLst/>
              <a:gdLst>
                <a:gd name="T0" fmla="*/ 42 w 84"/>
                <a:gd name="T1" fmla="*/ 0 h 84"/>
                <a:gd name="T2" fmla="*/ 0 w 84"/>
                <a:gd name="T3" fmla="*/ 42 h 84"/>
                <a:gd name="T4" fmla="*/ 42 w 84"/>
                <a:gd name="T5" fmla="*/ 84 h 84"/>
                <a:gd name="T6" fmla="*/ 84 w 84"/>
                <a:gd name="T7" fmla="*/ 42 h 84"/>
                <a:gd name="T8" fmla="*/ 42 w 84"/>
                <a:gd name="T9" fmla="*/ 0 h 84"/>
                <a:gd name="T10" fmla="*/ 42 w 84"/>
                <a:gd name="T11" fmla="*/ 72 h 84"/>
                <a:gd name="T12" fmla="*/ 12 w 84"/>
                <a:gd name="T13" fmla="*/ 42 h 84"/>
                <a:gd name="T14" fmla="*/ 42 w 84"/>
                <a:gd name="T15" fmla="*/ 13 h 84"/>
                <a:gd name="T16" fmla="*/ 71 w 84"/>
                <a:gd name="T17" fmla="*/ 42 h 84"/>
                <a:gd name="T18" fmla="*/ 42 w 84"/>
                <a:gd name="T19" fmla="*/ 7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65"/>
                    <a:pt x="19" y="84"/>
                    <a:pt x="42" y="84"/>
                  </a:cubicBezTo>
                  <a:cubicBezTo>
                    <a:pt x="65" y="84"/>
                    <a:pt x="84" y="65"/>
                    <a:pt x="84" y="42"/>
                  </a:cubicBezTo>
                  <a:cubicBezTo>
                    <a:pt x="84" y="19"/>
                    <a:pt x="65" y="0"/>
                    <a:pt x="42" y="0"/>
                  </a:cubicBezTo>
                  <a:close/>
                  <a:moveTo>
                    <a:pt x="42" y="72"/>
                  </a:moveTo>
                  <a:cubicBezTo>
                    <a:pt x="25" y="72"/>
                    <a:pt x="12" y="58"/>
                    <a:pt x="12" y="42"/>
                  </a:cubicBezTo>
                  <a:cubicBezTo>
                    <a:pt x="12" y="26"/>
                    <a:pt x="25" y="13"/>
                    <a:pt x="42" y="13"/>
                  </a:cubicBezTo>
                  <a:cubicBezTo>
                    <a:pt x="58" y="13"/>
                    <a:pt x="71" y="26"/>
                    <a:pt x="71" y="42"/>
                  </a:cubicBezTo>
                  <a:cubicBezTo>
                    <a:pt x="71" y="58"/>
                    <a:pt x="58" y="72"/>
                    <a:pt x="42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21" name="Oval 407"/>
            <p:cNvSpPr>
              <a:spLocks noChangeArrowheads="1"/>
            </p:cNvSpPr>
            <p:nvPr userDrawn="1"/>
          </p:nvSpPr>
          <p:spPr bwMode="auto">
            <a:xfrm>
              <a:off x="2199013" y="4258455"/>
              <a:ext cx="21645" cy="2066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22" name="Freeform 408"/>
            <p:cNvSpPr>
              <a:spLocks/>
            </p:cNvSpPr>
            <p:nvPr userDrawn="1"/>
          </p:nvSpPr>
          <p:spPr bwMode="auto">
            <a:xfrm>
              <a:off x="2214755" y="4109893"/>
              <a:ext cx="328608" cy="25580"/>
            </a:xfrm>
            <a:custGeom>
              <a:avLst/>
              <a:gdLst>
                <a:gd name="T0" fmla="*/ 732 w 752"/>
                <a:gd name="T1" fmla="*/ 43 h 58"/>
                <a:gd name="T2" fmla="*/ 710 w 752"/>
                <a:gd name="T3" fmla="*/ 22 h 58"/>
                <a:gd name="T4" fmla="*/ 698 w 752"/>
                <a:gd name="T5" fmla="*/ 26 h 58"/>
                <a:gd name="T6" fmla="*/ 698 w 752"/>
                <a:gd name="T7" fmla="*/ 22 h 58"/>
                <a:gd name="T8" fmla="*/ 675 w 752"/>
                <a:gd name="T9" fmla="*/ 0 h 58"/>
                <a:gd name="T10" fmla="*/ 659 w 752"/>
                <a:gd name="T11" fmla="*/ 6 h 58"/>
                <a:gd name="T12" fmla="*/ 643 w 752"/>
                <a:gd name="T13" fmla="*/ 0 h 58"/>
                <a:gd name="T14" fmla="*/ 627 w 752"/>
                <a:gd name="T15" fmla="*/ 6 h 58"/>
                <a:gd name="T16" fmla="*/ 611 w 752"/>
                <a:gd name="T17" fmla="*/ 0 h 58"/>
                <a:gd name="T18" fmla="*/ 595 w 752"/>
                <a:gd name="T19" fmla="*/ 6 h 58"/>
                <a:gd name="T20" fmla="*/ 579 w 752"/>
                <a:gd name="T21" fmla="*/ 0 h 58"/>
                <a:gd name="T22" fmla="*/ 563 w 752"/>
                <a:gd name="T23" fmla="*/ 6 h 58"/>
                <a:gd name="T24" fmla="*/ 546 w 752"/>
                <a:gd name="T25" fmla="*/ 0 h 58"/>
                <a:gd name="T26" fmla="*/ 530 w 752"/>
                <a:gd name="T27" fmla="*/ 6 h 58"/>
                <a:gd name="T28" fmla="*/ 514 w 752"/>
                <a:gd name="T29" fmla="*/ 0 h 58"/>
                <a:gd name="T30" fmla="*/ 498 w 752"/>
                <a:gd name="T31" fmla="*/ 6 h 58"/>
                <a:gd name="T32" fmla="*/ 482 w 752"/>
                <a:gd name="T33" fmla="*/ 0 h 58"/>
                <a:gd name="T34" fmla="*/ 466 w 752"/>
                <a:gd name="T35" fmla="*/ 6 h 58"/>
                <a:gd name="T36" fmla="*/ 450 w 752"/>
                <a:gd name="T37" fmla="*/ 0 h 58"/>
                <a:gd name="T38" fmla="*/ 434 w 752"/>
                <a:gd name="T39" fmla="*/ 6 h 58"/>
                <a:gd name="T40" fmla="*/ 417 w 752"/>
                <a:gd name="T41" fmla="*/ 0 h 58"/>
                <a:gd name="T42" fmla="*/ 401 w 752"/>
                <a:gd name="T43" fmla="*/ 6 h 58"/>
                <a:gd name="T44" fmla="*/ 385 w 752"/>
                <a:gd name="T45" fmla="*/ 0 h 58"/>
                <a:gd name="T46" fmla="*/ 369 w 752"/>
                <a:gd name="T47" fmla="*/ 6 h 58"/>
                <a:gd name="T48" fmla="*/ 353 w 752"/>
                <a:gd name="T49" fmla="*/ 0 h 58"/>
                <a:gd name="T50" fmla="*/ 337 w 752"/>
                <a:gd name="T51" fmla="*/ 6 h 58"/>
                <a:gd name="T52" fmla="*/ 321 w 752"/>
                <a:gd name="T53" fmla="*/ 0 h 58"/>
                <a:gd name="T54" fmla="*/ 305 w 752"/>
                <a:gd name="T55" fmla="*/ 6 h 58"/>
                <a:gd name="T56" fmla="*/ 288 w 752"/>
                <a:gd name="T57" fmla="*/ 0 h 58"/>
                <a:gd name="T58" fmla="*/ 272 w 752"/>
                <a:gd name="T59" fmla="*/ 6 h 58"/>
                <a:gd name="T60" fmla="*/ 256 w 752"/>
                <a:gd name="T61" fmla="*/ 0 h 58"/>
                <a:gd name="T62" fmla="*/ 240 w 752"/>
                <a:gd name="T63" fmla="*/ 6 h 58"/>
                <a:gd name="T64" fmla="*/ 224 w 752"/>
                <a:gd name="T65" fmla="*/ 0 h 58"/>
                <a:gd name="T66" fmla="*/ 208 w 752"/>
                <a:gd name="T67" fmla="*/ 6 h 58"/>
                <a:gd name="T68" fmla="*/ 192 w 752"/>
                <a:gd name="T69" fmla="*/ 0 h 58"/>
                <a:gd name="T70" fmla="*/ 176 w 752"/>
                <a:gd name="T71" fmla="*/ 6 h 58"/>
                <a:gd name="T72" fmla="*/ 159 w 752"/>
                <a:gd name="T73" fmla="*/ 0 h 58"/>
                <a:gd name="T74" fmla="*/ 143 w 752"/>
                <a:gd name="T75" fmla="*/ 6 h 58"/>
                <a:gd name="T76" fmla="*/ 127 w 752"/>
                <a:gd name="T77" fmla="*/ 0 h 58"/>
                <a:gd name="T78" fmla="*/ 111 w 752"/>
                <a:gd name="T79" fmla="*/ 6 h 58"/>
                <a:gd name="T80" fmla="*/ 95 w 752"/>
                <a:gd name="T81" fmla="*/ 0 h 58"/>
                <a:gd name="T82" fmla="*/ 79 w 752"/>
                <a:gd name="T83" fmla="*/ 6 h 58"/>
                <a:gd name="T84" fmla="*/ 63 w 752"/>
                <a:gd name="T85" fmla="*/ 0 h 58"/>
                <a:gd name="T86" fmla="*/ 40 w 752"/>
                <a:gd name="T87" fmla="*/ 22 h 58"/>
                <a:gd name="T88" fmla="*/ 40 w 752"/>
                <a:gd name="T89" fmla="*/ 24 h 58"/>
                <a:gd name="T90" fmla="*/ 32 w 752"/>
                <a:gd name="T91" fmla="*/ 22 h 58"/>
                <a:gd name="T92" fmla="*/ 10 w 752"/>
                <a:gd name="T93" fmla="*/ 45 h 58"/>
                <a:gd name="T94" fmla="*/ 10 w 752"/>
                <a:gd name="T95" fmla="*/ 46 h 58"/>
                <a:gd name="T96" fmla="*/ 0 w 752"/>
                <a:gd name="T97" fmla="*/ 58 h 58"/>
                <a:gd name="T98" fmla="*/ 752 w 752"/>
                <a:gd name="T99" fmla="*/ 58 h 58"/>
                <a:gd name="T100" fmla="*/ 732 w 752"/>
                <a:gd name="T101" fmla="*/ 43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752" h="58">
                  <a:moveTo>
                    <a:pt x="732" y="43"/>
                  </a:moveTo>
                  <a:cubicBezTo>
                    <a:pt x="731" y="32"/>
                    <a:pt x="721" y="22"/>
                    <a:pt x="710" y="22"/>
                  </a:cubicBezTo>
                  <a:cubicBezTo>
                    <a:pt x="705" y="22"/>
                    <a:pt x="701" y="24"/>
                    <a:pt x="698" y="26"/>
                  </a:cubicBezTo>
                  <a:cubicBezTo>
                    <a:pt x="698" y="25"/>
                    <a:pt x="698" y="23"/>
                    <a:pt x="698" y="22"/>
                  </a:cubicBezTo>
                  <a:cubicBezTo>
                    <a:pt x="698" y="10"/>
                    <a:pt x="688" y="0"/>
                    <a:pt x="675" y="0"/>
                  </a:cubicBezTo>
                  <a:cubicBezTo>
                    <a:pt x="669" y="0"/>
                    <a:pt x="663" y="2"/>
                    <a:pt x="659" y="6"/>
                  </a:cubicBezTo>
                  <a:cubicBezTo>
                    <a:pt x="655" y="2"/>
                    <a:pt x="649" y="0"/>
                    <a:pt x="643" y="0"/>
                  </a:cubicBezTo>
                  <a:cubicBezTo>
                    <a:pt x="637" y="0"/>
                    <a:pt x="631" y="2"/>
                    <a:pt x="627" y="6"/>
                  </a:cubicBezTo>
                  <a:cubicBezTo>
                    <a:pt x="623" y="2"/>
                    <a:pt x="617" y="0"/>
                    <a:pt x="611" y="0"/>
                  </a:cubicBezTo>
                  <a:cubicBezTo>
                    <a:pt x="605" y="0"/>
                    <a:pt x="599" y="2"/>
                    <a:pt x="595" y="6"/>
                  </a:cubicBezTo>
                  <a:cubicBezTo>
                    <a:pt x="591" y="2"/>
                    <a:pt x="585" y="0"/>
                    <a:pt x="579" y="0"/>
                  </a:cubicBezTo>
                  <a:cubicBezTo>
                    <a:pt x="572" y="0"/>
                    <a:pt x="567" y="2"/>
                    <a:pt x="563" y="6"/>
                  </a:cubicBezTo>
                  <a:cubicBezTo>
                    <a:pt x="558" y="2"/>
                    <a:pt x="553" y="0"/>
                    <a:pt x="546" y="0"/>
                  </a:cubicBezTo>
                  <a:cubicBezTo>
                    <a:pt x="540" y="0"/>
                    <a:pt x="534" y="2"/>
                    <a:pt x="530" y="6"/>
                  </a:cubicBezTo>
                  <a:cubicBezTo>
                    <a:pt x="526" y="2"/>
                    <a:pt x="520" y="0"/>
                    <a:pt x="514" y="0"/>
                  </a:cubicBezTo>
                  <a:cubicBezTo>
                    <a:pt x="508" y="0"/>
                    <a:pt x="502" y="2"/>
                    <a:pt x="498" y="6"/>
                  </a:cubicBezTo>
                  <a:cubicBezTo>
                    <a:pt x="494" y="2"/>
                    <a:pt x="488" y="0"/>
                    <a:pt x="482" y="0"/>
                  </a:cubicBezTo>
                  <a:cubicBezTo>
                    <a:pt x="476" y="0"/>
                    <a:pt x="470" y="2"/>
                    <a:pt x="466" y="6"/>
                  </a:cubicBezTo>
                  <a:cubicBezTo>
                    <a:pt x="462" y="2"/>
                    <a:pt x="456" y="0"/>
                    <a:pt x="450" y="0"/>
                  </a:cubicBezTo>
                  <a:cubicBezTo>
                    <a:pt x="443" y="0"/>
                    <a:pt x="438" y="2"/>
                    <a:pt x="434" y="6"/>
                  </a:cubicBezTo>
                  <a:cubicBezTo>
                    <a:pt x="429" y="2"/>
                    <a:pt x="424" y="0"/>
                    <a:pt x="417" y="0"/>
                  </a:cubicBezTo>
                  <a:cubicBezTo>
                    <a:pt x="411" y="0"/>
                    <a:pt x="405" y="2"/>
                    <a:pt x="401" y="6"/>
                  </a:cubicBezTo>
                  <a:cubicBezTo>
                    <a:pt x="397" y="2"/>
                    <a:pt x="391" y="0"/>
                    <a:pt x="385" y="0"/>
                  </a:cubicBezTo>
                  <a:cubicBezTo>
                    <a:pt x="379" y="0"/>
                    <a:pt x="373" y="2"/>
                    <a:pt x="369" y="6"/>
                  </a:cubicBezTo>
                  <a:cubicBezTo>
                    <a:pt x="365" y="2"/>
                    <a:pt x="359" y="0"/>
                    <a:pt x="353" y="0"/>
                  </a:cubicBezTo>
                  <a:cubicBezTo>
                    <a:pt x="347" y="0"/>
                    <a:pt x="341" y="2"/>
                    <a:pt x="337" y="6"/>
                  </a:cubicBezTo>
                  <a:cubicBezTo>
                    <a:pt x="333" y="2"/>
                    <a:pt x="327" y="0"/>
                    <a:pt x="321" y="0"/>
                  </a:cubicBezTo>
                  <a:cubicBezTo>
                    <a:pt x="314" y="0"/>
                    <a:pt x="309" y="2"/>
                    <a:pt x="305" y="6"/>
                  </a:cubicBezTo>
                  <a:cubicBezTo>
                    <a:pt x="300" y="2"/>
                    <a:pt x="295" y="0"/>
                    <a:pt x="288" y="0"/>
                  </a:cubicBezTo>
                  <a:cubicBezTo>
                    <a:pt x="282" y="0"/>
                    <a:pt x="276" y="2"/>
                    <a:pt x="272" y="6"/>
                  </a:cubicBezTo>
                  <a:cubicBezTo>
                    <a:pt x="268" y="2"/>
                    <a:pt x="263" y="0"/>
                    <a:pt x="256" y="0"/>
                  </a:cubicBezTo>
                  <a:cubicBezTo>
                    <a:pt x="250" y="0"/>
                    <a:pt x="244" y="2"/>
                    <a:pt x="240" y="6"/>
                  </a:cubicBezTo>
                  <a:cubicBezTo>
                    <a:pt x="236" y="2"/>
                    <a:pt x="230" y="0"/>
                    <a:pt x="224" y="0"/>
                  </a:cubicBezTo>
                  <a:cubicBezTo>
                    <a:pt x="218" y="0"/>
                    <a:pt x="212" y="2"/>
                    <a:pt x="208" y="6"/>
                  </a:cubicBezTo>
                  <a:cubicBezTo>
                    <a:pt x="204" y="2"/>
                    <a:pt x="198" y="0"/>
                    <a:pt x="192" y="0"/>
                  </a:cubicBezTo>
                  <a:cubicBezTo>
                    <a:pt x="185" y="0"/>
                    <a:pt x="180" y="2"/>
                    <a:pt x="176" y="6"/>
                  </a:cubicBezTo>
                  <a:cubicBezTo>
                    <a:pt x="171" y="2"/>
                    <a:pt x="166" y="0"/>
                    <a:pt x="159" y="0"/>
                  </a:cubicBezTo>
                  <a:cubicBezTo>
                    <a:pt x="153" y="0"/>
                    <a:pt x="147" y="2"/>
                    <a:pt x="143" y="6"/>
                  </a:cubicBezTo>
                  <a:cubicBezTo>
                    <a:pt x="139" y="2"/>
                    <a:pt x="134" y="0"/>
                    <a:pt x="127" y="0"/>
                  </a:cubicBezTo>
                  <a:cubicBezTo>
                    <a:pt x="121" y="0"/>
                    <a:pt x="115" y="2"/>
                    <a:pt x="111" y="6"/>
                  </a:cubicBezTo>
                  <a:cubicBezTo>
                    <a:pt x="107" y="2"/>
                    <a:pt x="101" y="0"/>
                    <a:pt x="95" y="0"/>
                  </a:cubicBezTo>
                  <a:cubicBezTo>
                    <a:pt x="89" y="0"/>
                    <a:pt x="83" y="2"/>
                    <a:pt x="79" y="6"/>
                  </a:cubicBezTo>
                  <a:cubicBezTo>
                    <a:pt x="75" y="2"/>
                    <a:pt x="69" y="0"/>
                    <a:pt x="63" y="0"/>
                  </a:cubicBezTo>
                  <a:cubicBezTo>
                    <a:pt x="50" y="0"/>
                    <a:pt x="40" y="10"/>
                    <a:pt x="40" y="22"/>
                  </a:cubicBezTo>
                  <a:cubicBezTo>
                    <a:pt x="40" y="23"/>
                    <a:pt x="40" y="23"/>
                    <a:pt x="40" y="24"/>
                  </a:cubicBezTo>
                  <a:cubicBezTo>
                    <a:pt x="38" y="23"/>
                    <a:pt x="35" y="22"/>
                    <a:pt x="32" y="22"/>
                  </a:cubicBezTo>
                  <a:cubicBezTo>
                    <a:pt x="20" y="22"/>
                    <a:pt x="10" y="33"/>
                    <a:pt x="10" y="45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5" y="49"/>
                    <a:pt x="2" y="53"/>
                    <a:pt x="0" y="58"/>
                  </a:cubicBezTo>
                  <a:cubicBezTo>
                    <a:pt x="752" y="58"/>
                    <a:pt x="752" y="58"/>
                    <a:pt x="752" y="58"/>
                  </a:cubicBezTo>
                  <a:cubicBezTo>
                    <a:pt x="749" y="50"/>
                    <a:pt x="741" y="44"/>
                    <a:pt x="732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23" name="Freeform 409"/>
            <p:cNvSpPr>
              <a:spLocks/>
            </p:cNvSpPr>
            <p:nvPr userDrawn="1"/>
          </p:nvSpPr>
          <p:spPr bwMode="auto">
            <a:xfrm>
              <a:off x="2517783" y="4138425"/>
              <a:ext cx="40338" cy="52145"/>
            </a:xfrm>
            <a:custGeom>
              <a:avLst/>
              <a:gdLst>
                <a:gd name="T0" fmla="*/ 0 w 41"/>
                <a:gd name="T1" fmla="*/ 53 h 53"/>
                <a:gd name="T2" fmla="*/ 41 w 41"/>
                <a:gd name="T3" fmla="*/ 9 h 53"/>
                <a:gd name="T4" fmla="*/ 41 w 41"/>
                <a:gd name="T5" fmla="*/ 0 h 53"/>
                <a:gd name="T6" fmla="*/ 0 w 41"/>
                <a:gd name="T7" fmla="*/ 0 h 53"/>
                <a:gd name="T8" fmla="*/ 0 w 41"/>
                <a:gd name="T9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53">
                  <a:moveTo>
                    <a:pt x="0" y="53"/>
                  </a:moveTo>
                  <a:lnTo>
                    <a:pt x="41" y="9"/>
                  </a:lnTo>
                  <a:lnTo>
                    <a:pt x="41" y="0"/>
                  </a:lnTo>
                  <a:lnTo>
                    <a:pt x="0" y="0"/>
                  </a:lnTo>
                  <a:lnTo>
                    <a:pt x="0" y="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24" name="Freeform 410"/>
            <p:cNvSpPr>
              <a:spLocks/>
            </p:cNvSpPr>
            <p:nvPr userDrawn="1"/>
          </p:nvSpPr>
          <p:spPr bwMode="auto">
            <a:xfrm>
              <a:off x="2182287" y="4138425"/>
              <a:ext cx="44274" cy="56080"/>
            </a:xfrm>
            <a:custGeom>
              <a:avLst/>
              <a:gdLst>
                <a:gd name="T0" fmla="*/ 45 w 45"/>
                <a:gd name="T1" fmla="*/ 57 h 57"/>
                <a:gd name="T2" fmla="*/ 45 w 45"/>
                <a:gd name="T3" fmla="*/ 0 h 57"/>
                <a:gd name="T4" fmla="*/ 0 w 45"/>
                <a:gd name="T5" fmla="*/ 0 h 57"/>
                <a:gd name="T6" fmla="*/ 1 w 45"/>
                <a:gd name="T7" fmla="*/ 9 h 57"/>
                <a:gd name="T8" fmla="*/ 45 w 45"/>
                <a:gd name="T9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57">
                  <a:moveTo>
                    <a:pt x="45" y="57"/>
                  </a:moveTo>
                  <a:lnTo>
                    <a:pt x="45" y="0"/>
                  </a:lnTo>
                  <a:lnTo>
                    <a:pt x="0" y="0"/>
                  </a:lnTo>
                  <a:lnTo>
                    <a:pt x="1" y="9"/>
                  </a:lnTo>
                  <a:lnTo>
                    <a:pt x="45" y="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25" name="Rectangle 411"/>
            <p:cNvSpPr>
              <a:spLocks noChangeArrowheads="1"/>
            </p:cNvSpPr>
            <p:nvPr userDrawn="1"/>
          </p:nvSpPr>
          <p:spPr bwMode="auto">
            <a:xfrm>
              <a:off x="2394801" y="4138425"/>
              <a:ext cx="37387" cy="8067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26" name="Freeform 412"/>
            <p:cNvSpPr>
              <a:spLocks/>
            </p:cNvSpPr>
            <p:nvPr userDrawn="1"/>
          </p:nvSpPr>
          <p:spPr bwMode="auto">
            <a:xfrm>
              <a:off x="2476461" y="4138425"/>
              <a:ext cx="37387" cy="80676"/>
            </a:xfrm>
            <a:custGeom>
              <a:avLst/>
              <a:gdLst>
                <a:gd name="T0" fmla="*/ 16 w 38"/>
                <a:gd name="T1" fmla="*/ 82 h 82"/>
                <a:gd name="T2" fmla="*/ 38 w 38"/>
                <a:gd name="T3" fmla="*/ 57 h 82"/>
                <a:gd name="T4" fmla="*/ 38 w 38"/>
                <a:gd name="T5" fmla="*/ 0 h 82"/>
                <a:gd name="T6" fmla="*/ 0 w 38"/>
                <a:gd name="T7" fmla="*/ 0 h 82"/>
                <a:gd name="T8" fmla="*/ 0 w 38"/>
                <a:gd name="T9" fmla="*/ 82 h 82"/>
                <a:gd name="T10" fmla="*/ 16 w 38"/>
                <a:gd name="T11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" h="82">
                  <a:moveTo>
                    <a:pt x="16" y="82"/>
                  </a:moveTo>
                  <a:lnTo>
                    <a:pt x="38" y="57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82"/>
                  </a:lnTo>
                  <a:lnTo>
                    <a:pt x="16" y="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27" name="Freeform 413"/>
            <p:cNvSpPr>
              <a:spLocks/>
            </p:cNvSpPr>
            <p:nvPr userDrawn="1"/>
          </p:nvSpPr>
          <p:spPr bwMode="auto">
            <a:xfrm>
              <a:off x="2353479" y="4138425"/>
              <a:ext cx="37387" cy="80676"/>
            </a:xfrm>
            <a:custGeom>
              <a:avLst/>
              <a:gdLst>
                <a:gd name="T0" fmla="*/ 0 w 38"/>
                <a:gd name="T1" fmla="*/ 82 h 82"/>
                <a:gd name="T2" fmla="*/ 38 w 38"/>
                <a:gd name="T3" fmla="*/ 82 h 82"/>
                <a:gd name="T4" fmla="*/ 38 w 38"/>
                <a:gd name="T5" fmla="*/ 0 h 82"/>
                <a:gd name="T6" fmla="*/ 18 w 38"/>
                <a:gd name="T7" fmla="*/ 0 h 82"/>
                <a:gd name="T8" fmla="*/ 0 w 38"/>
                <a:gd name="T9" fmla="*/ 0 h 82"/>
                <a:gd name="T10" fmla="*/ 0 w 38"/>
                <a:gd name="T11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" h="82">
                  <a:moveTo>
                    <a:pt x="0" y="82"/>
                  </a:moveTo>
                  <a:lnTo>
                    <a:pt x="38" y="82"/>
                  </a:lnTo>
                  <a:lnTo>
                    <a:pt x="38" y="0"/>
                  </a:lnTo>
                  <a:lnTo>
                    <a:pt x="18" y="0"/>
                  </a:lnTo>
                  <a:lnTo>
                    <a:pt x="0" y="0"/>
                  </a:lnTo>
                  <a:lnTo>
                    <a:pt x="0" y="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28" name="Rectangle 414"/>
            <p:cNvSpPr>
              <a:spLocks noChangeArrowheads="1"/>
            </p:cNvSpPr>
            <p:nvPr userDrawn="1"/>
          </p:nvSpPr>
          <p:spPr bwMode="auto">
            <a:xfrm>
              <a:off x="2436123" y="4138425"/>
              <a:ext cx="36403" cy="8067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29" name="Freeform 415"/>
            <p:cNvSpPr>
              <a:spLocks/>
            </p:cNvSpPr>
            <p:nvPr userDrawn="1"/>
          </p:nvSpPr>
          <p:spPr bwMode="auto">
            <a:xfrm>
              <a:off x="2149820" y="4213198"/>
              <a:ext cx="444704" cy="48209"/>
            </a:xfrm>
            <a:custGeom>
              <a:avLst/>
              <a:gdLst>
                <a:gd name="T0" fmla="*/ 996 w 1015"/>
                <a:gd name="T1" fmla="*/ 40 h 111"/>
                <a:gd name="T2" fmla="*/ 980 w 1015"/>
                <a:gd name="T3" fmla="*/ 57 h 111"/>
                <a:gd name="T4" fmla="*/ 951 w 1015"/>
                <a:gd name="T5" fmla="*/ 57 h 111"/>
                <a:gd name="T6" fmla="*/ 958 w 1015"/>
                <a:gd name="T7" fmla="*/ 31 h 111"/>
                <a:gd name="T8" fmla="*/ 930 w 1015"/>
                <a:gd name="T9" fmla="*/ 31 h 111"/>
                <a:gd name="T10" fmla="*/ 932 w 1015"/>
                <a:gd name="T11" fmla="*/ 21 h 111"/>
                <a:gd name="T12" fmla="*/ 911 w 1015"/>
                <a:gd name="T13" fmla="*/ 0 h 111"/>
                <a:gd name="T14" fmla="*/ 863 w 1015"/>
                <a:gd name="T15" fmla="*/ 0 h 111"/>
                <a:gd name="T16" fmla="*/ 840 w 1015"/>
                <a:gd name="T17" fmla="*/ 0 h 111"/>
                <a:gd name="T18" fmla="*/ 831 w 1015"/>
                <a:gd name="T19" fmla="*/ 0 h 111"/>
                <a:gd name="T20" fmla="*/ 814 w 1015"/>
                <a:gd name="T21" fmla="*/ 0 h 111"/>
                <a:gd name="T22" fmla="*/ 793 w 1015"/>
                <a:gd name="T23" fmla="*/ 21 h 111"/>
                <a:gd name="T24" fmla="*/ 795 w 1015"/>
                <a:gd name="T25" fmla="*/ 31 h 111"/>
                <a:gd name="T26" fmla="*/ 765 w 1015"/>
                <a:gd name="T27" fmla="*/ 31 h 111"/>
                <a:gd name="T28" fmla="*/ 771 w 1015"/>
                <a:gd name="T29" fmla="*/ 24 h 111"/>
                <a:gd name="T30" fmla="*/ 237 w 1015"/>
                <a:gd name="T31" fmla="*/ 24 h 111"/>
                <a:gd name="T32" fmla="*/ 242 w 1015"/>
                <a:gd name="T33" fmla="*/ 31 h 111"/>
                <a:gd name="T34" fmla="*/ 212 w 1015"/>
                <a:gd name="T35" fmla="*/ 31 h 111"/>
                <a:gd name="T36" fmla="*/ 214 w 1015"/>
                <a:gd name="T37" fmla="*/ 21 h 111"/>
                <a:gd name="T38" fmla="*/ 194 w 1015"/>
                <a:gd name="T39" fmla="*/ 0 h 111"/>
                <a:gd name="T40" fmla="*/ 189 w 1015"/>
                <a:gd name="T41" fmla="*/ 0 h 111"/>
                <a:gd name="T42" fmla="*/ 184 w 1015"/>
                <a:gd name="T43" fmla="*/ 0 h 111"/>
                <a:gd name="T44" fmla="*/ 175 w 1015"/>
                <a:gd name="T45" fmla="*/ 0 h 111"/>
                <a:gd name="T46" fmla="*/ 166 w 1015"/>
                <a:gd name="T47" fmla="*/ 0 h 111"/>
                <a:gd name="T48" fmla="*/ 96 w 1015"/>
                <a:gd name="T49" fmla="*/ 0 h 111"/>
                <a:gd name="T50" fmla="*/ 75 w 1015"/>
                <a:gd name="T51" fmla="*/ 21 h 111"/>
                <a:gd name="T52" fmla="*/ 78 w 1015"/>
                <a:gd name="T53" fmla="*/ 31 h 111"/>
                <a:gd name="T54" fmla="*/ 49 w 1015"/>
                <a:gd name="T55" fmla="*/ 31 h 111"/>
                <a:gd name="T56" fmla="*/ 54 w 1015"/>
                <a:gd name="T57" fmla="*/ 48 h 111"/>
                <a:gd name="T58" fmla="*/ 36 w 1015"/>
                <a:gd name="T59" fmla="*/ 48 h 111"/>
                <a:gd name="T60" fmla="*/ 19 w 1015"/>
                <a:gd name="T61" fmla="*/ 28 h 111"/>
                <a:gd name="T62" fmla="*/ 0 w 1015"/>
                <a:gd name="T63" fmla="*/ 62 h 111"/>
                <a:gd name="T64" fmla="*/ 19 w 1015"/>
                <a:gd name="T65" fmla="*/ 95 h 111"/>
                <a:gd name="T66" fmla="*/ 36 w 1015"/>
                <a:gd name="T67" fmla="*/ 76 h 111"/>
                <a:gd name="T68" fmla="*/ 64 w 1015"/>
                <a:gd name="T69" fmla="*/ 76 h 111"/>
                <a:gd name="T70" fmla="*/ 87 w 1015"/>
                <a:gd name="T71" fmla="*/ 100 h 111"/>
                <a:gd name="T72" fmla="*/ 136 w 1015"/>
                <a:gd name="T73" fmla="*/ 72 h 111"/>
                <a:gd name="T74" fmla="*/ 187 w 1015"/>
                <a:gd name="T75" fmla="*/ 107 h 111"/>
                <a:gd name="T76" fmla="*/ 238 w 1015"/>
                <a:gd name="T77" fmla="*/ 72 h 111"/>
                <a:gd name="T78" fmla="*/ 290 w 1015"/>
                <a:gd name="T79" fmla="*/ 107 h 111"/>
                <a:gd name="T80" fmla="*/ 341 w 1015"/>
                <a:gd name="T81" fmla="*/ 72 h 111"/>
                <a:gd name="T82" fmla="*/ 392 w 1015"/>
                <a:gd name="T83" fmla="*/ 104 h 111"/>
                <a:gd name="T84" fmla="*/ 435 w 1015"/>
                <a:gd name="T85" fmla="*/ 71 h 111"/>
                <a:gd name="T86" fmla="*/ 504 w 1015"/>
                <a:gd name="T87" fmla="*/ 71 h 111"/>
                <a:gd name="T88" fmla="*/ 572 w 1015"/>
                <a:gd name="T89" fmla="*/ 71 h 111"/>
                <a:gd name="T90" fmla="*/ 588 w 1015"/>
                <a:gd name="T91" fmla="*/ 83 h 111"/>
                <a:gd name="T92" fmla="*/ 621 w 1015"/>
                <a:gd name="T93" fmla="*/ 72 h 111"/>
                <a:gd name="T94" fmla="*/ 673 w 1015"/>
                <a:gd name="T95" fmla="*/ 107 h 111"/>
                <a:gd name="T96" fmla="*/ 724 w 1015"/>
                <a:gd name="T97" fmla="*/ 72 h 111"/>
                <a:gd name="T98" fmla="*/ 775 w 1015"/>
                <a:gd name="T99" fmla="*/ 107 h 111"/>
                <a:gd name="T100" fmla="*/ 827 w 1015"/>
                <a:gd name="T101" fmla="*/ 72 h 111"/>
                <a:gd name="T102" fmla="*/ 880 w 1015"/>
                <a:gd name="T103" fmla="*/ 111 h 111"/>
                <a:gd name="T104" fmla="*/ 910 w 1015"/>
                <a:gd name="T105" fmla="*/ 111 h 111"/>
                <a:gd name="T106" fmla="*/ 934 w 1015"/>
                <a:gd name="T107" fmla="*/ 85 h 111"/>
                <a:gd name="T108" fmla="*/ 980 w 1015"/>
                <a:gd name="T109" fmla="*/ 85 h 111"/>
                <a:gd name="T110" fmla="*/ 996 w 1015"/>
                <a:gd name="T111" fmla="*/ 102 h 111"/>
                <a:gd name="T112" fmla="*/ 1015 w 1015"/>
                <a:gd name="T113" fmla="*/ 71 h 111"/>
                <a:gd name="T114" fmla="*/ 996 w 1015"/>
                <a:gd name="T115" fmla="*/ 4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015" h="111">
                  <a:moveTo>
                    <a:pt x="996" y="40"/>
                  </a:moveTo>
                  <a:cubicBezTo>
                    <a:pt x="989" y="40"/>
                    <a:pt x="983" y="47"/>
                    <a:pt x="980" y="57"/>
                  </a:cubicBezTo>
                  <a:cubicBezTo>
                    <a:pt x="951" y="57"/>
                    <a:pt x="951" y="57"/>
                    <a:pt x="951" y="57"/>
                  </a:cubicBezTo>
                  <a:cubicBezTo>
                    <a:pt x="954" y="48"/>
                    <a:pt x="956" y="39"/>
                    <a:pt x="958" y="31"/>
                  </a:cubicBezTo>
                  <a:cubicBezTo>
                    <a:pt x="930" y="31"/>
                    <a:pt x="930" y="31"/>
                    <a:pt x="930" y="31"/>
                  </a:cubicBezTo>
                  <a:cubicBezTo>
                    <a:pt x="931" y="28"/>
                    <a:pt x="932" y="25"/>
                    <a:pt x="932" y="21"/>
                  </a:cubicBezTo>
                  <a:cubicBezTo>
                    <a:pt x="932" y="10"/>
                    <a:pt x="923" y="0"/>
                    <a:pt x="911" y="0"/>
                  </a:cubicBezTo>
                  <a:cubicBezTo>
                    <a:pt x="863" y="0"/>
                    <a:pt x="863" y="0"/>
                    <a:pt x="863" y="0"/>
                  </a:cubicBezTo>
                  <a:cubicBezTo>
                    <a:pt x="840" y="0"/>
                    <a:pt x="840" y="0"/>
                    <a:pt x="840" y="0"/>
                  </a:cubicBezTo>
                  <a:cubicBezTo>
                    <a:pt x="831" y="0"/>
                    <a:pt x="831" y="0"/>
                    <a:pt x="831" y="0"/>
                  </a:cubicBezTo>
                  <a:cubicBezTo>
                    <a:pt x="814" y="0"/>
                    <a:pt x="814" y="0"/>
                    <a:pt x="814" y="0"/>
                  </a:cubicBezTo>
                  <a:cubicBezTo>
                    <a:pt x="802" y="0"/>
                    <a:pt x="793" y="10"/>
                    <a:pt x="793" y="21"/>
                  </a:cubicBezTo>
                  <a:cubicBezTo>
                    <a:pt x="793" y="25"/>
                    <a:pt x="794" y="28"/>
                    <a:pt x="795" y="31"/>
                  </a:cubicBezTo>
                  <a:cubicBezTo>
                    <a:pt x="765" y="31"/>
                    <a:pt x="765" y="31"/>
                    <a:pt x="765" y="31"/>
                  </a:cubicBezTo>
                  <a:cubicBezTo>
                    <a:pt x="771" y="24"/>
                    <a:pt x="771" y="24"/>
                    <a:pt x="771" y="24"/>
                  </a:cubicBezTo>
                  <a:cubicBezTo>
                    <a:pt x="237" y="24"/>
                    <a:pt x="237" y="24"/>
                    <a:pt x="237" y="24"/>
                  </a:cubicBezTo>
                  <a:cubicBezTo>
                    <a:pt x="242" y="31"/>
                    <a:pt x="242" y="31"/>
                    <a:pt x="242" y="31"/>
                  </a:cubicBezTo>
                  <a:cubicBezTo>
                    <a:pt x="212" y="31"/>
                    <a:pt x="212" y="31"/>
                    <a:pt x="212" y="31"/>
                  </a:cubicBezTo>
                  <a:cubicBezTo>
                    <a:pt x="214" y="28"/>
                    <a:pt x="214" y="25"/>
                    <a:pt x="214" y="21"/>
                  </a:cubicBezTo>
                  <a:cubicBezTo>
                    <a:pt x="214" y="10"/>
                    <a:pt x="205" y="0"/>
                    <a:pt x="194" y="0"/>
                  </a:cubicBezTo>
                  <a:cubicBezTo>
                    <a:pt x="189" y="0"/>
                    <a:pt x="189" y="0"/>
                    <a:pt x="189" y="0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175" y="0"/>
                    <a:pt x="175" y="0"/>
                    <a:pt x="175" y="0"/>
                  </a:cubicBezTo>
                  <a:cubicBezTo>
                    <a:pt x="166" y="0"/>
                    <a:pt x="166" y="0"/>
                    <a:pt x="166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85" y="0"/>
                    <a:pt x="75" y="10"/>
                    <a:pt x="75" y="21"/>
                  </a:cubicBezTo>
                  <a:cubicBezTo>
                    <a:pt x="75" y="25"/>
                    <a:pt x="76" y="28"/>
                    <a:pt x="78" y="31"/>
                  </a:cubicBezTo>
                  <a:cubicBezTo>
                    <a:pt x="49" y="31"/>
                    <a:pt x="49" y="31"/>
                    <a:pt x="49" y="31"/>
                  </a:cubicBezTo>
                  <a:cubicBezTo>
                    <a:pt x="51" y="36"/>
                    <a:pt x="52" y="42"/>
                    <a:pt x="54" y="48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3" y="36"/>
                    <a:pt x="27" y="28"/>
                    <a:pt x="19" y="28"/>
                  </a:cubicBezTo>
                  <a:cubicBezTo>
                    <a:pt x="9" y="28"/>
                    <a:pt x="0" y="43"/>
                    <a:pt x="0" y="62"/>
                  </a:cubicBezTo>
                  <a:cubicBezTo>
                    <a:pt x="0" y="80"/>
                    <a:pt x="9" y="95"/>
                    <a:pt x="19" y="95"/>
                  </a:cubicBezTo>
                  <a:cubicBezTo>
                    <a:pt x="27" y="95"/>
                    <a:pt x="33" y="87"/>
                    <a:pt x="36" y="76"/>
                  </a:cubicBezTo>
                  <a:cubicBezTo>
                    <a:pt x="64" y="76"/>
                    <a:pt x="64" y="76"/>
                    <a:pt x="64" y="76"/>
                  </a:cubicBezTo>
                  <a:cubicBezTo>
                    <a:pt x="87" y="100"/>
                    <a:pt x="87" y="100"/>
                    <a:pt x="87" y="100"/>
                  </a:cubicBezTo>
                  <a:cubicBezTo>
                    <a:pt x="97" y="83"/>
                    <a:pt x="115" y="72"/>
                    <a:pt x="136" y="72"/>
                  </a:cubicBezTo>
                  <a:cubicBezTo>
                    <a:pt x="159" y="72"/>
                    <a:pt x="179" y="86"/>
                    <a:pt x="187" y="107"/>
                  </a:cubicBezTo>
                  <a:cubicBezTo>
                    <a:pt x="195" y="86"/>
                    <a:pt x="215" y="72"/>
                    <a:pt x="238" y="72"/>
                  </a:cubicBezTo>
                  <a:cubicBezTo>
                    <a:pt x="262" y="72"/>
                    <a:pt x="282" y="86"/>
                    <a:pt x="290" y="107"/>
                  </a:cubicBezTo>
                  <a:cubicBezTo>
                    <a:pt x="298" y="86"/>
                    <a:pt x="318" y="72"/>
                    <a:pt x="341" y="72"/>
                  </a:cubicBezTo>
                  <a:cubicBezTo>
                    <a:pt x="364" y="72"/>
                    <a:pt x="383" y="85"/>
                    <a:pt x="392" y="104"/>
                  </a:cubicBezTo>
                  <a:cubicBezTo>
                    <a:pt x="435" y="71"/>
                    <a:pt x="435" y="71"/>
                    <a:pt x="435" y="71"/>
                  </a:cubicBezTo>
                  <a:cubicBezTo>
                    <a:pt x="504" y="71"/>
                    <a:pt x="504" y="71"/>
                    <a:pt x="504" y="71"/>
                  </a:cubicBezTo>
                  <a:cubicBezTo>
                    <a:pt x="572" y="71"/>
                    <a:pt x="572" y="71"/>
                    <a:pt x="572" y="71"/>
                  </a:cubicBezTo>
                  <a:cubicBezTo>
                    <a:pt x="588" y="83"/>
                    <a:pt x="588" y="83"/>
                    <a:pt x="588" y="83"/>
                  </a:cubicBezTo>
                  <a:cubicBezTo>
                    <a:pt x="597" y="76"/>
                    <a:pt x="609" y="72"/>
                    <a:pt x="621" y="72"/>
                  </a:cubicBezTo>
                  <a:cubicBezTo>
                    <a:pt x="645" y="72"/>
                    <a:pt x="665" y="86"/>
                    <a:pt x="673" y="107"/>
                  </a:cubicBezTo>
                  <a:cubicBezTo>
                    <a:pt x="681" y="86"/>
                    <a:pt x="701" y="72"/>
                    <a:pt x="724" y="72"/>
                  </a:cubicBezTo>
                  <a:cubicBezTo>
                    <a:pt x="747" y="72"/>
                    <a:pt x="767" y="86"/>
                    <a:pt x="775" y="107"/>
                  </a:cubicBezTo>
                  <a:cubicBezTo>
                    <a:pt x="784" y="86"/>
                    <a:pt x="803" y="72"/>
                    <a:pt x="827" y="72"/>
                  </a:cubicBezTo>
                  <a:cubicBezTo>
                    <a:pt x="852" y="72"/>
                    <a:pt x="873" y="88"/>
                    <a:pt x="880" y="111"/>
                  </a:cubicBezTo>
                  <a:cubicBezTo>
                    <a:pt x="910" y="111"/>
                    <a:pt x="910" y="111"/>
                    <a:pt x="910" y="111"/>
                  </a:cubicBezTo>
                  <a:cubicBezTo>
                    <a:pt x="934" y="85"/>
                    <a:pt x="934" y="85"/>
                    <a:pt x="934" y="85"/>
                  </a:cubicBezTo>
                  <a:cubicBezTo>
                    <a:pt x="980" y="85"/>
                    <a:pt x="980" y="85"/>
                    <a:pt x="980" y="85"/>
                  </a:cubicBezTo>
                  <a:cubicBezTo>
                    <a:pt x="983" y="95"/>
                    <a:pt x="989" y="102"/>
                    <a:pt x="996" y="102"/>
                  </a:cubicBezTo>
                  <a:cubicBezTo>
                    <a:pt x="1007" y="102"/>
                    <a:pt x="1015" y="88"/>
                    <a:pt x="1015" y="71"/>
                  </a:cubicBezTo>
                  <a:cubicBezTo>
                    <a:pt x="1015" y="54"/>
                    <a:pt x="1007" y="40"/>
                    <a:pt x="996" y="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30" name="Freeform 416"/>
            <p:cNvSpPr>
              <a:spLocks/>
            </p:cNvSpPr>
            <p:nvPr userDrawn="1"/>
          </p:nvSpPr>
          <p:spPr bwMode="auto">
            <a:xfrm>
              <a:off x="2230496" y="4138425"/>
              <a:ext cx="37387" cy="80676"/>
            </a:xfrm>
            <a:custGeom>
              <a:avLst/>
              <a:gdLst>
                <a:gd name="T0" fmla="*/ 19 w 38"/>
                <a:gd name="T1" fmla="*/ 82 h 82"/>
                <a:gd name="T2" fmla="*/ 38 w 38"/>
                <a:gd name="T3" fmla="*/ 82 h 82"/>
                <a:gd name="T4" fmla="*/ 38 w 38"/>
                <a:gd name="T5" fmla="*/ 0 h 82"/>
                <a:gd name="T6" fmla="*/ 0 w 38"/>
                <a:gd name="T7" fmla="*/ 0 h 82"/>
                <a:gd name="T8" fmla="*/ 0 w 38"/>
                <a:gd name="T9" fmla="*/ 61 h 82"/>
                <a:gd name="T10" fmla="*/ 19 w 38"/>
                <a:gd name="T11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" h="82">
                  <a:moveTo>
                    <a:pt x="19" y="82"/>
                  </a:moveTo>
                  <a:lnTo>
                    <a:pt x="38" y="82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61"/>
                  </a:lnTo>
                  <a:lnTo>
                    <a:pt x="19" y="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31" name="Rectangle 417"/>
            <p:cNvSpPr>
              <a:spLocks noChangeArrowheads="1"/>
            </p:cNvSpPr>
            <p:nvPr userDrawn="1"/>
          </p:nvSpPr>
          <p:spPr bwMode="auto">
            <a:xfrm>
              <a:off x="2312157" y="4138425"/>
              <a:ext cx="37387" cy="8067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32" name="Rectangle 418"/>
            <p:cNvSpPr>
              <a:spLocks noChangeArrowheads="1"/>
            </p:cNvSpPr>
            <p:nvPr userDrawn="1"/>
          </p:nvSpPr>
          <p:spPr bwMode="auto">
            <a:xfrm>
              <a:off x="2271818" y="4138425"/>
              <a:ext cx="36403" cy="8067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33" name="Freeform 419"/>
            <p:cNvSpPr>
              <a:spLocks noEditPoints="1"/>
            </p:cNvSpPr>
            <p:nvPr userDrawn="1"/>
          </p:nvSpPr>
          <p:spPr bwMode="auto">
            <a:xfrm>
              <a:off x="2940842" y="4250585"/>
              <a:ext cx="36403" cy="36403"/>
            </a:xfrm>
            <a:custGeom>
              <a:avLst/>
              <a:gdLst>
                <a:gd name="T0" fmla="*/ 42 w 84"/>
                <a:gd name="T1" fmla="*/ 0 h 84"/>
                <a:gd name="T2" fmla="*/ 0 w 84"/>
                <a:gd name="T3" fmla="*/ 42 h 84"/>
                <a:gd name="T4" fmla="*/ 42 w 84"/>
                <a:gd name="T5" fmla="*/ 84 h 84"/>
                <a:gd name="T6" fmla="*/ 84 w 84"/>
                <a:gd name="T7" fmla="*/ 42 h 84"/>
                <a:gd name="T8" fmla="*/ 42 w 84"/>
                <a:gd name="T9" fmla="*/ 0 h 84"/>
                <a:gd name="T10" fmla="*/ 42 w 84"/>
                <a:gd name="T11" fmla="*/ 72 h 84"/>
                <a:gd name="T12" fmla="*/ 13 w 84"/>
                <a:gd name="T13" fmla="*/ 42 h 84"/>
                <a:gd name="T14" fmla="*/ 42 w 84"/>
                <a:gd name="T15" fmla="*/ 13 h 84"/>
                <a:gd name="T16" fmla="*/ 72 w 84"/>
                <a:gd name="T17" fmla="*/ 42 h 84"/>
                <a:gd name="T18" fmla="*/ 42 w 84"/>
                <a:gd name="T19" fmla="*/ 7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65"/>
                    <a:pt x="19" y="84"/>
                    <a:pt x="42" y="84"/>
                  </a:cubicBezTo>
                  <a:cubicBezTo>
                    <a:pt x="65" y="84"/>
                    <a:pt x="84" y="65"/>
                    <a:pt x="84" y="42"/>
                  </a:cubicBezTo>
                  <a:cubicBezTo>
                    <a:pt x="84" y="19"/>
                    <a:pt x="65" y="0"/>
                    <a:pt x="42" y="0"/>
                  </a:cubicBezTo>
                  <a:close/>
                  <a:moveTo>
                    <a:pt x="42" y="72"/>
                  </a:moveTo>
                  <a:cubicBezTo>
                    <a:pt x="26" y="72"/>
                    <a:pt x="13" y="58"/>
                    <a:pt x="13" y="42"/>
                  </a:cubicBezTo>
                  <a:cubicBezTo>
                    <a:pt x="13" y="26"/>
                    <a:pt x="26" y="13"/>
                    <a:pt x="42" y="13"/>
                  </a:cubicBezTo>
                  <a:cubicBezTo>
                    <a:pt x="58" y="13"/>
                    <a:pt x="72" y="26"/>
                    <a:pt x="72" y="42"/>
                  </a:cubicBezTo>
                  <a:cubicBezTo>
                    <a:pt x="72" y="58"/>
                    <a:pt x="58" y="72"/>
                    <a:pt x="42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34" name="Oval 420"/>
            <p:cNvSpPr>
              <a:spLocks noChangeArrowheads="1"/>
            </p:cNvSpPr>
            <p:nvPr userDrawn="1"/>
          </p:nvSpPr>
          <p:spPr bwMode="auto">
            <a:xfrm>
              <a:off x="2948713" y="4258455"/>
              <a:ext cx="20661" cy="2066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35" name="Freeform 421"/>
            <p:cNvSpPr>
              <a:spLocks noEditPoints="1"/>
            </p:cNvSpPr>
            <p:nvPr userDrawn="1"/>
          </p:nvSpPr>
          <p:spPr bwMode="auto">
            <a:xfrm>
              <a:off x="2895584" y="4250585"/>
              <a:ext cx="36403" cy="36403"/>
            </a:xfrm>
            <a:custGeom>
              <a:avLst/>
              <a:gdLst>
                <a:gd name="T0" fmla="*/ 41 w 83"/>
                <a:gd name="T1" fmla="*/ 0 h 84"/>
                <a:gd name="T2" fmla="*/ 0 w 83"/>
                <a:gd name="T3" fmla="*/ 42 h 84"/>
                <a:gd name="T4" fmla="*/ 41 w 83"/>
                <a:gd name="T5" fmla="*/ 84 h 84"/>
                <a:gd name="T6" fmla="*/ 83 w 83"/>
                <a:gd name="T7" fmla="*/ 42 h 84"/>
                <a:gd name="T8" fmla="*/ 41 w 83"/>
                <a:gd name="T9" fmla="*/ 0 h 84"/>
                <a:gd name="T10" fmla="*/ 41 w 83"/>
                <a:gd name="T11" fmla="*/ 72 h 84"/>
                <a:gd name="T12" fmla="*/ 12 w 83"/>
                <a:gd name="T13" fmla="*/ 42 h 84"/>
                <a:gd name="T14" fmla="*/ 41 w 83"/>
                <a:gd name="T15" fmla="*/ 13 h 84"/>
                <a:gd name="T16" fmla="*/ 71 w 83"/>
                <a:gd name="T17" fmla="*/ 42 h 84"/>
                <a:gd name="T18" fmla="*/ 41 w 83"/>
                <a:gd name="T19" fmla="*/ 7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3" h="84">
                  <a:moveTo>
                    <a:pt x="41" y="0"/>
                  </a:moveTo>
                  <a:cubicBezTo>
                    <a:pt x="18" y="0"/>
                    <a:pt x="0" y="19"/>
                    <a:pt x="0" y="42"/>
                  </a:cubicBezTo>
                  <a:cubicBezTo>
                    <a:pt x="0" y="65"/>
                    <a:pt x="18" y="84"/>
                    <a:pt x="41" y="84"/>
                  </a:cubicBezTo>
                  <a:cubicBezTo>
                    <a:pt x="65" y="84"/>
                    <a:pt x="83" y="65"/>
                    <a:pt x="83" y="42"/>
                  </a:cubicBezTo>
                  <a:cubicBezTo>
                    <a:pt x="83" y="19"/>
                    <a:pt x="65" y="0"/>
                    <a:pt x="41" y="0"/>
                  </a:cubicBezTo>
                  <a:close/>
                  <a:moveTo>
                    <a:pt x="41" y="72"/>
                  </a:moveTo>
                  <a:cubicBezTo>
                    <a:pt x="25" y="72"/>
                    <a:pt x="12" y="58"/>
                    <a:pt x="12" y="42"/>
                  </a:cubicBezTo>
                  <a:cubicBezTo>
                    <a:pt x="12" y="26"/>
                    <a:pt x="25" y="13"/>
                    <a:pt x="41" y="13"/>
                  </a:cubicBezTo>
                  <a:cubicBezTo>
                    <a:pt x="58" y="13"/>
                    <a:pt x="71" y="26"/>
                    <a:pt x="71" y="42"/>
                  </a:cubicBezTo>
                  <a:cubicBezTo>
                    <a:pt x="71" y="58"/>
                    <a:pt x="58" y="72"/>
                    <a:pt x="41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36" name="Oval 422"/>
            <p:cNvSpPr>
              <a:spLocks noChangeArrowheads="1"/>
            </p:cNvSpPr>
            <p:nvPr userDrawn="1"/>
          </p:nvSpPr>
          <p:spPr bwMode="auto">
            <a:xfrm>
              <a:off x="2903455" y="4258455"/>
              <a:ext cx="20661" cy="2066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37" name="Freeform 423"/>
            <p:cNvSpPr>
              <a:spLocks noEditPoints="1"/>
            </p:cNvSpPr>
            <p:nvPr userDrawn="1"/>
          </p:nvSpPr>
          <p:spPr bwMode="auto">
            <a:xfrm>
              <a:off x="2851311" y="4250585"/>
              <a:ext cx="36403" cy="36403"/>
            </a:xfrm>
            <a:custGeom>
              <a:avLst/>
              <a:gdLst>
                <a:gd name="T0" fmla="*/ 42 w 84"/>
                <a:gd name="T1" fmla="*/ 0 h 84"/>
                <a:gd name="T2" fmla="*/ 0 w 84"/>
                <a:gd name="T3" fmla="*/ 42 h 84"/>
                <a:gd name="T4" fmla="*/ 42 w 84"/>
                <a:gd name="T5" fmla="*/ 84 h 84"/>
                <a:gd name="T6" fmla="*/ 84 w 84"/>
                <a:gd name="T7" fmla="*/ 42 h 84"/>
                <a:gd name="T8" fmla="*/ 42 w 84"/>
                <a:gd name="T9" fmla="*/ 0 h 84"/>
                <a:gd name="T10" fmla="*/ 42 w 84"/>
                <a:gd name="T11" fmla="*/ 72 h 84"/>
                <a:gd name="T12" fmla="*/ 12 w 84"/>
                <a:gd name="T13" fmla="*/ 42 h 84"/>
                <a:gd name="T14" fmla="*/ 42 w 84"/>
                <a:gd name="T15" fmla="*/ 13 h 84"/>
                <a:gd name="T16" fmla="*/ 71 w 84"/>
                <a:gd name="T17" fmla="*/ 42 h 84"/>
                <a:gd name="T18" fmla="*/ 42 w 84"/>
                <a:gd name="T19" fmla="*/ 7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65"/>
                    <a:pt x="19" y="84"/>
                    <a:pt x="42" y="84"/>
                  </a:cubicBezTo>
                  <a:cubicBezTo>
                    <a:pt x="65" y="84"/>
                    <a:pt x="84" y="65"/>
                    <a:pt x="84" y="42"/>
                  </a:cubicBezTo>
                  <a:cubicBezTo>
                    <a:pt x="84" y="19"/>
                    <a:pt x="65" y="0"/>
                    <a:pt x="42" y="0"/>
                  </a:cubicBezTo>
                  <a:close/>
                  <a:moveTo>
                    <a:pt x="42" y="72"/>
                  </a:moveTo>
                  <a:cubicBezTo>
                    <a:pt x="25" y="72"/>
                    <a:pt x="12" y="58"/>
                    <a:pt x="12" y="42"/>
                  </a:cubicBezTo>
                  <a:cubicBezTo>
                    <a:pt x="12" y="26"/>
                    <a:pt x="25" y="13"/>
                    <a:pt x="42" y="13"/>
                  </a:cubicBezTo>
                  <a:cubicBezTo>
                    <a:pt x="58" y="13"/>
                    <a:pt x="71" y="26"/>
                    <a:pt x="71" y="42"/>
                  </a:cubicBezTo>
                  <a:cubicBezTo>
                    <a:pt x="71" y="58"/>
                    <a:pt x="58" y="72"/>
                    <a:pt x="42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38" name="Oval 424"/>
            <p:cNvSpPr>
              <a:spLocks noChangeArrowheads="1"/>
            </p:cNvSpPr>
            <p:nvPr userDrawn="1"/>
          </p:nvSpPr>
          <p:spPr bwMode="auto">
            <a:xfrm>
              <a:off x="2859181" y="4258455"/>
              <a:ext cx="20661" cy="2066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39" name="Freeform 425"/>
            <p:cNvSpPr>
              <a:spLocks noEditPoints="1"/>
            </p:cNvSpPr>
            <p:nvPr userDrawn="1"/>
          </p:nvSpPr>
          <p:spPr bwMode="auto">
            <a:xfrm>
              <a:off x="2728328" y="4250585"/>
              <a:ext cx="36403" cy="36403"/>
            </a:xfrm>
            <a:custGeom>
              <a:avLst/>
              <a:gdLst>
                <a:gd name="T0" fmla="*/ 42 w 83"/>
                <a:gd name="T1" fmla="*/ 0 h 84"/>
                <a:gd name="T2" fmla="*/ 0 w 83"/>
                <a:gd name="T3" fmla="*/ 42 h 84"/>
                <a:gd name="T4" fmla="*/ 42 w 83"/>
                <a:gd name="T5" fmla="*/ 84 h 84"/>
                <a:gd name="T6" fmla="*/ 83 w 83"/>
                <a:gd name="T7" fmla="*/ 42 h 84"/>
                <a:gd name="T8" fmla="*/ 42 w 83"/>
                <a:gd name="T9" fmla="*/ 0 h 84"/>
                <a:gd name="T10" fmla="*/ 42 w 83"/>
                <a:gd name="T11" fmla="*/ 72 h 84"/>
                <a:gd name="T12" fmla="*/ 12 w 83"/>
                <a:gd name="T13" fmla="*/ 42 h 84"/>
                <a:gd name="T14" fmla="*/ 42 w 83"/>
                <a:gd name="T15" fmla="*/ 13 h 84"/>
                <a:gd name="T16" fmla="*/ 71 w 83"/>
                <a:gd name="T17" fmla="*/ 42 h 84"/>
                <a:gd name="T18" fmla="*/ 42 w 83"/>
                <a:gd name="T19" fmla="*/ 7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3" h="84">
                  <a:moveTo>
                    <a:pt x="42" y="0"/>
                  </a:moveTo>
                  <a:cubicBezTo>
                    <a:pt x="18" y="0"/>
                    <a:pt x="0" y="19"/>
                    <a:pt x="0" y="42"/>
                  </a:cubicBezTo>
                  <a:cubicBezTo>
                    <a:pt x="0" y="65"/>
                    <a:pt x="18" y="84"/>
                    <a:pt x="42" y="84"/>
                  </a:cubicBezTo>
                  <a:cubicBezTo>
                    <a:pt x="65" y="84"/>
                    <a:pt x="83" y="65"/>
                    <a:pt x="83" y="42"/>
                  </a:cubicBezTo>
                  <a:cubicBezTo>
                    <a:pt x="83" y="19"/>
                    <a:pt x="65" y="0"/>
                    <a:pt x="42" y="0"/>
                  </a:cubicBezTo>
                  <a:close/>
                  <a:moveTo>
                    <a:pt x="42" y="72"/>
                  </a:moveTo>
                  <a:cubicBezTo>
                    <a:pt x="25" y="72"/>
                    <a:pt x="12" y="58"/>
                    <a:pt x="12" y="42"/>
                  </a:cubicBezTo>
                  <a:cubicBezTo>
                    <a:pt x="12" y="26"/>
                    <a:pt x="25" y="13"/>
                    <a:pt x="42" y="13"/>
                  </a:cubicBezTo>
                  <a:cubicBezTo>
                    <a:pt x="58" y="13"/>
                    <a:pt x="71" y="26"/>
                    <a:pt x="71" y="42"/>
                  </a:cubicBezTo>
                  <a:cubicBezTo>
                    <a:pt x="71" y="58"/>
                    <a:pt x="58" y="72"/>
                    <a:pt x="42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40" name="Oval 426"/>
            <p:cNvSpPr>
              <a:spLocks noChangeArrowheads="1"/>
            </p:cNvSpPr>
            <p:nvPr userDrawn="1"/>
          </p:nvSpPr>
          <p:spPr bwMode="auto">
            <a:xfrm>
              <a:off x="2736199" y="4258455"/>
              <a:ext cx="21645" cy="2066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41" name="Freeform 427"/>
            <p:cNvSpPr>
              <a:spLocks noEditPoints="1"/>
            </p:cNvSpPr>
            <p:nvPr userDrawn="1"/>
          </p:nvSpPr>
          <p:spPr bwMode="auto">
            <a:xfrm>
              <a:off x="2683071" y="4250585"/>
              <a:ext cx="37387" cy="36403"/>
            </a:xfrm>
            <a:custGeom>
              <a:avLst/>
              <a:gdLst>
                <a:gd name="T0" fmla="*/ 42 w 84"/>
                <a:gd name="T1" fmla="*/ 0 h 84"/>
                <a:gd name="T2" fmla="*/ 0 w 84"/>
                <a:gd name="T3" fmla="*/ 42 h 84"/>
                <a:gd name="T4" fmla="*/ 42 w 84"/>
                <a:gd name="T5" fmla="*/ 84 h 84"/>
                <a:gd name="T6" fmla="*/ 84 w 84"/>
                <a:gd name="T7" fmla="*/ 42 h 84"/>
                <a:gd name="T8" fmla="*/ 42 w 84"/>
                <a:gd name="T9" fmla="*/ 0 h 84"/>
                <a:gd name="T10" fmla="*/ 42 w 84"/>
                <a:gd name="T11" fmla="*/ 72 h 84"/>
                <a:gd name="T12" fmla="*/ 12 w 84"/>
                <a:gd name="T13" fmla="*/ 42 h 84"/>
                <a:gd name="T14" fmla="*/ 42 w 84"/>
                <a:gd name="T15" fmla="*/ 13 h 84"/>
                <a:gd name="T16" fmla="*/ 71 w 84"/>
                <a:gd name="T17" fmla="*/ 42 h 84"/>
                <a:gd name="T18" fmla="*/ 42 w 84"/>
                <a:gd name="T19" fmla="*/ 7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65"/>
                    <a:pt x="19" y="84"/>
                    <a:pt x="42" y="84"/>
                  </a:cubicBezTo>
                  <a:cubicBezTo>
                    <a:pt x="65" y="84"/>
                    <a:pt x="84" y="65"/>
                    <a:pt x="84" y="42"/>
                  </a:cubicBezTo>
                  <a:cubicBezTo>
                    <a:pt x="84" y="19"/>
                    <a:pt x="65" y="0"/>
                    <a:pt x="42" y="0"/>
                  </a:cubicBezTo>
                  <a:close/>
                  <a:moveTo>
                    <a:pt x="42" y="72"/>
                  </a:moveTo>
                  <a:cubicBezTo>
                    <a:pt x="25" y="72"/>
                    <a:pt x="12" y="58"/>
                    <a:pt x="12" y="42"/>
                  </a:cubicBezTo>
                  <a:cubicBezTo>
                    <a:pt x="12" y="26"/>
                    <a:pt x="25" y="13"/>
                    <a:pt x="42" y="13"/>
                  </a:cubicBezTo>
                  <a:cubicBezTo>
                    <a:pt x="58" y="13"/>
                    <a:pt x="71" y="26"/>
                    <a:pt x="71" y="42"/>
                  </a:cubicBezTo>
                  <a:cubicBezTo>
                    <a:pt x="71" y="58"/>
                    <a:pt x="58" y="72"/>
                    <a:pt x="42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42" name="Oval 428"/>
            <p:cNvSpPr>
              <a:spLocks noChangeArrowheads="1"/>
            </p:cNvSpPr>
            <p:nvPr userDrawn="1"/>
          </p:nvSpPr>
          <p:spPr bwMode="auto">
            <a:xfrm>
              <a:off x="2690942" y="4258455"/>
              <a:ext cx="21645" cy="2066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43" name="Freeform 429"/>
            <p:cNvSpPr>
              <a:spLocks noEditPoints="1"/>
            </p:cNvSpPr>
            <p:nvPr userDrawn="1"/>
          </p:nvSpPr>
          <p:spPr bwMode="auto">
            <a:xfrm>
              <a:off x="2638797" y="4250585"/>
              <a:ext cx="36403" cy="36403"/>
            </a:xfrm>
            <a:custGeom>
              <a:avLst/>
              <a:gdLst>
                <a:gd name="T0" fmla="*/ 42 w 84"/>
                <a:gd name="T1" fmla="*/ 0 h 84"/>
                <a:gd name="T2" fmla="*/ 0 w 84"/>
                <a:gd name="T3" fmla="*/ 42 h 84"/>
                <a:gd name="T4" fmla="*/ 42 w 84"/>
                <a:gd name="T5" fmla="*/ 84 h 84"/>
                <a:gd name="T6" fmla="*/ 84 w 84"/>
                <a:gd name="T7" fmla="*/ 42 h 84"/>
                <a:gd name="T8" fmla="*/ 42 w 84"/>
                <a:gd name="T9" fmla="*/ 0 h 84"/>
                <a:gd name="T10" fmla="*/ 42 w 84"/>
                <a:gd name="T11" fmla="*/ 72 h 84"/>
                <a:gd name="T12" fmla="*/ 12 w 84"/>
                <a:gd name="T13" fmla="*/ 42 h 84"/>
                <a:gd name="T14" fmla="*/ 42 w 84"/>
                <a:gd name="T15" fmla="*/ 13 h 84"/>
                <a:gd name="T16" fmla="*/ 72 w 84"/>
                <a:gd name="T17" fmla="*/ 42 h 84"/>
                <a:gd name="T18" fmla="*/ 42 w 84"/>
                <a:gd name="T19" fmla="*/ 7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65"/>
                    <a:pt x="19" y="84"/>
                    <a:pt x="42" y="84"/>
                  </a:cubicBezTo>
                  <a:cubicBezTo>
                    <a:pt x="65" y="84"/>
                    <a:pt x="84" y="65"/>
                    <a:pt x="84" y="42"/>
                  </a:cubicBezTo>
                  <a:cubicBezTo>
                    <a:pt x="84" y="19"/>
                    <a:pt x="65" y="0"/>
                    <a:pt x="42" y="0"/>
                  </a:cubicBezTo>
                  <a:close/>
                  <a:moveTo>
                    <a:pt x="42" y="72"/>
                  </a:moveTo>
                  <a:cubicBezTo>
                    <a:pt x="26" y="72"/>
                    <a:pt x="12" y="58"/>
                    <a:pt x="12" y="42"/>
                  </a:cubicBezTo>
                  <a:cubicBezTo>
                    <a:pt x="12" y="26"/>
                    <a:pt x="26" y="13"/>
                    <a:pt x="42" y="13"/>
                  </a:cubicBezTo>
                  <a:cubicBezTo>
                    <a:pt x="58" y="13"/>
                    <a:pt x="72" y="26"/>
                    <a:pt x="72" y="42"/>
                  </a:cubicBezTo>
                  <a:cubicBezTo>
                    <a:pt x="72" y="58"/>
                    <a:pt x="58" y="72"/>
                    <a:pt x="42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44" name="Oval 430"/>
            <p:cNvSpPr>
              <a:spLocks noChangeArrowheads="1"/>
            </p:cNvSpPr>
            <p:nvPr userDrawn="1"/>
          </p:nvSpPr>
          <p:spPr bwMode="auto">
            <a:xfrm>
              <a:off x="2646668" y="4258455"/>
              <a:ext cx="20661" cy="2066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45" name="Freeform 431"/>
            <p:cNvSpPr>
              <a:spLocks/>
            </p:cNvSpPr>
            <p:nvPr userDrawn="1"/>
          </p:nvSpPr>
          <p:spPr bwMode="auto">
            <a:xfrm>
              <a:off x="2661426" y="4109893"/>
              <a:ext cx="328608" cy="25580"/>
            </a:xfrm>
            <a:custGeom>
              <a:avLst/>
              <a:gdLst>
                <a:gd name="T0" fmla="*/ 733 w 752"/>
                <a:gd name="T1" fmla="*/ 43 h 58"/>
                <a:gd name="T2" fmla="*/ 710 w 752"/>
                <a:gd name="T3" fmla="*/ 22 h 58"/>
                <a:gd name="T4" fmla="*/ 698 w 752"/>
                <a:gd name="T5" fmla="*/ 26 h 58"/>
                <a:gd name="T6" fmla="*/ 698 w 752"/>
                <a:gd name="T7" fmla="*/ 22 h 58"/>
                <a:gd name="T8" fmla="*/ 676 w 752"/>
                <a:gd name="T9" fmla="*/ 0 h 58"/>
                <a:gd name="T10" fmla="*/ 660 w 752"/>
                <a:gd name="T11" fmla="*/ 6 h 58"/>
                <a:gd name="T12" fmla="*/ 643 w 752"/>
                <a:gd name="T13" fmla="*/ 0 h 58"/>
                <a:gd name="T14" fmla="*/ 627 w 752"/>
                <a:gd name="T15" fmla="*/ 6 h 58"/>
                <a:gd name="T16" fmla="*/ 611 w 752"/>
                <a:gd name="T17" fmla="*/ 0 h 58"/>
                <a:gd name="T18" fmla="*/ 595 w 752"/>
                <a:gd name="T19" fmla="*/ 6 h 58"/>
                <a:gd name="T20" fmla="*/ 579 w 752"/>
                <a:gd name="T21" fmla="*/ 0 h 58"/>
                <a:gd name="T22" fmla="*/ 563 w 752"/>
                <a:gd name="T23" fmla="*/ 6 h 58"/>
                <a:gd name="T24" fmla="*/ 547 w 752"/>
                <a:gd name="T25" fmla="*/ 0 h 58"/>
                <a:gd name="T26" fmla="*/ 531 w 752"/>
                <a:gd name="T27" fmla="*/ 6 h 58"/>
                <a:gd name="T28" fmla="*/ 515 w 752"/>
                <a:gd name="T29" fmla="*/ 0 h 58"/>
                <a:gd name="T30" fmla="*/ 498 w 752"/>
                <a:gd name="T31" fmla="*/ 6 h 58"/>
                <a:gd name="T32" fmla="*/ 482 w 752"/>
                <a:gd name="T33" fmla="*/ 0 h 58"/>
                <a:gd name="T34" fmla="*/ 466 w 752"/>
                <a:gd name="T35" fmla="*/ 6 h 58"/>
                <a:gd name="T36" fmla="*/ 450 w 752"/>
                <a:gd name="T37" fmla="*/ 0 h 58"/>
                <a:gd name="T38" fmla="*/ 434 w 752"/>
                <a:gd name="T39" fmla="*/ 6 h 58"/>
                <a:gd name="T40" fmla="*/ 418 w 752"/>
                <a:gd name="T41" fmla="*/ 0 h 58"/>
                <a:gd name="T42" fmla="*/ 402 w 752"/>
                <a:gd name="T43" fmla="*/ 6 h 58"/>
                <a:gd name="T44" fmla="*/ 386 w 752"/>
                <a:gd name="T45" fmla="*/ 0 h 58"/>
                <a:gd name="T46" fmla="*/ 369 w 752"/>
                <a:gd name="T47" fmla="*/ 6 h 58"/>
                <a:gd name="T48" fmla="*/ 353 w 752"/>
                <a:gd name="T49" fmla="*/ 0 h 58"/>
                <a:gd name="T50" fmla="*/ 337 w 752"/>
                <a:gd name="T51" fmla="*/ 6 h 58"/>
                <a:gd name="T52" fmla="*/ 321 w 752"/>
                <a:gd name="T53" fmla="*/ 0 h 58"/>
                <a:gd name="T54" fmla="*/ 305 w 752"/>
                <a:gd name="T55" fmla="*/ 6 h 58"/>
                <a:gd name="T56" fmla="*/ 289 w 752"/>
                <a:gd name="T57" fmla="*/ 0 h 58"/>
                <a:gd name="T58" fmla="*/ 273 w 752"/>
                <a:gd name="T59" fmla="*/ 6 h 58"/>
                <a:gd name="T60" fmla="*/ 257 w 752"/>
                <a:gd name="T61" fmla="*/ 0 h 58"/>
                <a:gd name="T62" fmla="*/ 240 w 752"/>
                <a:gd name="T63" fmla="*/ 6 h 58"/>
                <a:gd name="T64" fmla="*/ 224 w 752"/>
                <a:gd name="T65" fmla="*/ 0 h 58"/>
                <a:gd name="T66" fmla="*/ 208 w 752"/>
                <a:gd name="T67" fmla="*/ 6 h 58"/>
                <a:gd name="T68" fmla="*/ 192 w 752"/>
                <a:gd name="T69" fmla="*/ 0 h 58"/>
                <a:gd name="T70" fmla="*/ 176 w 752"/>
                <a:gd name="T71" fmla="*/ 6 h 58"/>
                <a:gd name="T72" fmla="*/ 160 w 752"/>
                <a:gd name="T73" fmla="*/ 0 h 58"/>
                <a:gd name="T74" fmla="*/ 144 w 752"/>
                <a:gd name="T75" fmla="*/ 6 h 58"/>
                <a:gd name="T76" fmla="*/ 128 w 752"/>
                <a:gd name="T77" fmla="*/ 0 h 58"/>
                <a:gd name="T78" fmla="*/ 111 w 752"/>
                <a:gd name="T79" fmla="*/ 6 h 58"/>
                <a:gd name="T80" fmla="*/ 95 w 752"/>
                <a:gd name="T81" fmla="*/ 0 h 58"/>
                <a:gd name="T82" fmla="*/ 79 w 752"/>
                <a:gd name="T83" fmla="*/ 6 h 58"/>
                <a:gd name="T84" fmla="*/ 63 w 752"/>
                <a:gd name="T85" fmla="*/ 0 h 58"/>
                <a:gd name="T86" fmla="*/ 40 w 752"/>
                <a:gd name="T87" fmla="*/ 22 h 58"/>
                <a:gd name="T88" fmla="*/ 40 w 752"/>
                <a:gd name="T89" fmla="*/ 24 h 58"/>
                <a:gd name="T90" fmla="*/ 33 w 752"/>
                <a:gd name="T91" fmla="*/ 22 h 58"/>
                <a:gd name="T92" fmla="*/ 10 w 752"/>
                <a:gd name="T93" fmla="*/ 45 h 58"/>
                <a:gd name="T94" fmla="*/ 10 w 752"/>
                <a:gd name="T95" fmla="*/ 46 h 58"/>
                <a:gd name="T96" fmla="*/ 0 w 752"/>
                <a:gd name="T97" fmla="*/ 58 h 58"/>
                <a:gd name="T98" fmla="*/ 752 w 752"/>
                <a:gd name="T99" fmla="*/ 58 h 58"/>
                <a:gd name="T100" fmla="*/ 733 w 752"/>
                <a:gd name="T101" fmla="*/ 43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752" h="58">
                  <a:moveTo>
                    <a:pt x="733" y="43"/>
                  </a:moveTo>
                  <a:cubicBezTo>
                    <a:pt x="732" y="32"/>
                    <a:pt x="722" y="22"/>
                    <a:pt x="710" y="22"/>
                  </a:cubicBezTo>
                  <a:cubicBezTo>
                    <a:pt x="706" y="22"/>
                    <a:pt x="702" y="24"/>
                    <a:pt x="698" y="26"/>
                  </a:cubicBezTo>
                  <a:cubicBezTo>
                    <a:pt x="698" y="25"/>
                    <a:pt x="698" y="23"/>
                    <a:pt x="698" y="22"/>
                  </a:cubicBezTo>
                  <a:cubicBezTo>
                    <a:pt x="698" y="10"/>
                    <a:pt x="688" y="0"/>
                    <a:pt x="676" y="0"/>
                  </a:cubicBezTo>
                  <a:cubicBezTo>
                    <a:pt x="669" y="0"/>
                    <a:pt x="664" y="2"/>
                    <a:pt x="660" y="6"/>
                  </a:cubicBezTo>
                  <a:cubicBezTo>
                    <a:pt x="655" y="2"/>
                    <a:pt x="650" y="0"/>
                    <a:pt x="643" y="0"/>
                  </a:cubicBezTo>
                  <a:cubicBezTo>
                    <a:pt x="637" y="0"/>
                    <a:pt x="631" y="2"/>
                    <a:pt x="627" y="6"/>
                  </a:cubicBezTo>
                  <a:cubicBezTo>
                    <a:pt x="623" y="2"/>
                    <a:pt x="618" y="0"/>
                    <a:pt x="611" y="0"/>
                  </a:cubicBezTo>
                  <a:cubicBezTo>
                    <a:pt x="605" y="0"/>
                    <a:pt x="599" y="2"/>
                    <a:pt x="595" y="6"/>
                  </a:cubicBezTo>
                  <a:cubicBezTo>
                    <a:pt x="591" y="2"/>
                    <a:pt x="585" y="0"/>
                    <a:pt x="579" y="0"/>
                  </a:cubicBezTo>
                  <a:cubicBezTo>
                    <a:pt x="573" y="0"/>
                    <a:pt x="567" y="2"/>
                    <a:pt x="563" y="6"/>
                  </a:cubicBezTo>
                  <a:cubicBezTo>
                    <a:pt x="559" y="2"/>
                    <a:pt x="553" y="0"/>
                    <a:pt x="547" y="0"/>
                  </a:cubicBezTo>
                  <a:cubicBezTo>
                    <a:pt x="540" y="0"/>
                    <a:pt x="535" y="2"/>
                    <a:pt x="531" y="6"/>
                  </a:cubicBezTo>
                  <a:cubicBezTo>
                    <a:pt x="527" y="2"/>
                    <a:pt x="521" y="0"/>
                    <a:pt x="515" y="0"/>
                  </a:cubicBezTo>
                  <a:cubicBezTo>
                    <a:pt x="508" y="0"/>
                    <a:pt x="503" y="2"/>
                    <a:pt x="498" y="6"/>
                  </a:cubicBezTo>
                  <a:cubicBezTo>
                    <a:pt x="494" y="2"/>
                    <a:pt x="489" y="0"/>
                    <a:pt x="482" y="0"/>
                  </a:cubicBezTo>
                  <a:cubicBezTo>
                    <a:pt x="476" y="0"/>
                    <a:pt x="470" y="2"/>
                    <a:pt x="466" y="6"/>
                  </a:cubicBezTo>
                  <a:cubicBezTo>
                    <a:pt x="462" y="2"/>
                    <a:pt x="456" y="0"/>
                    <a:pt x="450" y="0"/>
                  </a:cubicBezTo>
                  <a:cubicBezTo>
                    <a:pt x="444" y="0"/>
                    <a:pt x="438" y="2"/>
                    <a:pt x="434" y="6"/>
                  </a:cubicBezTo>
                  <a:cubicBezTo>
                    <a:pt x="430" y="2"/>
                    <a:pt x="424" y="0"/>
                    <a:pt x="418" y="0"/>
                  </a:cubicBezTo>
                  <a:cubicBezTo>
                    <a:pt x="411" y="0"/>
                    <a:pt x="406" y="2"/>
                    <a:pt x="402" y="6"/>
                  </a:cubicBezTo>
                  <a:cubicBezTo>
                    <a:pt x="398" y="2"/>
                    <a:pt x="392" y="0"/>
                    <a:pt x="386" y="0"/>
                  </a:cubicBezTo>
                  <a:cubicBezTo>
                    <a:pt x="379" y="0"/>
                    <a:pt x="374" y="2"/>
                    <a:pt x="369" y="6"/>
                  </a:cubicBezTo>
                  <a:cubicBezTo>
                    <a:pt x="365" y="2"/>
                    <a:pt x="360" y="0"/>
                    <a:pt x="353" y="0"/>
                  </a:cubicBezTo>
                  <a:cubicBezTo>
                    <a:pt x="347" y="0"/>
                    <a:pt x="341" y="2"/>
                    <a:pt x="337" y="6"/>
                  </a:cubicBezTo>
                  <a:cubicBezTo>
                    <a:pt x="333" y="2"/>
                    <a:pt x="327" y="0"/>
                    <a:pt x="321" y="0"/>
                  </a:cubicBezTo>
                  <a:cubicBezTo>
                    <a:pt x="315" y="0"/>
                    <a:pt x="309" y="2"/>
                    <a:pt x="305" y="6"/>
                  </a:cubicBezTo>
                  <a:cubicBezTo>
                    <a:pt x="301" y="2"/>
                    <a:pt x="295" y="0"/>
                    <a:pt x="289" y="0"/>
                  </a:cubicBezTo>
                  <a:cubicBezTo>
                    <a:pt x="283" y="0"/>
                    <a:pt x="277" y="2"/>
                    <a:pt x="273" y="6"/>
                  </a:cubicBezTo>
                  <a:cubicBezTo>
                    <a:pt x="269" y="2"/>
                    <a:pt x="263" y="0"/>
                    <a:pt x="257" y="0"/>
                  </a:cubicBezTo>
                  <a:cubicBezTo>
                    <a:pt x="250" y="0"/>
                    <a:pt x="245" y="2"/>
                    <a:pt x="240" y="6"/>
                  </a:cubicBezTo>
                  <a:cubicBezTo>
                    <a:pt x="236" y="2"/>
                    <a:pt x="231" y="0"/>
                    <a:pt x="224" y="0"/>
                  </a:cubicBezTo>
                  <a:cubicBezTo>
                    <a:pt x="218" y="0"/>
                    <a:pt x="212" y="2"/>
                    <a:pt x="208" y="6"/>
                  </a:cubicBezTo>
                  <a:cubicBezTo>
                    <a:pt x="204" y="2"/>
                    <a:pt x="198" y="0"/>
                    <a:pt x="192" y="0"/>
                  </a:cubicBezTo>
                  <a:cubicBezTo>
                    <a:pt x="186" y="0"/>
                    <a:pt x="180" y="2"/>
                    <a:pt x="176" y="6"/>
                  </a:cubicBezTo>
                  <a:cubicBezTo>
                    <a:pt x="172" y="2"/>
                    <a:pt x="166" y="0"/>
                    <a:pt x="160" y="0"/>
                  </a:cubicBezTo>
                  <a:cubicBezTo>
                    <a:pt x="154" y="0"/>
                    <a:pt x="148" y="2"/>
                    <a:pt x="144" y="6"/>
                  </a:cubicBezTo>
                  <a:cubicBezTo>
                    <a:pt x="140" y="2"/>
                    <a:pt x="134" y="0"/>
                    <a:pt x="128" y="0"/>
                  </a:cubicBezTo>
                  <a:cubicBezTo>
                    <a:pt x="121" y="0"/>
                    <a:pt x="116" y="2"/>
                    <a:pt x="111" y="6"/>
                  </a:cubicBezTo>
                  <a:cubicBezTo>
                    <a:pt x="107" y="2"/>
                    <a:pt x="102" y="0"/>
                    <a:pt x="95" y="0"/>
                  </a:cubicBezTo>
                  <a:cubicBezTo>
                    <a:pt x="89" y="0"/>
                    <a:pt x="83" y="2"/>
                    <a:pt x="79" y="6"/>
                  </a:cubicBezTo>
                  <a:cubicBezTo>
                    <a:pt x="75" y="2"/>
                    <a:pt x="69" y="0"/>
                    <a:pt x="63" y="0"/>
                  </a:cubicBezTo>
                  <a:cubicBezTo>
                    <a:pt x="51" y="0"/>
                    <a:pt x="40" y="10"/>
                    <a:pt x="40" y="22"/>
                  </a:cubicBezTo>
                  <a:cubicBezTo>
                    <a:pt x="40" y="23"/>
                    <a:pt x="40" y="23"/>
                    <a:pt x="40" y="24"/>
                  </a:cubicBezTo>
                  <a:cubicBezTo>
                    <a:pt x="38" y="23"/>
                    <a:pt x="35" y="22"/>
                    <a:pt x="33" y="22"/>
                  </a:cubicBezTo>
                  <a:cubicBezTo>
                    <a:pt x="20" y="22"/>
                    <a:pt x="10" y="33"/>
                    <a:pt x="10" y="45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6" y="49"/>
                    <a:pt x="2" y="53"/>
                    <a:pt x="0" y="58"/>
                  </a:cubicBezTo>
                  <a:cubicBezTo>
                    <a:pt x="752" y="58"/>
                    <a:pt x="752" y="58"/>
                    <a:pt x="752" y="58"/>
                  </a:cubicBezTo>
                  <a:cubicBezTo>
                    <a:pt x="749" y="50"/>
                    <a:pt x="741" y="44"/>
                    <a:pt x="733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46" name="Freeform 432"/>
            <p:cNvSpPr>
              <a:spLocks/>
            </p:cNvSpPr>
            <p:nvPr userDrawn="1"/>
          </p:nvSpPr>
          <p:spPr bwMode="auto">
            <a:xfrm>
              <a:off x="2597475" y="4213198"/>
              <a:ext cx="443720" cy="48209"/>
            </a:xfrm>
            <a:custGeom>
              <a:avLst/>
              <a:gdLst>
                <a:gd name="T0" fmla="*/ 996 w 1014"/>
                <a:gd name="T1" fmla="*/ 40 h 111"/>
                <a:gd name="T2" fmla="*/ 979 w 1014"/>
                <a:gd name="T3" fmla="*/ 57 h 111"/>
                <a:gd name="T4" fmla="*/ 951 w 1014"/>
                <a:gd name="T5" fmla="*/ 57 h 111"/>
                <a:gd name="T6" fmla="*/ 957 w 1014"/>
                <a:gd name="T7" fmla="*/ 31 h 111"/>
                <a:gd name="T8" fmla="*/ 929 w 1014"/>
                <a:gd name="T9" fmla="*/ 31 h 111"/>
                <a:gd name="T10" fmla="*/ 932 w 1014"/>
                <a:gd name="T11" fmla="*/ 21 h 111"/>
                <a:gd name="T12" fmla="*/ 911 w 1014"/>
                <a:gd name="T13" fmla="*/ 0 h 111"/>
                <a:gd name="T14" fmla="*/ 813 w 1014"/>
                <a:gd name="T15" fmla="*/ 0 h 111"/>
                <a:gd name="T16" fmla="*/ 792 w 1014"/>
                <a:gd name="T17" fmla="*/ 21 h 111"/>
                <a:gd name="T18" fmla="*/ 795 w 1014"/>
                <a:gd name="T19" fmla="*/ 31 h 111"/>
                <a:gd name="T20" fmla="*/ 764 w 1014"/>
                <a:gd name="T21" fmla="*/ 31 h 111"/>
                <a:gd name="T22" fmla="*/ 773 w 1014"/>
                <a:gd name="T23" fmla="*/ 21 h 111"/>
                <a:gd name="T24" fmla="*/ 233 w 1014"/>
                <a:gd name="T25" fmla="*/ 21 h 111"/>
                <a:gd name="T26" fmla="*/ 242 w 1014"/>
                <a:gd name="T27" fmla="*/ 31 h 111"/>
                <a:gd name="T28" fmla="*/ 211 w 1014"/>
                <a:gd name="T29" fmla="*/ 31 h 111"/>
                <a:gd name="T30" fmla="*/ 214 w 1014"/>
                <a:gd name="T31" fmla="*/ 21 h 111"/>
                <a:gd name="T32" fmla="*/ 193 w 1014"/>
                <a:gd name="T33" fmla="*/ 0 h 111"/>
                <a:gd name="T34" fmla="*/ 95 w 1014"/>
                <a:gd name="T35" fmla="*/ 0 h 111"/>
                <a:gd name="T36" fmla="*/ 75 w 1014"/>
                <a:gd name="T37" fmla="*/ 21 h 111"/>
                <a:gd name="T38" fmla="*/ 77 w 1014"/>
                <a:gd name="T39" fmla="*/ 31 h 111"/>
                <a:gd name="T40" fmla="*/ 49 w 1014"/>
                <a:gd name="T41" fmla="*/ 31 h 111"/>
                <a:gd name="T42" fmla="*/ 53 w 1014"/>
                <a:gd name="T43" fmla="*/ 48 h 111"/>
                <a:gd name="T44" fmla="*/ 36 w 1014"/>
                <a:gd name="T45" fmla="*/ 48 h 111"/>
                <a:gd name="T46" fmla="*/ 19 w 1014"/>
                <a:gd name="T47" fmla="*/ 28 h 111"/>
                <a:gd name="T48" fmla="*/ 0 w 1014"/>
                <a:gd name="T49" fmla="*/ 62 h 111"/>
                <a:gd name="T50" fmla="*/ 19 w 1014"/>
                <a:gd name="T51" fmla="*/ 95 h 111"/>
                <a:gd name="T52" fmla="*/ 36 w 1014"/>
                <a:gd name="T53" fmla="*/ 76 h 111"/>
                <a:gd name="T54" fmla="*/ 64 w 1014"/>
                <a:gd name="T55" fmla="*/ 76 h 111"/>
                <a:gd name="T56" fmla="*/ 87 w 1014"/>
                <a:gd name="T57" fmla="*/ 100 h 111"/>
                <a:gd name="T58" fmla="*/ 135 w 1014"/>
                <a:gd name="T59" fmla="*/ 72 h 111"/>
                <a:gd name="T60" fmla="*/ 186 w 1014"/>
                <a:gd name="T61" fmla="*/ 107 h 111"/>
                <a:gd name="T62" fmla="*/ 238 w 1014"/>
                <a:gd name="T63" fmla="*/ 72 h 111"/>
                <a:gd name="T64" fmla="*/ 289 w 1014"/>
                <a:gd name="T65" fmla="*/ 107 h 111"/>
                <a:gd name="T66" fmla="*/ 341 w 1014"/>
                <a:gd name="T67" fmla="*/ 72 h 111"/>
                <a:gd name="T68" fmla="*/ 391 w 1014"/>
                <a:gd name="T69" fmla="*/ 104 h 111"/>
                <a:gd name="T70" fmla="*/ 435 w 1014"/>
                <a:gd name="T71" fmla="*/ 71 h 111"/>
                <a:gd name="T72" fmla="*/ 503 w 1014"/>
                <a:gd name="T73" fmla="*/ 71 h 111"/>
                <a:gd name="T74" fmla="*/ 571 w 1014"/>
                <a:gd name="T75" fmla="*/ 71 h 111"/>
                <a:gd name="T76" fmla="*/ 587 w 1014"/>
                <a:gd name="T77" fmla="*/ 83 h 111"/>
                <a:gd name="T78" fmla="*/ 621 w 1014"/>
                <a:gd name="T79" fmla="*/ 72 h 111"/>
                <a:gd name="T80" fmla="*/ 672 w 1014"/>
                <a:gd name="T81" fmla="*/ 107 h 111"/>
                <a:gd name="T82" fmla="*/ 723 w 1014"/>
                <a:gd name="T83" fmla="*/ 72 h 111"/>
                <a:gd name="T84" fmla="*/ 775 w 1014"/>
                <a:gd name="T85" fmla="*/ 107 h 111"/>
                <a:gd name="T86" fmla="*/ 826 w 1014"/>
                <a:gd name="T87" fmla="*/ 72 h 111"/>
                <a:gd name="T88" fmla="*/ 879 w 1014"/>
                <a:gd name="T89" fmla="*/ 111 h 111"/>
                <a:gd name="T90" fmla="*/ 910 w 1014"/>
                <a:gd name="T91" fmla="*/ 111 h 111"/>
                <a:gd name="T92" fmla="*/ 934 w 1014"/>
                <a:gd name="T93" fmla="*/ 85 h 111"/>
                <a:gd name="T94" fmla="*/ 979 w 1014"/>
                <a:gd name="T95" fmla="*/ 85 h 111"/>
                <a:gd name="T96" fmla="*/ 996 w 1014"/>
                <a:gd name="T97" fmla="*/ 102 h 111"/>
                <a:gd name="T98" fmla="*/ 1014 w 1014"/>
                <a:gd name="T99" fmla="*/ 71 h 111"/>
                <a:gd name="T100" fmla="*/ 996 w 1014"/>
                <a:gd name="T101" fmla="*/ 4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014" h="111">
                  <a:moveTo>
                    <a:pt x="996" y="40"/>
                  </a:moveTo>
                  <a:cubicBezTo>
                    <a:pt x="988" y="40"/>
                    <a:pt x="982" y="47"/>
                    <a:pt x="979" y="57"/>
                  </a:cubicBezTo>
                  <a:cubicBezTo>
                    <a:pt x="951" y="57"/>
                    <a:pt x="951" y="57"/>
                    <a:pt x="951" y="57"/>
                  </a:cubicBezTo>
                  <a:cubicBezTo>
                    <a:pt x="953" y="48"/>
                    <a:pt x="955" y="39"/>
                    <a:pt x="957" y="31"/>
                  </a:cubicBezTo>
                  <a:cubicBezTo>
                    <a:pt x="929" y="31"/>
                    <a:pt x="929" y="31"/>
                    <a:pt x="929" y="31"/>
                  </a:cubicBezTo>
                  <a:cubicBezTo>
                    <a:pt x="931" y="28"/>
                    <a:pt x="932" y="25"/>
                    <a:pt x="932" y="21"/>
                  </a:cubicBezTo>
                  <a:cubicBezTo>
                    <a:pt x="932" y="10"/>
                    <a:pt x="922" y="0"/>
                    <a:pt x="911" y="0"/>
                  </a:cubicBezTo>
                  <a:cubicBezTo>
                    <a:pt x="813" y="0"/>
                    <a:pt x="813" y="0"/>
                    <a:pt x="813" y="0"/>
                  </a:cubicBezTo>
                  <a:cubicBezTo>
                    <a:pt x="802" y="0"/>
                    <a:pt x="792" y="10"/>
                    <a:pt x="792" y="21"/>
                  </a:cubicBezTo>
                  <a:cubicBezTo>
                    <a:pt x="792" y="25"/>
                    <a:pt x="793" y="28"/>
                    <a:pt x="795" y="31"/>
                  </a:cubicBezTo>
                  <a:cubicBezTo>
                    <a:pt x="764" y="31"/>
                    <a:pt x="764" y="31"/>
                    <a:pt x="764" y="31"/>
                  </a:cubicBezTo>
                  <a:cubicBezTo>
                    <a:pt x="773" y="21"/>
                    <a:pt x="773" y="21"/>
                    <a:pt x="773" y="21"/>
                  </a:cubicBezTo>
                  <a:cubicBezTo>
                    <a:pt x="233" y="21"/>
                    <a:pt x="233" y="21"/>
                    <a:pt x="233" y="21"/>
                  </a:cubicBezTo>
                  <a:cubicBezTo>
                    <a:pt x="242" y="31"/>
                    <a:pt x="242" y="31"/>
                    <a:pt x="242" y="31"/>
                  </a:cubicBezTo>
                  <a:cubicBezTo>
                    <a:pt x="211" y="31"/>
                    <a:pt x="211" y="31"/>
                    <a:pt x="211" y="31"/>
                  </a:cubicBezTo>
                  <a:cubicBezTo>
                    <a:pt x="213" y="28"/>
                    <a:pt x="214" y="25"/>
                    <a:pt x="214" y="21"/>
                  </a:cubicBezTo>
                  <a:cubicBezTo>
                    <a:pt x="214" y="10"/>
                    <a:pt x="204" y="0"/>
                    <a:pt x="193" y="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84" y="0"/>
                    <a:pt x="75" y="10"/>
                    <a:pt x="75" y="21"/>
                  </a:cubicBezTo>
                  <a:cubicBezTo>
                    <a:pt x="75" y="25"/>
                    <a:pt x="76" y="28"/>
                    <a:pt x="77" y="31"/>
                  </a:cubicBezTo>
                  <a:cubicBezTo>
                    <a:pt x="49" y="31"/>
                    <a:pt x="49" y="31"/>
                    <a:pt x="49" y="31"/>
                  </a:cubicBezTo>
                  <a:cubicBezTo>
                    <a:pt x="50" y="36"/>
                    <a:pt x="51" y="42"/>
                    <a:pt x="53" y="48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3" y="36"/>
                    <a:pt x="26" y="28"/>
                    <a:pt x="19" y="28"/>
                  </a:cubicBezTo>
                  <a:cubicBezTo>
                    <a:pt x="8" y="28"/>
                    <a:pt x="0" y="43"/>
                    <a:pt x="0" y="62"/>
                  </a:cubicBezTo>
                  <a:cubicBezTo>
                    <a:pt x="0" y="80"/>
                    <a:pt x="8" y="95"/>
                    <a:pt x="19" y="95"/>
                  </a:cubicBezTo>
                  <a:cubicBezTo>
                    <a:pt x="26" y="95"/>
                    <a:pt x="33" y="87"/>
                    <a:pt x="36" y="76"/>
                  </a:cubicBezTo>
                  <a:cubicBezTo>
                    <a:pt x="64" y="76"/>
                    <a:pt x="64" y="76"/>
                    <a:pt x="64" y="76"/>
                  </a:cubicBezTo>
                  <a:cubicBezTo>
                    <a:pt x="87" y="100"/>
                    <a:pt x="87" y="100"/>
                    <a:pt x="87" y="100"/>
                  </a:cubicBezTo>
                  <a:cubicBezTo>
                    <a:pt x="96" y="83"/>
                    <a:pt x="114" y="72"/>
                    <a:pt x="135" y="72"/>
                  </a:cubicBezTo>
                  <a:cubicBezTo>
                    <a:pt x="158" y="72"/>
                    <a:pt x="178" y="86"/>
                    <a:pt x="186" y="107"/>
                  </a:cubicBezTo>
                  <a:cubicBezTo>
                    <a:pt x="194" y="86"/>
                    <a:pt x="214" y="72"/>
                    <a:pt x="238" y="72"/>
                  </a:cubicBezTo>
                  <a:cubicBezTo>
                    <a:pt x="261" y="72"/>
                    <a:pt x="281" y="86"/>
                    <a:pt x="289" y="107"/>
                  </a:cubicBezTo>
                  <a:cubicBezTo>
                    <a:pt x="297" y="86"/>
                    <a:pt x="317" y="72"/>
                    <a:pt x="341" y="72"/>
                  </a:cubicBezTo>
                  <a:cubicBezTo>
                    <a:pt x="363" y="72"/>
                    <a:pt x="382" y="85"/>
                    <a:pt x="391" y="104"/>
                  </a:cubicBezTo>
                  <a:cubicBezTo>
                    <a:pt x="435" y="71"/>
                    <a:pt x="435" y="71"/>
                    <a:pt x="435" y="71"/>
                  </a:cubicBezTo>
                  <a:cubicBezTo>
                    <a:pt x="503" y="71"/>
                    <a:pt x="503" y="71"/>
                    <a:pt x="503" y="71"/>
                  </a:cubicBezTo>
                  <a:cubicBezTo>
                    <a:pt x="571" y="71"/>
                    <a:pt x="571" y="71"/>
                    <a:pt x="571" y="71"/>
                  </a:cubicBezTo>
                  <a:cubicBezTo>
                    <a:pt x="587" y="83"/>
                    <a:pt x="587" y="83"/>
                    <a:pt x="587" y="83"/>
                  </a:cubicBezTo>
                  <a:cubicBezTo>
                    <a:pt x="597" y="76"/>
                    <a:pt x="608" y="72"/>
                    <a:pt x="621" y="72"/>
                  </a:cubicBezTo>
                  <a:cubicBezTo>
                    <a:pt x="644" y="72"/>
                    <a:pt x="664" y="86"/>
                    <a:pt x="672" y="107"/>
                  </a:cubicBezTo>
                  <a:cubicBezTo>
                    <a:pt x="680" y="86"/>
                    <a:pt x="700" y="72"/>
                    <a:pt x="723" y="72"/>
                  </a:cubicBezTo>
                  <a:cubicBezTo>
                    <a:pt x="747" y="72"/>
                    <a:pt x="767" y="86"/>
                    <a:pt x="775" y="107"/>
                  </a:cubicBezTo>
                  <a:cubicBezTo>
                    <a:pt x="783" y="86"/>
                    <a:pt x="803" y="72"/>
                    <a:pt x="826" y="72"/>
                  </a:cubicBezTo>
                  <a:cubicBezTo>
                    <a:pt x="851" y="72"/>
                    <a:pt x="872" y="88"/>
                    <a:pt x="879" y="111"/>
                  </a:cubicBezTo>
                  <a:cubicBezTo>
                    <a:pt x="910" y="111"/>
                    <a:pt x="910" y="111"/>
                    <a:pt x="910" y="111"/>
                  </a:cubicBezTo>
                  <a:cubicBezTo>
                    <a:pt x="934" y="85"/>
                    <a:pt x="934" y="85"/>
                    <a:pt x="934" y="85"/>
                  </a:cubicBezTo>
                  <a:cubicBezTo>
                    <a:pt x="979" y="85"/>
                    <a:pt x="979" y="85"/>
                    <a:pt x="979" y="85"/>
                  </a:cubicBezTo>
                  <a:cubicBezTo>
                    <a:pt x="982" y="95"/>
                    <a:pt x="988" y="102"/>
                    <a:pt x="996" y="102"/>
                  </a:cubicBezTo>
                  <a:cubicBezTo>
                    <a:pt x="1006" y="102"/>
                    <a:pt x="1014" y="88"/>
                    <a:pt x="1014" y="71"/>
                  </a:cubicBezTo>
                  <a:cubicBezTo>
                    <a:pt x="1014" y="54"/>
                    <a:pt x="1006" y="40"/>
                    <a:pt x="996" y="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47" name="Freeform 433"/>
            <p:cNvSpPr>
              <a:spLocks/>
            </p:cNvSpPr>
            <p:nvPr userDrawn="1"/>
          </p:nvSpPr>
          <p:spPr bwMode="auto">
            <a:xfrm>
              <a:off x="2629943" y="4138425"/>
              <a:ext cx="375834" cy="77725"/>
            </a:xfrm>
            <a:custGeom>
              <a:avLst/>
              <a:gdLst>
                <a:gd name="T0" fmla="*/ 65 w 382"/>
                <a:gd name="T1" fmla="*/ 79 h 79"/>
                <a:gd name="T2" fmla="*/ 65 w 382"/>
                <a:gd name="T3" fmla="*/ 79 h 79"/>
                <a:gd name="T4" fmla="*/ 316 w 382"/>
                <a:gd name="T5" fmla="*/ 79 h 79"/>
                <a:gd name="T6" fmla="*/ 382 w 382"/>
                <a:gd name="T7" fmla="*/ 9 h 79"/>
                <a:gd name="T8" fmla="*/ 382 w 382"/>
                <a:gd name="T9" fmla="*/ 0 h 79"/>
                <a:gd name="T10" fmla="*/ 191 w 382"/>
                <a:gd name="T11" fmla="*/ 0 h 79"/>
                <a:gd name="T12" fmla="*/ 0 w 382"/>
                <a:gd name="T13" fmla="*/ 0 h 79"/>
                <a:gd name="T14" fmla="*/ 1 w 382"/>
                <a:gd name="T15" fmla="*/ 9 h 79"/>
                <a:gd name="T16" fmla="*/ 65 w 382"/>
                <a:gd name="T17" fmla="*/ 7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2" h="79">
                  <a:moveTo>
                    <a:pt x="65" y="79"/>
                  </a:moveTo>
                  <a:lnTo>
                    <a:pt x="65" y="79"/>
                  </a:lnTo>
                  <a:lnTo>
                    <a:pt x="316" y="79"/>
                  </a:lnTo>
                  <a:lnTo>
                    <a:pt x="382" y="9"/>
                  </a:lnTo>
                  <a:lnTo>
                    <a:pt x="382" y="0"/>
                  </a:lnTo>
                  <a:lnTo>
                    <a:pt x="191" y="0"/>
                  </a:lnTo>
                  <a:lnTo>
                    <a:pt x="0" y="0"/>
                  </a:lnTo>
                  <a:lnTo>
                    <a:pt x="1" y="9"/>
                  </a:lnTo>
                  <a:lnTo>
                    <a:pt x="65" y="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48" name="Freeform 434"/>
            <p:cNvSpPr>
              <a:spLocks noEditPoints="1"/>
            </p:cNvSpPr>
            <p:nvPr userDrawn="1"/>
          </p:nvSpPr>
          <p:spPr bwMode="auto">
            <a:xfrm>
              <a:off x="3388497" y="4250585"/>
              <a:ext cx="36403" cy="36403"/>
            </a:xfrm>
            <a:custGeom>
              <a:avLst/>
              <a:gdLst>
                <a:gd name="T0" fmla="*/ 42 w 83"/>
                <a:gd name="T1" fmla="*/ 0 h 84"/>
                <a:gd name="T2" fmla="*/ 0 w 83"/>
                <a:gd name="T3" fmla="*/ 42 h 84"/>
                <a:gd name="T4" fmla="*/ 42 w 83"/>
                <a:gd name="T5" fmla="*/ 84 h 84"/>
                <a:gd name="T6" fmla="*/ 83 w 83"/>
                <a:gd name="T7" fmla="*/ 42 h 84"/>
                <a:gd name="T8" fmla="*/ 42 w 83"/>
                <a:gd name="T9" fmla="*/ 0 h 84"/>
                <a:gd name="T10" fmla="*/ 42 w 83"/>
                <a:gd name="T11" fmla="*/ 72 h 84"/>
                <a:gd name="T12" fmla="*/ 12 w 83"/>
                <a:gd name="T13" fmla="*/ 42 h 84"/>
                <a:gd name="T14" fmla="*/ 42 w 83"/>
                <a:gd name="T15" fmla="*/ 13 h 84"/>
                <a:gd name="T16" fmla="*/ 71 w 83"/>
                <a:gd name="T17" fmla="*/ 42 h 84"/>
                <a:gd name="T18" fmla="*/ 42 w 83"/>
                <a:gd name="T19" fmla="*/ 7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3" h="84">
                  <a:moveTo>
                    <a:pt x="42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65"/>
                    <a:pt x="19" y="84"/>
                    <a:pt x="42" y="84"/>
                  </a:cubicBezTo>
                  <a:cubicBezTo>
                    <a:pt x="65" y="84"/>
                    <a:pt x="83" y="65"/>
                    <a:pt x="83" y="42"/>
                  </a:cubicBezTo>
                  <a:cubicBezTo>
                    <a:pt x="83" y="19"/>
                    <a:pt x="65" y="0"/>
                    <a:pt x="42" y="0"/>
                  </a:cubicBezTo>
                  <a:close/>
                  <a:moveTo>
                    <a:pt x="42" y="72"/>
                  </a:moveTo>
                  <a:cubicBezTo>
                    <a:pt x="25" y="72"/>
                    <a:pt x="12" y="58"/>
                    <a:pt x="12" y="42"/>
                  </a:cubicBezTo>
                  <a:cubicBezTo>
                    <a:pt x="12" y="26"/>
                    <a:pt x="25" y="13"/>
                    <a:pt x="42" y="13"/>
                  </a:cubicBezTo>
                  <a:cubicBezTo>
                    <a:pt x="58" y="13"/>
                    <a:pt x="71" y="26"/>
                    <a:pt x="71" y="42"/>
                  </a:cubicBezTo>
                  <a:cubicBezTo>
                    <a:pt x="71" y="58"/>
                    <a:pt x="58" y="72"/>
                    <a:pt x="42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49" name="Oval 435"/>
            <p:cNvSpPr>
              <a:spLocks noChangeArrowheads="1"/>
            </p:cNvSpPr>
            <p:nvPr userDrawn="1"/>
          </p:nvSpPr>
          <p:spPr bwMode="auto">
            <a:xfrm>
              <a:off x="3396368" y="4258455"/>
              <a:ext cx="21645" cy="2066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50" name="Freeform 436"/>
            <p:cNvSpPr>
              <a:spLocks noEditPoints="1"/>
            </p:cNvSpPr>
            <p:nvPr userDrawn="1"/>
          </p:nvSpPr>
          <p:spPr bwMode="auto">
            <a:xfrm>
              <a:off x="3344223" y="4250585"/>
              <a:ext cx="36403" cy="36403"/>
            </a:xfrm>
            <a:custGeom>
              <a:avLst/>
              <a:gdLst>
                <a:gd name="T0" fmla="*/ 42 w 84"/>
                <a:gd name="T1" fmla="*/ 0 h 84"/>
                <a:gd name="T2" fmla="*/ 0 w 84"/>
                <a:gd name="T3" fmla="*/ 42 h 84"/>
                <a:gd name="T4" fmla="*/ 42 w 84"/>
                <a:gd name="T5" fmla="*/ 84 h 84"/>
                <a:gd name="T6" fmla="*/ 84 w 84"/>
                <a:gd name="T7" fmla="*/ 42 h 84"/>
                <a:gd name="T8" fmla="*/ 42 w 84"/>
                <a:gd name="T9" fmla="*/ 0 h 84"/>
                <a:gd name="T10" fmla="*/ 42 w 84"/>
                <a:gd name="T11" fmla="*/ 72 h 84"/>
                <a:gd name="T12" fmla="*/ 12 w 84"/>
                <a:gd name="T13" fmla="*/ 42 h 84"/>
                <a:gd name="T14" fmla="*/ 42 w 84"/>
                <a:gd name="T15" fmla="*/ 13 h 84"/>
                <a:gd name="T16" fmla="*/ 71 w 84"/>
                <a:gd name="T17" fmla="*/ 42 h 84"/>
                <a:gd name="T18" fmla="*/ 42 w 84"/>
                <a:gd name="T19" fmla="*/ 7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65"/>
                    <a:pt x="19" y="84"/>
                    <a:pt x="42" y="84"/>
                  </a:cubicBezTo>
                  <a:cubicBezTo>
                    <a:pt x="65" y="84"/>
                    <a:pt x="84" y="65"/>
                    <a:pt x="84" y="42"/>
                  </a:cubicBezTo>
                  <a:cubicBezTo>
                    <a:pt x="84" y="19"/>
                    <a:pt x="65" y="0"/>
                    <a:pt x="42" y="0"/>
                  </a:cubicBezTo>
                  <a:close/>
                  <a:moveTo>
                    <a:pt x="42" y="72"/>
                  </a:moveTo>
                  <a:cubicBezTo>
                    <a:pt x="26" y="72"/>
                    <a:pt x="12" y="58"/>
                    <a:pt x="12" y="42"/>
                  </a:cubicBezTo>
                  <a:cubicBezTo>
                    <a:pt x="12" y="26"/>
                    <a:pt x="26" y="13"/>
                    <a:pt x="42" y="13"/>
                  </a:cubicBezTo>
                  <a:cubicBezTo>
                    <a:pt x="58" y="13"/>
                    <a:pt x="71" y="26"/>
                    <a:pt x="71" y="42"/>
                  </a:cubicBezTo>
                  <a:cubicBezTo>
                    <a:pt x="71" y="58"/>
                    <a:pt x="58" y="72"/>
                    <a:pt x="42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51" name="Oval 437"/>
            <p:cNvSpPr>
              <a:spLocks noChangeArrowheads="1"/>
            </p:cNvSpPr>
            <p:nvPr userDrawn="1"/>
          </p:nvSpPr>
          <p:spPr bwMode="auto">
            <a:xfrm>
              <a:off x="3352094" y="4258455"/>
              <a:ext cx="20661" cy="2066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52" name="Freeform 438"/>
            <p:cNvSpPr>
              <a:spLocks noEditPoints="1"/>
            </p:cNvSpPr>
            <p:nvPr userDrawn="1"/>
          </p:nvSpPr>
          <p:spPr bwMode="auto">
            <a:xfrm>
              <a:off x="3298966" y="4250585"/>
              <a:ext cx="36403" cy="36403"/>
            </a:xfrm>
            <a:custGeom>
              <a:avLst/>
              <a:gdLst>
                <a:gd name="T0" fmla="*/ 42 w 84"/>
                <a:gd name="T1" fmla="*/ 0 h 84"/>
                <a:gd name="T2" fmla="*/ 0 w 84"/>
                <a:gd name="T3" fmla="*/ 42 h 84"/>
                <a:gd name="T4" fmla="*/ 42 w 84"/>
                <a:gd name="T5" fmla="*/ 84 h 84"/>
                <a:gd name="T6" fmla="*/ 84 w 84"/>
                <a:gd name="T7" fmla="*/ 42 h 84"/>
                <a:gd name="T8" fmla="*/ 42 w 84"/>
                <a:gd name="T9" fmla="*/ 0 h 84"/>
                <a:gd name="T10" fmla="*/ 42 w 84"/>
                <a:gd name="T11" fmla="*/ 72 h 84"/>
                <a:gd name="T12" fmla="*/ 13 w 84"/>
                <a:gd name="T13" fmla="*/ 42 h 84"/>
                <a:gd name="T14" fmla="*/ 42 w 84"/>
                <a:gd name="T15" fmla="*/ 13 h 84"/>
                <a:gd name="T16" fmla="*/ 72 w 84"/>
                <a:gd name="T17" fmla="*/ 42 h 84"/>
                <a:gd name="T18" fmla="*/ 42 w 84"/>
                <a:gd name="T19" fmla="*/ 7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65"/>
                    <a:pt x="19" y="84"/>
                    <a:pt x="42" y="84"/>
                  </a:cubicBezTo>
                  <a:cubicBezTo>
                    <a:pt x="65" y="84"/>
                    <a:pt x="84" y="65"/>
                    <a:pt x="84" y="42"/>
                  </a:cubicBezTo>
                  <a:cubicBezTo>
                    <a:pt x="84" y="19"/>
                    <a:pt x="65" y="0"/>
                    <a:pt x="42" y="0"/>
                  </a:cubicBezTo>
                  <a:close/>
                  <a:moveTo>
                    <a:pt x="42" y="72"/>
                  </a:moveTo>
                  <a:cubicBezTo>
                    <a:pt x="26" y="72"/>
                    <a:pt x="13" y="58"/>
                    <a:pt x="13" y="42"/>
                  </a:cubicBezTo>
                  <a:cubicBezTo>
                    <a:pt x="13" y="26"/>
                    <a:pt x="26" y="13"/>
                    <a:pt x="42" y="13"/>
                  </a:cubicBezTo>
                  <a:cubicBezTo>
                    <a:pt x="58" y="13"/>
                    <a:pt x="72" y="26"/>
                    <a:pt x="72" y="42"/>
                  </a:cubicBezTo>
                  <a:cubicBezTo>
                    <a:pt x="72" y="58"/>
                    <a:pt x="58" y="72"/>
                    <a:pt x="42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53" name="Oval 439"/>
            <p:cNvSpPr>
              <a:spLocks noChangeArrowheads="1"/>
            </p:cNvSpPr>
            <p:nvPr userDrawn="1"/>
          </p:nvSpPr>
          <p:spPr bwMode="auto">
            <a:xfrm>
              <a:off x="3306837" y="4258455"/>
              <a:ext cx="20661" cy="2066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54" name="Freeform 440"/>
            <p:cNvSpPr>
              <a:spLocks noEditPoints="1"/>
            </p:cNvSpPr>
            <p:nvPr userDrawn="1"/>
          </p:nvSpPr>
          <p:spPr bwMode="auto">
            <a:xfrm>
              <a:off x="3175984" y="4250585"/>
              <a:ext cx="37387" cy="36403"/>
            </a:xfrm>
            <a:custGeom>
              <a:avLst/>
              <a:gdLst>
                <a:gd name="T0" fmla="*/ 42 w 84"/>
                <a:gd name="T1" fmla="*/ 0 h 84"/>
                <a:gd name="T2" fmla="*/ 0 w 84"/>
                <a:gd name="T3" fmla="*/ 42 h 84"/>
                <a:gd name="T4" fmla="*/ 42 w 84"/>
                <a:gd name="T5" fmla="*/ 84 h 84"/>
                <a:gd name="T6" fmla="*/ 84 w 84"/>
                <a:gd name="T7" fmla="*/ 42 h 84"/>
                <a:gd name="T8" fmla="*/ 42 w 84"/>
                <a:gd name="T9" fmla="*/ 0 h 84"/>
                <a:gd name="T10" fmla="*/ 42 w 84"/>
                <a:gd name="T11" fmla="*/ 72 h 84"/>
                <a:gd name="T12" fmla="*/ 12 w 84"/>
                <a:gd name="T13" fmla="*/ 42 h 84"/>
                <a:gd name="T14" fmla="*/ 42 w 84"/>
                <a:gd name="T15" fmla="*/ 13 h 84"/>
                <a:gd name="T16" fmla="*/ 72 w 84"/>
                <a:gd name="T17" fmla="*/ 42 h 84"/>
                <a:gd name="T18" fmla="*/ 42 w 84"/>
                <a:gd name="T19" fmla="*/ 7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65"/>
                    <a:pt x="19" y="84"/>
                    <a:pt x="42" y="84"/>
                  </a:cubicBezTo>
                  <a:cubicBezTo>
                    <a:pt x="65" y="84"/>
                    <a:pt x="84" y="65"/>
                    <a:pt x="84" y="42"/>
                  </a:cubicBezTo>
                  <a:cubicBezTo>
                    <a:pt x="84" y="19"/>
                    <a:pt x="65" y="0"/>
                    <a:pt x="42" y="0"/>
                  </a:cubicBezTo>
                  <a:close/>
                  <a:moveTo>
                    <a:pt x="42" y="72"/>
                  </a:moveTo>
                  <a:cubicBezTo>
                    <a:pt x="26" y="72"/>
                    <a:pt x="12" y="58"/>
                    <a:pt x="12" y="42"/>
                  </a:cubicBezTo>
                  <a:cubicBezTo>
                    <a:pt x="12" y="26"/>
                    <a:pt x="26" y="13"/>
                    <a:pt x="42" y="13"/>
                  </a:cubicBezTo>
                  <a:cubicBezTo>
                    <a:pt x="58" y="13"/>
                    <a:pt x="72" y="26"/>
                    <a:pt x="72" y="42"/>
                  </a:cubicBezTo>
                  <a:cubicBezTo>
                    <a:pt x="72" y="58"/>
                    <a:pt x="58" y="72"/>
                    <a:pt x="42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55" name="Oval 441"/>
            <p:cNvSpPr>
              <a:spLocks noChangeArrowheads="1"/>
            </p:cNvSpPr>
            <p:nvPr userDrawn="1"/>
          </p:nvSpPr>
          <p:spPr bwMode="auto">
            <a:xfrm>
              <a:off x="3183854" y="4258455"/>
              <a:ext cx="21645" cy="2066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56" name="Freeform 442"/>
            <p:cNvSpPr>
              <a:spLocks noEditPoints="1"/>
            </p:cNvSpPr>
            <p:nvPr userDrawn="1"/>
          </p:nvSpPr>
          <p:spPr bwMode="auto">
            <a:xfrm>
              <a:off x="3131710" y="4250585"/>
              <a:ext cx="36403" cy="36403"/>
            </a:xfrm>
            <a:custGeom>
              <a:avLst/>
              <a:gdLst>
                <a:gd name="T0" fmla="*/ 42 w 84"/>
                <a:gd name="T1" fmla="*/ 0 h 84"/>
                <a:gd name="T2" fmla="*/ 0 w 84"/>
                <a:gd name="T3" fmla="*/ 42 h 84"/>
                <a:gd name="T4" fmla="*/ 42 w 84"/>
                <a:gd name="T5" fmla="*/ 84 h 84"/>
                <a:gd name="T6" fmla="*/ 84 w 84"/>
                <a:gd name="T7" fmla="*/ 42 h 84"/>
                <a:gd name="T8" fmla="*/ 42 w 84"/>
                <a:gd name="T9" fmla="*/ 0 h 84"/>
                <a:gd name="T10" fmla="*/ 42 w 84"/>
                <a:gd name="T11" fmla="*/ 72 h 84"/>
                <a:gd name="T12" fmla="*/ 13 w 84"/>
                <a:gd name="T13" fmla="*/ 42 h 84"/>
                <a:gd name="T14" fmla="*/ 42 w 84"/>
                <a:gd name="T15" fmla="*/ 13 h 84"/>
                <a:gd name="T16" fmla="*/ 72 w 84"/>
                <a:gd name="T17" fmla="*/ 42 h 84"/>
                <a:gd name="T18" fmla="*/ 42 w 84"/>
                <a:gd name="T19" fmla="*/ 7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65"/>
                    <a:pt x="19" y="84"/>
                    <a:pt x="42" y="84"/>
                  </a:cubicBezTo>
                  <a:cubicBezTo>
                    <a:pt x="65" y="84"/>
                    <a:pt x="84" y="65"/>
                    <a:pt x="84" y="42"/>
                  </a:cubicBezTo>
                  <a:cubicBezTo>
                    <a:pt x="84" y="19"/>
                    <a:pt x="65" y="0"/>
                    <a:pt x="42" y="0"/>
                  </a:cubicBezTo>
                  <a:close/>
                  <a:moveTo>
                    <a:pt x="42" y="72"/>
                  </a:moveTo>
                  <a:cubicBezTo>
                    <a:pt x="26" y="72"/>
                    <a:pt x="13" y="58"/>
                    <a:pt x="13" y="42"/>
                  </a:cubicBezTo>
                  <a:cubicBezTo>
                    <a:pt x="13" y="26"/>
                    <a:pt x="26" y="13"/>
                    <a:pt x="42" y="13"/>
                  </a:cubicBezTo>
                  <a:cubicBezTo>
                    <a:pt x="59" y="13"/>
                    <a:pt x="72" y="26"/>
                    <a:pt x="72" y="42"/>
                  </a:cubicBezTo>
                  <a:cubicBezTo>
                    <a:pt x="72" y="58"/>
                    <a:pt x="59" y="72"/>
                    <a:pt x="42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57" name="Oval 443"/>
            <p:cNvSpPr>
              <a:spLocks noChangeArrowheads="1"/>
            </p:cNvSpPr>
            <p:nvPr userDrawn="1"/>
          </p:nvSpPr>
          <p:spPr bwMode="auto">
            <a:xfrm>
              <a:off x="3139581" y="4258455"/>
              <a:ext cx="20661" cy="2066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58" name="Freeform 444"/>
            <p:cNvSpPr>
              <a:spLocks noEditPoints="1"/>
            </p:cNvSpPr>
            <p:nvPr userDrawn="1"/>
          </p:nvSpPr>
          <p:spPr bwMode="auto">
            <a:xfrm>
              <a:off x="3086453" y="4250585"/>
              <a:ext cx="36403" cy="36403"/>
            </a:xfrm>
            <a:custGeom>
              <a:avLst/>
              <a:gdLst>
                <a:gd name="T0" fmla="*/ 41 w 83"/>
                <a:gd name="T1" fmla="*/ 0 h 84"/>
                <a:gd name="T2" fmla="*/ 0 w 83"/>
                <a:gd name="T3" fmla="*/ 42 h 84"/>
                <a:gd name="T4" fmla="*/ 41 w 83"/>
                <a:gd name="T5" fmla="*/ 84 h 84"/>
                <a:gd name="T6" fmla="*/ 83 w 83"/>
                <a:gd name="T7" fmla="*/ 42 h 84"/>
                <a:gd name="T8" fmla="*/ 41 w 83"/>
                <a:gd name="T9" fmla="*/ 0 h 84"/>
                <a:gd name="T10" fmla="*/ 41 w 83"/>
                <a:gd name="T11" fmla="*/ 72 h 84"/>
                <a:gd name="T12" fmla="*/ 12 w 83"/>
                <a:gd name="T13" fmla="*/ 42 h 84"/>
                <a:gd name="T14" fmla="*/ 41 w 83"/>
                <a:gd name="T15" fmla="*/ 13 h 84"/>
                <a:gd name="T16" fmla="*/ 71 w 83"/>
                <a:gd name="T17" fmla="*/ 42 h 84"/>
                <a:gd name="T18" fmla="*/ 41 w 83"/>
                <a:gd name="T19" fmla="*/ 7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3" h="84">
                  <a:moveTo>
                    <a:pt x="41" y="0"/>
                  </a:moveTo>
                  <a:cubicBezTo>
                    <a:pt x="18" y="0"/>
                    <a:pt x="0" y="19"/>
                    <a:pt x="0" y="42"/>
                  </a:cubicBezTo>
                  <a:cubicBezTo>
                    <a:pt x="0" y="65"/>
                    <a:pt x="18" y="84"/>
                    <a:pt x="41" y="84"/>
                  </a:cubicBezTo>
                  <a:cubicBezTo>
                    <a:pt x="65" y="84"/>
                    <a:pt x="83" y="65"/>
                    <a:pt x="83" y="42"/>
                  </a:cubicBezTo>
                  <a:cubicBezTo>
                    <a:pt x="83" y="19"/>
                    <a:pt x="65" y="0"/>
                    <a:pt x="41" y="0"/>
                  </a:cubicBezTo>
                  <a:close/>
                  <a:moveTo>
                    <a:pt x="41" y="72"/>
                  </a:moveTo>
                  <a:cubicBezTo>
                    <a:pt x="25" y="72"/>
                    <a:pt x="12" y="58"/>
                    <a:pt x="12" y="42"/>
                  </a:cubicBezTo>
                  <a:cubicBezTo>
                    <a:pt x="12" y="26"/>
                    <a:pt x="25" y="13"/>
                    <a:pt x="41" y="13"/>
                  </a:cubicBezTo>
                  <a:cubicBezTo>
                    <a:pt x="58" y="13"/>
                    <a:pt x="71" y="26"/>
                    <a:pt x="71" y="42"/>
                  </a:cubicBezTo>
                  <a:cubicBezTo>
                    <a:pt x="71" y="58"/>
                    <a:pt x="58" y="72"/>
                    <a:pt x="41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59" name="Oval 445"/>
            <p:cNvSpPr>
              <a:spLocks noChangeArrowheads="1"/>
            </p:cNvSpPr>
            <p:nvPr userDrawn="1"/>
          </p:nvSpPr>
          <p:spPr bwMode="auto">
            <a:xfrm>
              <a:off x="3094323" y="4258455"/>
              <a:ext cx="20661" cy="2066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60" name="Freeform 446"/>
            <p:cNvSpPr>
              <a:spLocks/>
            </p:cNvSpPr>
            <p:nvPr userDrawn="1"/>
          </p:nvSpPr>
          <p:spPr bwMode="auto">
            <a:xfrm>
              <a:off x="3110065" y="4109893"/>
              <a:ext cx="328608" cy="25580"/>
            </a:xfrm>
            <a:custGeom>
              <a:avLst/>
              <a:gdLst>
                <a:gd name="T0" fmla="*/ 732 w 751"/>
                <a:gd name="T1" fmla="*/ 43 h 58"/>
                <a:gd name="T2" fmla="*/ 709 w 751"/>
                <a:gd name="T3" fmla="*/ 22 h 58"/>
                <a:gd name="T4" fmla="*/ 698 w 751"/>
                <a:gd name="T5" fmla="*/ 26 h 58"/>
                <a:gd name="T6" fmla="*/ 698 w 751"/>
                <a:gd name="T7" fmla="*/ 22 h 58"/>
                <a:gd name="T8" fmla="*/ 675 w 751"/>
                <a:gd name="T9" fmla="*/ 0 h 58"/>
                <a:gd name="T10" fmla="*/ 659 w 751"/>
                <a:gd name="T11" fmla="*/ 6 h 58"/>
                <a:gd name="T12" fmla="*/ 643 w 751"/>
                <a:gd name="T13" fmla="*/ 0 h 58"/>
                <a:gd name="T14" fmla="*/ 627 w 751"/>
                <a:gd name="T15" fmla="*/ 6 h 58"/>
                <a:gd name="T16" fmla="*/ 611 w 751"/>
                <a:gd name="T17" fmla="*/ 0 h 58"/>
                <a:gd name="T18" fmla="*/ 595 w 751"/>
                <a:gd name="T19" fmla="*/ 6 h 58"/>
                <a:gd name="T20" fmla="*/ 578 w 751"/>
                <a:gd name="T21" fmla="*/ 0 h 58"/>
                <a:gd name="T22" fmla="*/ 562 w 751"/>
                <a:gd name="T23" fmla="*/ 6 h 58"/>
                <a:gd name="T24" fmla="*/ 546 w 751"/>
                <a:gd name="T25" fmla="*/ 0 h 58"/>
                <a:gd name="T26" fmla="*/ 530 w 751"/>
                <a:gd name="T27" fmla="*/ 6 h 58"/>
                <a:gd name="T28" fmla="*/ 514 w 751"/>
                <a:gd name="T29" fmla="*/ 0 h 58"/>
                <a:gd name="T30" fmla="*/ 498 w 751"/>
                <a:gd name="T31" fmla="*/ 6 h 58"/>
                <a:gd name="T32" fmla="*/ 482 w 751"/>
                <a:gd name="T33" fmla="*/ 0 h 58"/>
                <a:gd name="T34" fmla="*/ 466 w 751"/>
                <a:gd name="T35" fmla="*/ 6 h 58"/>
                <a:gd name="T36" fmla="*/ 449 w 751"/>
                <a:gd name="T37" fmla="*/ 0 h 58"/>
                <a:gd name="T38" fmla="*/ 433 w 751"/>
                <a:gd name="T39" fmla="*/ 6 h 58"/>
                <a:gd name="T40" fmla="*/ 417 w 751"/>
                <a:gd name="T41" fmla="*/ 0 h 58"/>
                <a:gd name="T42" fmla="*/ 401 w 751"/>
                <a:gd name="T43" fmla="*/ 6 h 58"/>
                <a:gd name="T44" fmla="*/ 385 w 751"/>
                <a:gd name="T45" fmla="*/ 0 h 58"/>
                <a:gd name="T46" fmla="*/ 369 w 751"/>
                <a:gd name="T47" fmla="*/ 6 h 58"/>
                <a:gd name="T48" fmla="*/ 353 w 751"/>
                <a:gd name="T49" fmla="*/ 0 h 58"/>
                <a:gd name="T50" fmla="*/ 337 w 751"/>
                <a:gd name="T51" fmla="*/ 6 h 58"/>
                <a:gd name="T52" fmla="*/ 321 w 751"/>
                <a:gd name="T53" fmla="*/ 0 h 58"/>
                <a:gd name="T54" fmla="*/ 304 w 751"/>
                <a:gd name="T55" fmla="*/ 6 h 58"/>
                <a:gd name="T56" fmla="*/ 288 w 751"/>
                <a:gd name="T57" fmla="*/ 0 h 58"/>
                <a:gd name="T58" fmla="*/ 272 w 751"/>
                <a:gd name="T59" fmla="*/ 6 h 58"/>
                <a:gd name="T60" fmla="*/ 256 w 751"/>
                <a:gd name="T61" fmla="*/ 0 h 58"/>
                <a:gd name="T62" fmla="*/ 240 w 751"/>
                <a:gd name="T63" fmla="*/ 6 h 58"/>
                <a:gd name="T64" fmla="*/ 224 w 751"/>
                <a:gd name="T65" fmla="*/ 0 h 58"/>
                <a:gd name="T66" fmla="*/ 208 w 751"/>
                <a:gd name="T67" fmla="*/ 6 h 58"/>
                <a:gd name="T68" fmla="*/ 192 w 751"/>
                <a:gd name="T69" fmla="*/ 0 h 58"/>
                <a:gd name="T70" fmla="*/ 175 w 751"/>
                <a:gd name="T71" fmla="*/ 6 h 58"/>
                <a:gd name="T72" fmla="*/ 159 w 751"/>
                <a:gd name="T73" fmla="*/ 0 h 58"/>
                <a:gd name="T74" fmla="*/ 143 w 751"/>
                <a:gd name="T75" fmla="*/ 6 h 58"/>
                <a:gd name="T76" fmla="*/ 127 w 751"/>
                <a:gd name="T77" fmla="*/ 0 h 58"/>
                <a:gd name="T78" fmla="*/ 111 w 751"/>
                <a:gd name="T79" fmla="*/ 6 h 58"/>
                <a:gd name="T80" fmla="*/ 95 w 751"/>
                <a:gd name="T81" fmla="*/ 0 h 58"/>
                <a:gd name="T82" fmla="*/ 79 w 751"/>
                <a:gd name="T83" fmla="*/ 6 h 58"/>
                <a:gd name="T84" fmla="*/ 63 w 751"/>
                <a:gd name="T85" fmla="*/ 0 h 58"/>
                <a:gd name="T86" fmla="*/ 40 w 751"/>
                <a:gd name="T87" fmla="*/ 22 h 58"/>
                <a:gd name="T88" fmla="*/ 40 w 751"/>
                <a:gd name="T89" fmla="*/ 24 h 58"/>
                <a:gd name="T90" fmla="*/ 32 w 751"/>
                <a:gd name="T91" fmla="*/ 22 h 58"/>
                <a:gd name="T92" fmla="*/ 9 w 751"/>
                <a:gd name="T93" fmla="*/ 45 h 58"/>
                <a:gd name="T94" fmla="*/ 10 w 751"/>
                <a:gd name="T95" fmla="*/ 46 h 58"/>
                <a:gd name="T96" fmla="*/ 0 w 751"/>
                <a:gd name="T97" fmla="*/ 58 h 58"/>
                <a:gd name="T98" fmla="*/ 751 w 751"/>
                <a:gd name="T99" fmla="*/ 58 h 58"/>
                <a:gd name="T100" fmla="*/ 732 w 751"/>
                <a:gd name="T101" fmla="*/ 43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751" h="58">
                  <a:moveTo>
                    <a:pt x="732" y="43"/>
                  </a:moveTo>
                  <a:cubicBezTo>
                    <a:pt x="731" y="32"/>
                    <a:pt x="721" y="22"/>
                    <a:pt x="709" y="22"/>
                  </a:cubicBezTo>
                  <a:cubicBezTo>
                    <a:pt x="705" y="22"/>
                    <a:pt x="701" y="24"/>
                    <a:pt x="698" y="26"/>
                  </a:cubicBezTo>
                  <a:cubicBezTo>
                    <a:pt x="698" y="25"/>
                    <a:pt x="698" y="23"/>
                    <a:pt x="698" y="22"/>
                  </a:cubicBezTo>
                  <a:cubicBezTo>
                    <a:pt x="698" y="10"/>
                    <a:pt x="688" y="0"/>
                    <a:pt x="675" y="0"/>
                  </a:cubicBezTo>
                  <a:cubicBezTo>
                    <a:pt x="669" y="0"/>
                    <a:pt x="663" y="2"/>
                    <a:pt x="659" y="6"/>
                  </a:cubicBezTo>
                  <a:cubicBezTo>
                    <a:pt x="655" y="2"/>
                    <a:pt x="649" y="0"/>
                    <a:pt x="643" y="0"/>
                  </a:cubicBezTo>
                  <a:cubicBezTo>
                    <a:pt x="637" y="0"/>
                    <a:pt x="631" y="2"/>
                    <a:pt x="627" y="6"/>
                  </a:cubicBezTo>
                  <a:cubicBezTo>
                    <a:pt x="623" y="2"/>
                    <a:pt x="617" y="0"/>
                    <a:pt x="611" y="0"/>
                  </a:cubicBezTo>
                  <a:cubicBezTo>
                    <a:pt x="604" y="0"/>
                    <a:pt x="599" y="2"/>
                    <a:pt x="595" y="6"/>
                  </a:cubicBezTo>
                  <a:cubicBezTo>
                    <a:pt x="590" y="2"/>
                    <a:pt x="585" y="0"/>
                    <a:pt x="578" y="0"/>
                  </a:cubicBezTo>
                  <a:cubicBezTo>
                    <a:pt x="572" y="0"/>
                    <a:pt x="566" y="2"/>
                    <a:pt x="562" y="6"/>
                  </a:cubicBezTo>
                  <a:cubicBezTo>
                    <a:pt x="558" y="2"/>
                    <a:pt x="553" y="0"/>
                    <a:pt x="546" y="0"/>
                  </a:cubicBezTo>
                  <a:cubicBezTo>
                    <a:pt x="540" y="0"/>
                    <a:pt x="534" y="2"/>
                    <a:pt x="530" y="6"/>
                  </a:cubicBezTo>
                  <a:cubicBezTo>
                    <a:pt x="526" y="2"/>
                    <a:pt x="520" y="0"/>
                    <a:pt x="514" y="0"/>
                  </a:cubicBezTo>
                  <a:cubicBezTo>
                    <a:pt x="508" y="0"/>
                    <a:pt x="502" y="2"/>
                    <a:pt x="498" y="6"/>
                  </a:cubicBezTo>
                  <a:cubicBezTo>
                    <a:pt x="494" y="2"/>
                    <a:pt x="488" y="0"/>
                    <a:pt x="482" y="0"/>
                  </a:cubicBezTo>
                  <a:cubicBezTo>
                    <a:pt x="475" y="0"/>
                    <a:pt x="470" y="2"/>
                    <a:pt x="466" y="6"/>
                  </a:cubicBezTo>
                  <a:cubicBezTo>
                    <a:pt x="461" y="2"/>
                    <a:pt x="456" y="0"/>
                    <a:pt x="449" y="0"/>
                  </a:cubicBezTo>
                  <a:cubicBezTo>
                    <a:pt x="443" y="0"/>
                    <a:pt x="437" y="2"/>
                    <a:pt x="433" y="6"/>
                  </a:cubicBezTo>
                  <a:cubicBezTo>
                    <a:pt x="429" y="2"/>
                    <a:pt x="424" y="0"/>
                    <a:pt x="417" y="0"/>
                  </a:cubicBezTo>
                  <a:cubicBezTo>
                    <a:pt x="411" y="0"/>
                    <a:pt x="405" y="2"/>
                    <a:pt x="401" y="6"/>
                  </a:cubicBezTo>
                  <a:cubicBezTo>
                    <a:pt x="397" y="2"/>
                    <a:pt x="391" y="0"/>
                    <a:pt x="385" y="0"/>
                  </a:cubicBezTo>
                  <a:cubicBezTo>
                    <a:pt x="379" y="0"/>
                    <a:pt x="373" y="2"/>
                    <a:pt x="369" y="6"/>
                  </a:cubicBezTo>
                  <a:cubicBezTo>
                    <a:pt x="365" y="2"/>
                    <a:pt x="359" y="0"/>
                    <a:pt x="353" y="0"/>
                  </a:cubicBezTo>
                  <a:cubicBezTo>
                    <a:pt x="346" y="0"/>
                    <a:pt x="341" y="2"/>
                    <a:pt x="337" y="6"/>
                  </a:cubicBezTo>
                  <a:cubicBezTo>
                    <a:pt x="333" y="2"/>
                    <a:pt x="327" y="0"/>
                    <a:pt x="321" y="0"/>
                  </a:cubicBezTo>
                  <a:cubicBezTo>
                    <a:pt x="314" y="0"/>
                    <a:pt x="309" y="2"/>
                    <a:pt x="304" y="6"/>
                  </a:cubicBezTo>
                  <a:cubicBezTo>
                    <a:pt x="300" y="2"/>
                    <a:pt x="295" y="0"/>
                    <a:pt x="288" y="0"/>
                  </a:cubicBezTo>
                  <a:cubicBezTo>
                    <a:pt x="282" y="0"/>
                    <a:pt x="276" y="2"/>
                    <a:pt x="272" y="6"/>
                  </a:cubicBezTo>
                  <a:cubicBezTo>
                    <a:pt x="268" y="2"/>
                    <a:pt x="262" y="0"/>
                    <a:pt x="256" y="0"/>
                  </a:cubicBezTo>
                  <a:cubicBezTo>
                    <a:pt x="250" y="0"/>
                    <a:pt x="244" y="2"/>
                    <a:pt x="240" y="6"/>
                  </a:cubicBezTo>
                  <a:cubicBezTo>
                    <a:pt x="236" y="2"/>
                    <a:pt x="230" y="0"/>
                    <a:pt x="224" y="0"/>
                  </a:cubicBezTo>
                  <a:cubicBezTo>
                    <a:pt x="217" y="0"/>
                    <a:pt x="212" y="2"/>
                    <a:pt x="208" y="6"/>
                  </a:cubicBezTo>
                  <a:cubicBezTo>
                    <a:pt x="204" y="2"/>
                    <a:pt x="198" y="0"/>
                    <a:pt x="192" y="0"/>
                  </a:cubicBezTo>
                  <a:cubicBezTo>
                    <a:pt x="185" y="0"/>
                    <a:pt x="180" y="2"/>
                    <a:pt x="175" y="6"/>
                  </a:cubicBezTo>
                  <a:cubicBezTo>
                    <a:pt x="171" y="2"/>
                    <a:pt x="166" y="0"/>
                    <a:pt x="159" y="0"/>
                  </a:cubicBezTo>
                  <a:cubicBezTo>
                    <a:pt x="153" y="0"/>
                    <a:pt x="147" y="2"/>
                    <a:pt x="143" y="6"/>
                  </a:cubicBezTo>
                  <a:cubicBezTo>
                    <a:pt x="139" y="2"/>
                    <a:pt x="133" y="0"/>
                    <a:pt x="127" y="0"/>
                  </a:cubicBezTo>
                  <a:cubicBezTo>
                    <a:pt x="121" y="0"/>
                    <a:pt x="115" y="2"/>
                    <a:pt x="111" y="6"/>
                  </a:cubicBezTo>
                  <a:cubicBezTo>
                    <a:pt x="107" y="2"/>
                    <a:pt x="101" y="0"/>
                    <a:pt x="95" y="0"/>
                  </a:cubicBezTo>
                  <a:cubicBezTo>
                    <a:pt x="89" y="0"/>
                    <a:pt x="83" y="2"/>
                    <a:pt x="79" y="6"/>
                  </a:cubicBezTo>
                  <a:cubicBezTo>
                    <a:pt x="75" y="2"/>
                    <a:pt x="69" y="0"/>
                    <a:pt x="63" y="0"/>
                  </a:cubicBezTo>
                  <a:cubicBezTo>
                    <a:pt x="50" y="0"/>
                    <a:pt x="40" y="10"/>
                    <a:pt x="40" y="22"/>
                  </a:cubicBezTo>
                  <a:cubicBezTo>
                    <a:pt x="40" y="23"/>
                    <a:pt x="40" y="23"/>
                    <a:pt x="40" y="24"/>
                  </a:cubicBezTo>
                  <a:cubicBezTo>
                    <a:pt x="37" y="23"/>
                    <a:pt x="35" y="22"/>
                    <a:pt x="32" y="22"/>
                  </a:cubicBezTo>
                  <a:cubicBezTo>
                    <a:pt x="20" y="22"/>
                    <a:pt x="9" y="33"/>
                    <a:pt x="9" y="45"/>
                  </a:cubicBezTo>
                  <a:cubicBezTo>
                    <a:pt x="9" y="46"/>
                    <a:pt x="10" y="46"/>
                    <a:pt x="10" y="46"/>
                  </a:cubicBezTo>
                  <a:cubicBezTo>
                    <a:pt x="5" y="49"/>
                    <a:pt x="1" y="53"/>
                    <a:pt x="0" y="58"/>
                  </a:cubicBezTo>
                  <a:cubicBezTo>
                    <a:pt x="751" y="58"/>
                    <a:pt x="751" y="58"/>
                    <a:pt x="751" y="58"/>
                  </a:cubicBezTo>
                  <a:cubicBezTo>
                    <a:pt x="748" y="50"/>
                    <a:pt x="741" y="44"/>
                    <a:pt x="732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61" name="Freeform 447"/>
            <p:cNvSpPr>
              <a:spLocks/>
            </p:cNvSpPr>
            <p:nvPr userDrawn="1"/>
          </p:nvSpPr>
          <p:spPr bwMode="auto">
            <a:xfrm>
              <a:off x="3045131" y="4138425"/>
              <a:ext cx="444704" cy="122982"/>
            </a:xfrm>
            <a:custGeom>
              <a:avLst/>
              <a:gdLst>
                <a:gd name="T0" fmla="*/ 996 w 1015"/>
                <a:gd name="T1" fmla="*/ 209 h 280"/>
                <a:gd name="T2" fmla="*/ 980 w 1015"/>
                <a:gd name="T3" fmla="*/ 226 h 280"/>
                <a:gd name="T4" fmla="*/ 951 w 1015"/>
                <a:gd name="T5" fmla="*/ 226 h 280"/>
                <a:gd name="T6" fmla="*/ 958 w 1015"/>
                <a:gd name="T7" fmla="*/ 200 h 280"/>
                <a:gd name="T8" fmla="*/ 930 w 1015"/>
                <a:gd name="T9" fmla="*/ 200 h 280"/>
                <a:gd name="T10" fmla="*/ 932 w 1015"/>
                <a:gd name="T11" fmla="*/ 190 h 280"/>
                <a:gd name="T12" fmla="*/ 911 w 1015"/>
                <a:gd name="T13" fmla="*/ 169 h 280"/>
                <a:gd name="T14" fmla="*/ 814 w 1015"/>
                <a:gd name="T15" fmla="*/ 169 h 280"/>
                <a:gd name="T16" fmla="*/ 793 w 1015"/>
                <a:gd name="T17" fmla="*/ 190 h 280"/>
                <a:gd name="T18" fmla="*/ 795 w 1015"/>
                <a:gd name="T19" fmla="*/ 200 h 280"/>
                <a:gd name="T20" fmla="*/ 765 w 1015"/>
                <a:gd name="T21" fmla="*/ 200 h 280"/>
                <a:gd name="T22" fmla="*/ 932 w 1015"/>
                <a:gd name="T23" fmla="*/ 19 h 280"/>
                <a:gd name="T24" fmla="*/ 933 w 1015"/>
                <a:gd name="T25" fmla="*/ 0 h 280"/>
                <a:gd name="T26" fmla="*/ 524 w 1015"/>
                <a:gd name="T27" fmla="*/ 0 h 280"/>
                <a:gd name="T28" fmla="*/ 524 w 1015"/>
                <a:gd name="T29" fmla="*/ 201 h 280"/>
                <a:gd name="T30" fmla="*/ 491 w 1015"/>
                <a:gd name="T31" fmla="*/ 201 h 280"/>
                <a:gd name="T32" fmla="*/ 491 w 1015"/>
                <a:gd name="T33" fmla="*/ 0 h 280"/>
                <a:gd name="T34" fmla="*/ 74 w 1015"/>
                <a:gd name="T35" fmla="*/ 0 h 280"/>
                <a:gd name="T36" fmla="*/ 75 w 1015"/>
                <a:gd name="T37" fmla="*/ 19 h 280"/>
                <a:gd name="T38" fmla="*/ 242 w 1015"/>
                <a:gd name="T39" fmla="*/ 200 h 280"/>
                <a:gd name="T40" fmla="*/ 212 w 1015"/>
                <a:gd name="T41" fmla="*/ 200 h 280"/>
                <a:gd name="T42" fmla="*/ 214 w 1015"/>
                <a:gd name="T43" fmla="*/ 190 h 280"/>
                <a:gd name="T44" fmla="*/ 193 w 1015"/>
                <a:gd name="T45" fmla="*/ 169 h 280"/>
                <a:gd name="T46" fmla="*/ 96 w 1015"/>
                <a:gd name="T47" fmla="*/ 169 h 280"/>
                <a:gd name="T48" fmla="*/ 75 w 1015"/>
                <a:gd name="T49" fmla="*/ 190 h 280"/>
                <a:gd name="T50" fmla="*/ 77 w 1015"/>
                <a:gd name="T51" fmla="*/ 200 h 280"/>
                <a:gd name="T52" fmla="*/ 49 w 1015"/>
                <a:gd name="T53" fmla="*/ 200 h 280"/>
                <a:gd name="T54" fmla="*/ 53 w 1015"/>
                <a:gd name="T55" fmla="*/ 217 h 280"/>
                <a:gd name="T56" fmla="*/ 36 w 1015"/>
                <a:gd name="T57" fmla="*/ 217 h 280"/>
                <a:gd name="T58" fmla="*/ 19 w 1015"/>
                <a:gd name="T59" fmla="*/ 197 h 280"/>
                <a:gd name="T60" fmla="*/ 0 w 1015"/>
                <a:gd name="T61" fmla="*/ 231 h 280"/>
                <a:gd name="T62" fmla="*/ 19 w 1015"/>
                <a:gd name="T63" fmla="*/ 264 h 280"/>
                <a:gd name="T64" fmla="*/ 36 w 1015"/>
                <a:gd name="T65" fmla="*/ 245 h 280"/>
                <a:gd name="T66" fmla="*/ 64 w 1015"/>
                <a:gd name="T67" fmla="*/ 245 h 280"/>
                <a:gd name="T68" fmla="*/ 87 w 1015"/>
                <a:gd name="T69" fmla="*/ 269 h 280"/>
                <a:gd name="T70" fmla="*/ 135 w 1015"/>
                <a:gd name="T71" fmla="*/ 241 h 280"/>
                <a:gd name="T72" fmla="*/ 187 w 1015"/>
                <a:gd name="T73" fmla="*/ 276 h 280"/>
                <a:gd name="T74" fmla="*/ 238 w 1015"/>
                <a:gd name="T75" fmla="*/ 241 h 280"/>
                <a:gd name="T76" fmla="*/ 290 w 1015"/>
                <a:gd name="T77" fmla="*/ 276 h 280"/>
                <a:gd name="T78" fmla="*/ 341 w 1015"/>
                <a:gd name="T79" fmla="*/ 241 h 280"/>
                <a:gd name="T80" fmla="*/ 391 w 1015"/>
                <a:gd name="T81" fmla="*/ 273 h 280"/>
                <a:gd name="T82" fmla="*/ 435 w 1015"/>
                <a:gd name="T83" fmla="*/ 240 h 280"/>
                <a:gd name="T84" fmla="*/ 504 w 1015"/>
                <a:gd name="T85" fmla="*/ 240 h 280"/>
                <a:gd name="T86" fmla="*/ 572 w 1015"/>
                <a:gd name="T87" fmla="*/ 240 h 280"/>
                <a:gd name="T88" fmla="*/ 588 w 1015"/>
                <a:gd name="T89" fmla="*/ 252 h 280"/>
                <a:gd name="T90" fmla="*/ 621 w 1015"/>
                <a:gd name="T91" fmla="*/ 241 h 280"/>
                <a:gd name="T92" fmla="*/ 672 w 1015"/>
                <a:gd name="T93" fmla="*/ 276 h 280"/>
                <a:gd name="T94" fmla="*/ 724 w 1015"/>
                <a:gd name="T95" fmla="*/ 241 h 280"/>
                <a:gd name="T96" fmla="*/ 775 w 1015"/>
                <a:gd name="T97" fmla="*/ 276 h 280"/>
                <a:gd name="T98" fmla="*/ 827 w 1015"/>
                <a:gd name="T99" fmla="*/ 241 h 280"/>
                <a:gd name="T100" fmla="*/ 879 w 1015"/>
                <a:gd name="T101" fmla="*/ 280 h 280"/>
                <a:gd name="T102" fmla="*/ 910 w 1015"/>
                <a:gd name="T103" fmla="*/ 280 h 280"/>
                <a:gd name="T104" fmla="*/ 934 w 1015"/>
                <a:gd name="T105" fmla="*/ 254 h 280"/>
                <a:gd name="T106" fmla="*/ 980 w 1015"/>
                <a:gd name="T107" fmla="*/ 254 h 280"/>
                <a:gd name="T108" fmla="*/ 996 w 1015"/>
                <a:gd name="T109" fmla="*/ 271 h 280"/>
                <a:gd name="T110" fmla="*/ 1015 w 1015"/>
                <a:gd name="T111" fmla="*/ 240 h 280"/>
                <a:gd name="T112" fmla="*/ 996 w 1015"/>
                <a:gd name="T113" fmla="*/ 209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15" h="280">
                  <a:moveTo>
                    <a:pt x="996" y="209"/>
                  </a:moveTo>
                  <a:cubicBezTo>
                    <a:pt x="989" y="209"/>
                    <a:pt x="983" y="216"/>
                    <a:pt x="980" y="226"/>
                  </a:cubicBezTo>
                  <a:cubicBezTo>
                    <a:pt x="951" y="226"/>
                    <a:pt x="951" y="226"/>
                    <a:pt x="951" y="226"/>
                  </a:cubicBezTo>
                  <a:cubicBezTo>
                    <a:pt x="954" y="217"/>
                    <a:pt x="956" y="208"/>
                    <a:pt x="958" y="200"/>
                  </a:cubicBezTo>
                  <a:cubicBezTo>
                    <a:pt x="930" y="200"/>
                    <a:pt x="930" y="200"/>
                    <a:pt x="930" y="200"/>
                  </a:cubicBezTo>
                  <a:cubicBezTo>
                    <a:pt x="931" y="197"/>
                    <a:pt x="932" y="194"/>
                    <a:pt x="932" y="190"/>
                  </a:cubicBezTo>
                  <a:cubicBezTo>
                    <a:pt x="932" y="179"/>
                    <a:pt x="923" y="169"/>
                    <a:pt x="911" y="169"/>
                  </a:cubicBezTo>
                  <a:cubicBezTo>
                    <a:pt x="814" y="169"/>
                    <a:pt x="814" y="169"/>
                    <a:pt x="814" y="169"/>
                  </a:cubicBezTo>
                  <a:cubicBezTo>
                    <a:pt x="802" y="169"/>
                    <a:pt x="793" y="179"/>
                    <a:pt x="793" y="190"/>
                  </a:cubicBezTo>
                  <a:cubicBezTo>
                    <a:pt x="793" y="194"/>
                    <a:pt x="794" y="197"/>
                    <a:pt x="795" y="200"/>
                  </a:cubicBezTo>
                  <a:cubicBezTo>
                    <a:pt x="765" y="200"/>
                    <a:pt x="765" y="200"/>
                    <a:pt x="765" y="200"/>
                  </a:cubicBezTo>
                  <a:cubicBezTo>
                    <a:pt x="932" y="19"/>
                    <a:pt x="932" y="19"/>
                    <a:pt x="932" y="19"/>
                  </a:cubicBezTo>
                  <a:cubicBezTo>
                    <a:pt x="933" y="0"/>
                    <a:pt x="933" y="0"/>
                    <a:pt x="933" y="0"/>
                  </a:cubicBezTo>
                  <a:cubicBezTo>
                    <a:pt x="524" y="0"/>
                    <a:pt x="524" y="0"/>
                    <a:pt x="524" y="0"/>
                  </a:cubicBezTo>
                  <a:cubicBezTo>
                    <a:pt x="524" y="201"/>
                    <a:pt x="524" y="201"/>
                    <a:pt x="524" y="201"/>
                  </a:cubicBezTo>
                  <a:cubicBezTo>
                    <a:pt x="491" y="201"/>
                    <a:pt x="491" y="201"/>
                    <a:pt x="491" y="201"/>
                  </a:cubicBezTo>
                  <a:cubicBezTo>
                    <a:pt x="491" y="0"/>
                    <a:pt x="491" y="0"/>
                    <a:pt x="491" y="0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75" y="19"/>
                    <a:pt x="75" y="19"/>
                    <a:pt x="75" y="19"/>
                  </a:cubicBezTo>
                  <a:cubicBezTo>
                    <a:pt x="242" y="200"/>
                    <a:pt x="242" y="200"/>
                    <a:pt x="242" y="200"/>
                  </a:cubicBezTo>
                  <a:cubicBezTo>
                    <a:pt x="212" y="200"/>
                    <a:pt x="212" y="200"/>
                    <a:pt x="212" y="200"/>
                  </a:cubicBezTo>
                  <a:cubicBezTo>
                    <a:pt x="213" y="197"/>
                    <a:pt x="214" y="194"/>
                    <a:pt x="214" y="190"/>
                  </a:cubicBezTo>
                  <a:cubicBezTo>
                    <a:pt x="214" y="179"/>
                    <a:pt x="205" y="169"/>
                    <a:pt x="193" y="169"/>
                  </a:cubicBezTo>
                  <a:cubicBezTo>
                    <a:pt x="96" y="169"/>
                    <a:pt x="96" y="169"/>
                    <a:pt x="96" y="169"/>
                  </a:cubicBezTo>
                  <a:cubicBezTo>
                    <a:pt x="84" y="169"/>
                    <a:pt x="75" y="179"/>
                    <a:pt x="75" y="190"/>
                  </a:cubicBezTo>
                  <a:cubicBezTo>
                    <a:pt x="75" y="194"/>
                    <a:pt x="76" y="197"/>
                    <a:pt x="77" y="200"/>
                  </a:cubicBezTo>
                  <a:cubicBezTo>
                    <a:pt x="49" y="200"/>
                    <a:pt x="49" y="200"/>
                    <a:pt x="49" y="200"/>
                  </a:cubicBezTo>
                  <a:cubicBezTo>
                    <a:pt x="50" y="205"/>
                    <a:pt x="52" y="211"/>
                    <a:pt x="53" y="217"/>
                  </a:cubicBezTo>
                  <a:cubicBezTo>
                    <a:pt x="36" y="217"/>
                    <a:pt x="36" y="217"/>
                    <a:pt x="36" y="217"/>
                  </a:cubicBezTo>
                  <a:cubicBezTo>
                    <a:pt x="33" y="205"/>
                    <a:pt x="27" y="197"/>
                    <a:pt x="19" y="197"/>
                  </a:cubicBezTo>
                  <a:cubicBezTo>
                    <a:pt x="9" y="197"/>
                    <a:pt x="0" y="212"/>
                    <a:pt x="0" y="231"/>
                  </a:cubicBezTo>
                  <a:cubicBezTo>
                    <a:pt x="0" y="249"/>
                    <a:pt x="9" y="264"/>
                    <a:pt x="19" y="264"/>
                  </a:cubicBezTo>
                  <a:cubicBezTo>
                    <a:pt x="27" y="264"/>
                    <a:pt x="33" y="256"/>
                    <a:pt x="36" y="245"/>
                  </a:cubicBezTo>
                  <a:cubicBezTo>
                    <a:pt x="64" y="245"/>
                    <a:pt x="64" y="245"/>
                    <a:pt x="64" y="245"/>
                  </a:cubicBezTo>
                  <a:cubicBezTo>
                    <a:pt x="87" y="269"/>
                    <a:pt x="87" y="269"/>
                    <a:pt x="87" y="269"/>
                  </a:cubicBezTo>
                  <a:cubicBezTo>
                    <a:pt x="97" y="252"/>
                    <a:pt x="115" y="241"/>
                    <a:pt x="135" y="241"/>
                  </a:cubicBezTo>
                  <a:cubicBezTo>
                    <a:pt x="159" y="241"/>
                    <a:pt x="179" y="255"/>
                    <a:pt x="187" y="276"/>
                  </a:cubicBezTo>
                  <a:cubicBezTo>
                    <a:pt x="195" y="255"/>
                    <a:pt x="215" y="241"/>
                    <a:pt x="238" y="241"/>
                  </a:cubicBezTo>
                  <a:cubicBezTo>
                    <a:pt x="262" y="241"/>
                    <a:pt x="282" y="255"/>
                    <a:pt x="290" y="276"/>
                  </a:cubicBezTo>
                  <a:cubicBezTo>
                    <a:pt x="298" y="255"/>
                    <a:pt x="318" y="241"/>
                    <a:pt x="341" y="241"/>
                  </a:cubicBezTo>
                  <a:cubicBezTo>
                    <a:pt x="363" y="241"/>
                    <a:pt x="383" y="254"/>
                    <a:pt x="391" y="273"/>
                  </a:cubicBezTo>
                  <a:cubicBezTo>
                    <a:pt x="435" y="240"/>
                    <a:pt x="435" y="240"/>
                    <a:pt x="435" y="240"/>
                  </a:cubicBezTo>
                  <a:cubicBezTo>
                    <a:pt x="504" y="240"/>
                    <a:pt x="504" y="240"/>
                    <a:pt x="504" y="240"/>
                  </a:cubicBezTo>
                  <a:cubicBezTo>
                    <a:pt x="572" y="240"/>
                    <a:pt x="572" y="240"/>
                    <a:pt x="572" y="240"/>
                  </a:cubicBezTo>
                  <a:cubicBezTo>
                    <a:pt x="588" y="252"/>
                    <a:pt x="588" y="252"/>
                    <a:pt x="588" y="252"/>
                  </a:cubicBezTo>
                  <a:cubicBezTo>
                    <a:pt x="597" y="245"/>
                    <a:pt x="609" y="241"/>
                    <a:pt x="621" y="241"/>
                  </a:cubicBezTo>
                  <a:cubicBezTo>
                    <a:pt x="644" y="241"/>
                    <a:pt x="664" y="255"/>
                    <a:pt x="672" y="276"/>
                  </a:cubicBezTo>
                  <a:cubicBezTo>
                    <a:pt x="681" y="255"/>
                    <a:pt x="701" y="241"/>
                    <a:pt x="724" y="241"/>
                  </a:cubicBezTo>
                  <a:cubicBezTo>
                    <a:pt x="747" y="241"/>
                    <a:pt x="767" y="255"/>
                    <a:pt x="775" y="276"/>
                  </a:cubicBezTo>
                  <a:cubicBezTo>
                    <a:pt x="783" y="255"/>
                    <a:pt x="803" y="241"/>
                    <a:pt x="827" y="241"/>
                  </a:cubicBezTo>
                  <a:cubicBezTo>
                    <a:pt x="851" y="241"/>
                    <a:pt x="872" y="257"/>
                    <a:pt x="879" y="280"/>
                  </a:cubicBezTo>
                  <a:cubicBezTo>
                    <a:pt x="910" y="280"/>
                    <a:pt x="910" y="280"/>
                    <a:pt x="910" y="280"/>
                  </a:cubicBezTo>
                  <a:cubicBezTo>
                    <a:pt x="934" y="254"/>
                    <a:pt x="934" y="254"/>
                    <a:pt x="934" y="254"/>
                  </a:cubicBezTo>
                  <a:cubicBezTo>
                    <a:pt x="980" y="254"/>
                    <a:pt x="980" y="254"/>
                    <a:pt x="980" y="254"/>
                  </a:cubicBezTo>
                  <a:cubicBezTo>
                    <a:pt x="983" y="264"/>
                    <a:pt x="989" y="271"/>
                    <a:pt x="996" y="271"/>
                  </a:cubicBezTo>
                  <a:cubicBezTo>
                    <a:pt x="1006" y="271"/>
                    <a:pt x="1015" y="257"/>
                    <a:pt x="1015" y="240"/>
                  </a:cubicBezTo>
                  <a:cubicBezTo>
                    <a:pt x="1015" y="223"/>
                    <a:pt x="1006" y="209"/>
                    <a:pt x="996" y="20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62" name="Rectangle 448"/>
            <p:cNvSpPr>
              <a:spLocks noChangeArrowheads="1"/>
            </p:cNvSpPr>
            <p:nvPr userDrawn="1"/>
          </p:nvSpPr>
          <p:spPr bwMode="auto">
            <a:xfrm>
              <a:off x="1182688" y="4286987"/>
              <a:ext cx="2700000" cy="1672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="" xmlns:p14="http://schemas.microsoft.com/office/powerpoint/2010/main" val="28681407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0" name="Рисунок 339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t="19018" b="20913"/>
          <a:stretch/>
        </p:blipFill>
        <p:spPr>
          <a:xfrm flipH="1">
            <a:off x="-2" y="-13546"/>
            <a:ext cx="9146999" cy="4524588"/>
          </a:xfrm>
          <a:prstGeom prst="rect">
            <a:avLst/>
          </a:prstGeom>
        </p:spPr>
      </p:pic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61925" cy="162984"/>
        </p:xfrm>
        <a:graphic>
          <a:graphicData uri="http://schemas.openxmlformats.org/presentationml/2006/ole">
            <p:oleObj spid="_x0000_s4098" name="think-cell Slide" r:id="rId5" imgW="360" imgH="360" progId="">
              <p:embed/>
            </p:oleObj>
          </a:graphicData>
        </a:graphic>
      </p:graphicFrame>
      <p:sp>
        <p:nvSpPr>
          <p:cNvPr id="3" name="Working Draft Text" hidden="1"/>
          <p:cNvSpPr txBox="1">
            <a:spLocks noChangeArrowheads="1"/>
          </p:cNvSpPr>
          <p:nvPr/>
        </p:nvSpPr>
        <p:spPr bwMode="auto">
          <a:xfrm>
            <a:off x="2693988" y="349256"/>
            <a:ext cx="993862" cy="13849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8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 smtClean="0"/>
              <a:t>WORKING DRAFT</a:t>
            </a:r>
          </a:p>
        </p:txBody>
      </p:sp>
      <p:sp>
        <p:nvSpPr>
          <p:cNvPr id="4" name="Working Draft" hidden="1"/>
          <p:cNvSpPr txBox="1">
            <a:spLocks noChangeArrowheads="1"/>
          </p:cNvSpPr>
          <p:nvPr/>
        </p:nvSpPr>
        <p:spPr bwMode="auto">
          <a:xfrm>
            <a:off x="2693994" y="508006"/>
            <a:ext cx="2994409" cy="13849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8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/>
              <a:t>Last Modified 25.05.2015 9:51 Russia TZ 2 Standard Time</a:t>
            </a:r>
            <a:endParaRPr lang="ru-RU" sz="900" dirty="0" smtClean="0"/>
          </a:p>
        </p:txBody>
      </p:sp>
      <p:sp>
        <p:nvSpPr>
          <p:cNvPr id="5" name="Printed" hidden="1"/>
          <p:cNvSpPr txBox="1">
            <a:spLocks noChangeArrowheads="1"/>
          </p:cNvSpPr>
          <p:nvPr/>
        </p:nvSpPr>
        <p:spPr bwMode="auto">
          <a:xfrm>
            <a:off x="2693995" y="668872"/>
            <a:ext cx="2737929" cy="13849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8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/>
              <a:t>Printed 22.05.2015 15:05 Russia TZ 2 Standard Time</a:t>
            </a:r>
            <a:endParaRPr lang="ru-RU" sz="900" dirty="0" smtClean="0"/>
          </a:p>
        </p:txBody>
      </p:sp>
      <p:sp>
        <p:nvSpPr>
          <p:cNvPr id="6" name="McK Document type" hidden="1"/>
          <p:cNvSpPr txBox="1">
            <a:spLocks noChangeArrowheads="1"/>
          </p:cNvSpPr>
          <p:nvPr/>
        </p:nvSpPr>
        <p:spPr bwMode="auto">
          <a:xfrm>
            <a:off x="3627438" y="5073651"/>
            <a:ext cx="5035550" cy="21544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38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 smtClean="0"/>
              <a:t>Тип документа</a:t>
            </a:r>
          </a:p>
        </p:txBody>
      </p:sp>
      <p:sp>
        <p:nvSpPr>
          <p:cNvPr id="7" name="McK Date" hidden="1"/>
          <p:cNvSpPr txBox="1">
            <a:spLocks noChangeArrowheads="1"/>
          </p:cNvSpPr>
          <p:nvPr/>
        </p:nvSpPr>
        <p:spPr bwMode="auto">
          <a:xfrm>
            <a:off x="3627438" y="5408084"/>
            <a:ext cx="5035550" cy="21544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38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 smtClean="0"/>
              <a:t>Дата</a:t>
            </a:r>
          </a:p>
        </p:txBody>
      </p:sp>
      <p:sp>
        <p:nvSpPr>
          <p:cNvPr id="8" name="McK Disclaimer" hidden="1"/>
          <p:cNvSpPr>
            <a:spLocks noChangeArrowheads="1"/>
          </p:cNvSpPr>
          <p:nvPr/>
        </p:nvSpPr>
        <p:spPr bwMode="auto">
          <a:xfrm>
            <a:off x="2693988" y="5888567"/>
            <a:ext cx="5226050" cy="36933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/>
          <a:p>
            <a:pPr defTabSz="820736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dirty="0">
                <a:latin typeface="+mn-lt"/>
              </a:rPr>
              <a:t>КОНФИДЕНЦИАЛЬНАЯ ИНФОРМАЦИЯ, СОБСТВЕННОСТЬ McKINSEY &amp; COMPANY</a:t>
            </a:r>
          </a:p>
          <a:p>
            <a:pPr defTabSz="820736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dirty="0">
                <a:latin typeface="+mn-lt"/>
              </a:rPr>
              <a:t>Любое использование этого документа без специального разрешения McKinsey &amp; Company строго запрещено</a:t>
            </a:r>
          </a:p>
        </p:txBody>
      </p:sp>
      <p:sp>
        <p:nvSpPr>
          <p:cNvPr id="10" name="TitleBottomPlaceholder" hidden="1"/>
          <p:cNvSpPr>
            <a:spLocks noChangeArrowheads="1"/>
          </p:cNvSpPr>
          <p:nvPr/>
        </p:nvSpPr>
        <p:spPr bwMode="auto">
          <a:xfrm>
            <a:off x="1" y="2283889"/>
            <a:ext cx="2238375" cy="4576233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/>
        </p:spPr>
        <p:txBody>
          <a:bodyPr wrap="none" lIns="93242" tIns="46620" rIns="93242" bIns="46620" anchor="ctr"/>
          <a:lstStyle/>
          <a:p>
            <a:pPr defTabSz="91388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latin typeface="+mn-lt"/>
            </a:endParaRPr>
          </a:p>
        </p:txBody>
      </p:sp>
      <p:sp>
        <p:nvSpPr>
          <p:cNvPr id="11" name="TitleTopPlaceholder" hidden="1"/>
          <p:cNvSpPr>
            <a:spLocks noChangeArrowheads="1"/>
          </p:cNvSpPr>
          <p:nvPr/>
        </p:nvSpPr>
        <p:spPr bwMode="auto">
          <a:xfrm>
            <a:off x="1" y="2"/>
            <a:ext cx="2238375" cy="2283884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/>
        </p:spPr>
        <p:txBody>
          <a:bodyPr wrap="none" lIns="93242" tIns="46620" rIns="93242" bIns="46620" anchor="ctr"/>
          <a:lstStyle/>
          <a:p>
            <a:pPr defTabSz="91388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latin typeface="+mn-lt"/>
            </a:endParaRPr>
          </a:p>
        </p:txBody>
      </p:sp>
      <p:sp>
        <p:nvSpPr>
          <p:cNvPr id="12" name="Rectangle 1189" hidden="1"/>
          <p:cNvSpPr>
            <a:spLocks noChangeArrowheads="1"/>
          </p:cNvSpPr>
          <p:nvPr/>
        </p:nvSpPr>
        <p:spPr bwMode="auto">
          <a:xfrm>
            <a:off x="0" y="0"/>
            <a:ext cx="9140825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/>
        </p:spPr>
        <p:txBody>
          <a:bodyPr wrap="none" lIns="93242" tIns="46620" rIns="93242" bIns="46620" anchor="ctr"/>
          <a:lstStyle/>
          <a:p>
            <a:pPr defTabSz="91388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latin typeface="+mn-lt"/>
            </a:endParaRPr>
          </a:p>
        </p:txBody>
      </p:sp>
      <p:pic>
        <p:nvPicPr>
          <p:cNvPr id="13" name="TitleBottomBarBW" hidden="1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19963" y="6574369"/>
            <a:ext cx="1670050" cy="1968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7"/>
          <p:cNvPicPr>
            <a:picLocks noChangeAspect="1" noChangeArrowheads="1"/>
          </p:cNvPicPr>
          <p:nvPr userDrawn="1"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 l="-400"/>
          <a:stretch>
            <a:fillRect/>
          </a:stretch>
        </p:blipFill>
        <p:spPr bwMode="auto">
          <a:xfrm>
            <a:off x="-38100" y="2632161"/>
            <a:ext cx="9182101" cy="22246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9" name="Group 122"/>
          <p:cNvGrpSpPr>
            <a:grpSpLocks noChangeAspect="1"/>
          </p:cNvGrpSpPr>
          <p:nvPr userDrawn="1"/>
        </p:nvGrpSpPr>
        <p:grpSpPr bwMode="auto">
          <a:xfrm>
            <a:off x="411081" y="2392641"/>
            <a:ext cx="2106799" cy="204601"/>
            <a:chOff x="2787" y="1035"/>
            <a:chExt cx="1167" cy="85"/>
          </a:xfrm>
          <a:solidFill>
            <a:srgbClr val="52F0FB"/>
          </a:solidFill>
        </p:grpSpPr>
        <p:sp>
          <p:nvSpPr>
            <p:cNvPr id="138" name="Oval 123"/>
            <p:cNvSpPr>
              <a:spLocks noChangeArrowheads="1"/>
            </p:cNvSpPr>
            <p:nvPr userDrawn="1"/>
          </p:nvSpPr>
          <p:spPr bwMode="auto">
            <a:xfrm>
              <a:off x="3917" y="1104"/>
              <a:ext cx="15" cy="1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9" name="Oval 124"/>
            <p:cNvSpPr>
              <a:spLocks noChangeArrowheads="1"/>
            </p:cNvSpPr>
            <p:nvPr userDrawn="1"/>
          </p:nvSpPr>
          <p:spPr bwMode="auto">
            <a:xfrm>
              <a:off x="3883" y="1104"/>
              <a:ext cx="16" cy="1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40" name="Oval 125"/>
            <p:cNvSpPr>
              <a:spLocks noChangeArrowheads="1"/>
            </p:cNvSpPr>
            <p:nvPr userDrawn="1"/>
          </p:nvSpPr>
          <p:spPr bwMode="auto">
            <a:xfrm>
              <a:off x="3849" y="1104"/>
              <a:ext cx="16" cy="1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41" name="Oval 126"/>
            <p:cNvSpPr>
              <a:spLocks noChangeArrowheads="1"/>
            </p:cNvSpPr>
            <p:nvPr userDrawn="1"/>
          </p:nvSpPr>
          <p:spPr bwMode="auto">
            <a:xfrm>
              <a:off x="3696" y="1104"/>
              <a:ext cx="15" cy="1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42" name="Oval 127"/>
            <p:cNvSpPr>
              <a:spLocks noChangeArrowheads="1"/>
            </p:cNvSpPr>
            <p:nvPr userDrawn="1"/>
          </p:nvSpPr>
          <p:spPr bwMode="auto">
            <a:xfrm>
              <a:off x="3662" y="1104"/>
              <a:ext cx="15" cy="1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43" name="Oval 128"/>
            <p:cNvSpPr>
              <a:spLocks noChangeArrowheads="1"/>
            </p:cNvSpPr>
            <p:nvPr userDrawn="1"/>
          </p:nvSpPr>
          <p:spPr bwMode="auto">
            <a:xfrm>
              <a:off x="3628" y="1104"/>
              <a:ext cx="16" cy="1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44" name="Rectangle 129"/>
            <p:cNvSpPr>
              <a:spLocks noChangeArrowheads="1"/>
            </p:cNvSpPr>
            <p:nvPr userDrawn="1"/>
          </p:nvSpPr>
          <p:spPr bwMode="auto">
            <a:xfrm>
              <a:off x="3655" y="1053"/>
              <a:ext cx="70" cy="1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45" name="Rectangle 130"/>
            <p:cNvSpPr>
              <a:spLocks noChangeArrowheads="1"/>
            </p:cNvSpPr>
            <p:nvPr userDrawn="1"/>
          </p:nvSpPr>
          <p:spPr bwMode="auto">
            <a:xfrm>
              <a:off x="3728" y="1107"/>
              <a:ext cx="104" cy="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46" name="Freeform 131"/>
            <p:cNvSpPr>
              <a:spLocks noEditPoints="1"/>
            </p:cNvSpPr>
            <p:nvPr userDrawn="1"/>
          </p:nvSpPr>
          <p:spPr bwMode="auto">
            <a:xfrm>
              <a:off x="3602" y="1044"/>
              <a:ext cx="352" cy="68"/>
            </a:xfrm>
            <a:custGeom>
              <a:avLst/>
              <a:gdLst>
                <a:gd name="T0" fmla="*/ 2231 w 2285"/>
                <a:gd name="T1" fmla="*/ 366 h 436"/>
                <a:gd name="T2" fmla="*/ 2213 w 2285"/>
                <a:gd name="T3" fmla="*/ 325 h 436"/>
                <a:gd name="T4" fmla="*/ 2196 w 2285"/>
                <a:gd name="T5" fmla="*/ 325 h 436"/>
                <a:gd name="T6" fmla="*/ 2127 w 2285"/>
                <a:gd name="T7" fmla="*/ 218 h 436"/>
                <a:gd name="T8" fmla="*/ 2093 w 2285"/>
                <a:gd name="T9" fmla="*/ 152 h 436"/>
                <a:gd name="T10" fmla="*/ 1863 w 2285"/>
                <a:gd name="T11" fmla="*/ 86 h 436"/>
                <a:gd name="T12" fmla="*/ 1589 w 2285"/>
                <a:gd name="T13" fmla="*/ 23 h 436"/>
                <a:gd name="T14" fmla="*/ 1354 w 2285"/>
                <a:gd name="T15" fmla="*/ 23 h 436"/>
                <a:gd name="T16" fmla="*/ 1254 w 2285"/>
                <a:gd name="T17" fmla="*/ 0 h 436"/>
                <a:gd name="T18" fmla="*/ 1182 w 2285"/>
                <a:gd name="T19" fmla="*/ 0 h 436"/>
                <a:gd name="T20" fmla="*/ 1021 w 2285"/>
                <a:gd name="T21" fmla="*/ 23 h 436"/>
                <a:gd name="T22" fmla="*/ 880 w 2285"/>
                <a:gd name="T23" fmla="*/ 23 h 436"/>
                <a:gd name="T24" fmla="*/ 651 w 2285"/>
                <a:gd name="T25" fmla="*/ 0 h 436"/>
                <a:gd name="T26" fmla="*/ 633 w 2285"/>
                <a:gd name="T27" fmla="*/ 0 h 436"/>
                <a:gd name="T28" fmla="*/ 460 w 2285"/>
                <a:gd name="T29" fmla="*/ 23 h 436"/>
                <a:gd name="T30" fmla="*/ 318 w 2285"/>
                <a:gd name="T31" fmla="*/ 23 h 436"/>
                <a:gd name="T32" fmla="*/ 222 w 2285"/>
                <a:gd name="T33" fmla="*/ 325 h 436"/>
                <a:gd name="T34" fmla="*/ 206 w 2285"/>
                <a:gd name="T35" fmla="*/ 325 h 436"/>
                <a:gd name="T36" fmla="*/ 88 w 2285"/>
                <a:gd name="T37" fmla="*/ 218 h 436"/>
                <a:gd name="T38" fmla="*/ 72 w 2285"/>
                <a:gd name="T39" fmla="*/ 334 h 436"/>
                <a:gd name="T40" fmla="*/ 8 w 2285"/>
                <a:gd name="T41" fmla="*/ 327 h 436"/>
                <a:gd name="T42" fmla="*/ 8 w 2285"/>
                <a:gd name="T43" fmla="*/ 392 h 436"/>
                <a:gd name="T44" fmla="*/ 79 w 2285"/>
                <a:gd name="T45" fmla="*/ 385 h 436"/>
                <a:gd name="T46" fmla="*/ 222 w 2285"/>
                <a:gd name="T47" fmla="*/ 369 h 436"/>
                <a:gd name="T48" fmla="*/ 440 w 2285"/>
                <a:gd name="T49" fmla="*/ 369 h 436"/>
                <a:gd name="T50" fmla="*/ 659 w 2285"/>
                <a:gd name="T51" fmla="*/ 369 h 436"/>
                <a:gd name="T52" fmla="*/ 816 w 2285"/>
                <a:gd name="T53" fmla="*/ 385 h 436"/>
                <a:gd name="T54" fmla="*/ 1656 w 2285"/>
                <a:gd name="T55" fmla="*/ 369 h 436"/>
                <a:gd name="T56" fmla="*/ 1875 w 2285"/>
                <a:gd name="T57" fmla="*/ 369 h 436"/>
                <a:gd name="T58" fmla="*/ 2093 w 2285"/>
                <a:gd name="T59" fmla="*/ 369 h 436"/>
                <a:gd name="T60" fmla="*/ 2213 w 2285"/>
                <a:gd name="T61" fmla="*/ 436 h 436"/>
                <a:gd name="T62" fmla="*/ 2239 w 2285"/>
                <a:gd name="T63" fmla="*/ 425 h 436"/>
                <a:gd name="T64" fmla="*/ 2285 w 2285"/>
                <a:gd name="T65" fmla="*/ 367 h 436"/>
                <a:gd name="T66" fmla="*/ 345 w 2285"/>
                <a:gd name="T67" fmla="*/ 337 h 436"/>
                <a:gd name="T68" fmla="*/ 353 w 2285"/>
                <a:gd name="T69" fmla="*/ 337 h 436"/>
                <a:gd name="T70" fmla="*/ 479 w 2285"/>
                <a:gd name="T71" fmla="*/ 211 h 436"/>
                <a:gd name="T72" fmla="*/ 621 w 2285"/>
                <a:gd name="T73" fmla="*/ 337 h 436"/>
                <a:gd name="T74" fmla="*/ 621 w 2285"/>
                <a:gd name="T75" fmla="*/ 211 h 436"/>
                <a:gd name="T76" fmla="*/ 747 w 2285"/>
                <a:gd name="T77" fmla="*/ 337 h 436"/>
                <a:gd name="T78" fmla="*/ 755 w 2285"/>
                <a:gd name="T79" fmla="*/ 337 h 436"/>
                <a:gd name="T80" fmla="*/ 329 w 2285"/>
                <a:gd name="T81" fmla="*/ 42 h 436"/>
                <a:gd name="T82" fmla="*/ 889 w 2285"/>
                <a:gd name="T83" fmla="*/ 337 h 436"/>
                <a:gd name="T84" fmla="*/ 889 w 2285"/>
                <a:gd name="T85" fmla="*/ 211 h 436"/>
                <a:gd name="T86" fmla="*/ 1014 w 2285"/>
                <a:gd name="T87" fmla="*/ 337 h 436"/>
                <a:gd name="T88" fmla="*/ 1022 w 2285"/>
                <a:gd name="T89" fmla="*/ 337 h 436"/>
                <a:gd name="T90" fmla="*/ 1148 w 2285"/>
                <a:gd name="T91" fmla="*/ 211 h 436"/>
                <a:gd name="T92" fmla="*/ 1290 w 2285"/>
                <a:gd name="T93" fmla="*/ 337 h 436"/>
                <a:gd name="T94" fmla="*/ 1290 w 2285"/>
                <a:gd name="T95" fmla="*/ 211 h 436"/>
                <a:gd name="T96" fmla="*/ 1416 w 2285"/>
                <a:gd name="T97" fmla="*/ 337 h 436"/>
                <a:gd name="T98" fmla="*/ 1424 w 2285"/>
                <a:gd name="T99" fmla="*/ 337 h 436"/>
                <a:gd name="T100" fmla="*/ 1550 w 2285"/>
                <a:gd name="T101" fmla="*/ 211 h 436"/>
                <a:gd name="T102" fmla="*/ 1649 w 2285"/>
                <a:gd name="T103" fmla="*/ 300 h 436"/>
                <a:gd name="T104" fmla="*/ 1649 w 2285"/>
                <a:gd name="T105" fmla="*/ 36 h 436"/>
                <a:gd name="T106" fmla="*/ 1710 w 2285"/>
                <a:gd name="T107" fmla="*/ 179 h 436"/>
                <a:gd name="T108" fmla="*/ 1751 w 2285"/>
                <a:gd name="T109" fmla="*/ 179 h 436"/>
                <a:gd name="T110" fmla="*/ 1763 w 2285"/>
                <a:gd name="T111" fmla="*/ 101 h 436"/>
                <a:gd name="T112" fmla="*/ 1866 w 2285"/>
                <a:gd name="T113" fmla="*/ 272 h 436"/>
                <a:gd name="T114" fmla="*/ 1866 w 2285"/>
                <a:gd name="T115" fmla="*/ 156 h 436"/>
                <a:gd name="T116" fmla="*/ 1974 w 2285"/>
                <a:gd name="T117" fmla="*/ 272 h 436"/>
                <a:gd name="T118" fmla="*/ 1982 w 2285"/>
                <a:gd name="T119" fmla="*/ 272 h 4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85" h="436">
                  <a:moveTo>
                    <a:pt x="2277" y="359"/>
                  </a:moveTo>
                  <a:cubicBezTo>
                    <a:pt x="2239" y="359"/>
                    <a:pt x="2239" y="359"/>
                    <a:pt x="2239" y="359"/>
                  </a:cubicBezTo>
                  <a:cubicBezTo>
                    <a:pt x="2235" y="359"/>
                    <a:pt x="2232" y="362"/>
                    <a:pt x="2231" y="366"/>
                  </a:cubicBezTo>
                  <a:cubicBezTo>
                    <a:pt x="2213" y="366"/>
                    <a:pt x="2213" y="366"/>
                    <a:pt x="2213" y="366"/>
                  </a:cubicBezTo>
                  <a:cubicBezTo>
                    <a:pt x="2213" y="339"/>
                    <a:pt x="2213" y="339"/>
                    <a:pt x="2213" y="339"/>
                  </a:cubicBezTo>
                  <a:cubicBezTo>
                    <a:pt x="2213" y="325"/>
                    <a:pt x="2213" y="325"/>
                    <a:pt x="2213" y="325"/>
                  </a:cubicBezTo>
                  <a:cubicBezTo>
                    <a:pt x="2213" y="218"/>
                    <a:pt x="2213" y="218"/>
                    <a:pt x="2213" y="218"/>
                  </a:cubicBezTo>
                  <a:cubicBezTo>
                    <a:pt x="2196" y="218"/>
                    <a:pt x="2196" y="218"/>
                    <a:pt x="2196" y="218"/>
                  </a:cubicBezTo>
                  <a:cubicBezTo>
                    <a:pt x="2196" y="325"/>
                    <a:pt x="2196" y="325"/>
                    <a:pt x="2196" y="325"/>
                  </a:cubicBezTo>
                  <a:cubicBezTo>
                    <a:pt x="2144" y="325"/>
                    <a:pt x="2144" y="325"/>
                    <a:pt x="2144" y="325"/>
                  </a:cubicBezTo>
                  <a:cubicBezTo>
                    <a:pt x="2144" y="218"/>
                    <a:pt x="2144" y="218"/>
                    <a:pt x="2144" y="218"/>
                  </a:cubicBezTo>
                  <a:cubicBezTo>
                    <a:pt x="2127" y="218"/>
                    <a:pt x="2127" y="218"/>
                    <a:pt x="2127" y="218"/>
                  </a:cubicBezTo>
                  <a:cubicBezTo>
                    <a:pt x="2127" y="325"/>
                    <a:pt x="2127" y="325"/>
                    <a:pt x="2127" y="325"/>
                  </a:cubicBezTo>
                  <a:cubicBezTo>
                    <a:pt x="2093" y="325"/>
                    <a:pt x="2093" y="325"/>
                    <a:pt x="2093" y="325"/>
                  </a:cubicBezTo>
                  <a:cubicBezTo>
                    <a:pt x="2093" y="152"/>
                    <a:pt x="2093" y="152"/>
                    <a:pt x="2093" y="152"/>
                  </a:cubicBezTo>
                  <a:cubicBezTo>
                    <a:pt x="2093" y="152"/>
                    <a:pt x="2093" y="140"/>
                    <a:pt x="2066" y="137"/>
                  </a:cubicBezTo>
                  <a:cubicBezTo>
                    <a:pt x="1863" y="137"/>
                    <a:pt x="1863" y="137"/>
                    <a:pt x="1863" y="137"/>
                  </a:cubicBezTo>
                  <a:cubicBezTo>
                    <a:pt x="1863" y="86"/>
                    <a:pt x="1863" y="86"/>
                    <a:pt x="1863" y="86"/>
                  </a:cubicBezTo>
                  <a:cubicBezTo>
                    <a:pt x="1926" y="86"/>
                    <a:pt x="1926" y="86"/>
                    <a:pt x="1926" y="86"/>
                  </a:cubicBezTo>
                  <a:cubicBezTo>
                    <a:pt x="1926" y="86"/>
                    <a:pt x="1914" y="23"/>
                    <a:pt x="1863" y="23"/>
                  </a:cubicBezTo>
                  <a:cubicBezTo>
                    <a:pt x="1589" y="23"/>
                    <a:pt x="1589" y="23"/>
                    <a:pt x="1589" y="23"/>
                  </a:cubicBezTo>
                  <a:cubicBezTo>
                    <a:pt x="1589" y="0"/>
                    <a:pt x="1589" y="0"/>
                    <a:pt x="1589" y="0"/>
                  </a:cubicBezTo>
                  <a:cubicBezTo>
                    <a:pt x="1354" y="0"/>
                    <a:pt x="1354" y="0"/>
                    <a:pt x="1354" y="0"/>
                  </a:cubicBezTo>
                  <a:cubicBezTo>
                    <a:pt x="1354" y="23"/>
                    <a:pt x="1354" y="23"/>
                    <a:pt x="1354" y="23"/>
                  </a:cubicBezTo>
                  <a:cubicBezTo>
                    <a:pt x="1311" y="23"/>
                    <a:pt x="1311" y="23"/>
                    <a:pt x="1311" y="23"/>
                  </a:cubicBezTo>
                  <a:cubicBezTo>
                    <a:pt x="1311" y="0"/>
                    <a:pt x="1311" y="0"/>
                    <a:pt x="1311" y="0"/>
                  </a:cubicBezTo>
                  <a:cubicBezTo>
                    <a:pt x="1254" y="0"/>
                    <a:pt x="1254" y="0"/>
                    <a:pt x="1254" y="0"/>
                  </a:cubicBezTo>
                  <a:cubicBezTo>
                    <a:pt x="1254" y="23"/>
                    <a:pt x="1254" y="23"/>
                    <a:pt x="1254" y="23"/>
                  </a:cubicBezTo>
                  <a:cubicBezTo>
                    <a:pt x="1182" y="23"/>
                    <a:pt x="1182" y="23"/>
                    <a:pt x="1182" y="23"/>
                  </a:cubicBezTo>
                  <a:cubicBezTo>
                    <a:pt x="1182" y="0"/>
                    <a:pt x="1182" y="0"/>
                    <a:pt x="1182" y="0"/>
                  </a:cubicBezTo>
                  <a:cubicBezTo>
                    <a:pt x="1040" y="0"/>
                    <a:pt x="1040" y="0"/>
                    <a:pt x="1040" y="0"/>
                  </a:cubicBezTo>
                  <a:cubicBezTo>
                    <a:pt x="1040" y="23"/>
                    <a:pt x="1040" y="23"/>
                    <a:pt x="1040" y="23"/>
                  </a:cubicBezTo>
                  <a:cubicBezTo>
                    <a:pt x="1021" y="23"/>
                    <a:pt x="1021" y="23"/>
                    <a:pt x="1021" y="23"/>
                  </a:cubicBezTo>
                  <a:cubicBezTo>
                    <a:pt x="1021" y="0"/>
                    <a:pt x="1021" y="0"/>
                    <a:pt x="1021" y="0"/>
                  </a:cubicBezTo>
                  <a:cubicBezTo>
                    <a:pt x="880" y="0"/>
                    <a:pt x="880" y="0"/>
                    <a:pt x="880" y="0"/>
                  </a:cubicBezTo>
                  <a:cubicBezTo>
                    <a:pt x="880" y="23"/>
                    <a:pt x="880" y="23"/>
                    <a:pt x="880" y="23"/>
                  </a:cubicBezTo>
                  <a:cubicBezTo>
                    <a:pt x="793" y="23"/>
                    <a:pt x="793" y="23"/>
                    <a:pt x="793" y="23"/>
                  </a:cubicBezTo>
                  <a:cubicBezTo>
                    <a:pt x="793" y="0"/>
                    <a:pt x="793" y="0"/>
                    <a:pt x="793" y="0"/>
                  </a:cubicBezTo>
                  <a:cubicBezTo>
                    <a:pt x="651" y="0"/>
                    <a:pt x="651" y="0"/>
                    <a:pt x="651" y="0"/>
                  </a:cubicBezTo>
                  <a:cubicBezTo>
                    <a:pt x="651" y="23"/>
                    <a:pt x="651" y="23"/>
                    <a:pt x="651" y="23"/>
                  </a:cubicBezTo>
                  <a:cubicBezTo>
                    <a:pt x="633" y="23"/>
                    <a:pt x="633" y="23"/>
                    <a:pt x="633" y="23"/>
                  </a:cubicBezTo>
                  <a:cubicBezTo>
                    <a:pt x="633" y="0"/>
                    <a:pt x="633" y="0"/>
                    <a:pt x="633" y="0"/>
                  </a:cubicBezTo>
                  <a:cubicBezTo>
                    <a:pt x="491" y="0"/>
                    <a:pt x="491" y="0"/>
                    <a:pt x="491" y="0"/>
                  </a:cubicBezTo>
                  <a:cubicBezTo>
                    <a:pt x="491" y="23"/>
                    <a:pt x="491" y="23"/>
                    <a:pt x="491" y="23"/>
                  </a:cubicBezTo>
                  <a:cubicBezTo>
                    <a:pt x="460" y="23"/>
                    <a:pt x="460" y="23"/>
                    <a:pt x="460" y="23"/>
                  </a:cubicBezTo>
                  <a:cubicBezTo>
                    <a:pt x="460" y="0"/>
                    <a:pt x="460" y="0"/>
                    <a:pt x="460" y="0"/>
                  </a:cubicBezTo>
                  <a:cubicBezTo>
                    <a:pt x="318" y="0"/>
                    <a:pt x="318" y="0"/>
                    <a:pt x="318" y="0"/>
                  </a:cubicBezTo>
                  <a:cubicBezTo>
                    <a:pt x="318" y="23"/>
                    <a:pt x="318" y="23"/>
                    <a:pt x="318" y="23"/>
                  </a:cubicBezTo>
                  <a:cubicBezTo>
                    <a:pt x="273" y="23"/>
                    <a:pt x="273" y="23"/>
                    <a:pt x="273" y="23"/>
                  </a:cubicBezTo>
                  <a:cubicBezTo>
                    <a:pt x="273" y="325"/>
                    <a:pt x="273" y="325"/>
                    <a:pt x="273" y="325"/>
                  </a:cubicBezTo>
                  <a:cubicBezTo>
                    <a:pt x="222" y="325"/>
                    <a:pt x="222" y="325"/>
                    <a:pt x="222" y="325"/>
                  </a:cubicBezTo>
                  <a:cubicBezTo>
                    <a:pt x="222" y="218"/>
                    <a:pt x="222" y="218"/>
                    <a:pt x="222" y="218"/>
                  </a:cubicBezTo>
                  <a:cubicBezTo>
                    <a:pt x="206" y="218"/>
                    <a:pt x="206" y="218"/>
                    <a:pt x="206" y="218"/>
                  </a:cubicBezTo>
                  <a:cubicBezTo>
                    <a:pt x="206" y="325"/>
                    <a:pt x="206" y="325"/>
                    <a:pt x="206" y="325"/>
                  </a:cubicBezTo>
                  <a:cubicBezTo>
                    <a:pt x="104" y="325"/>
                    <a:pt x="104" y="325"/>
                    <a:pt x="104" y="325"/>
                  </a:cubicBezTo>
                  <a:cubicBezTo>
                    <a:pt x="104" y="218"/>
                    <a:pt x="104" y="218"/>
                    <a:pt x="104" y="218"/>
                  </a:cubicBezTo>
                  <a:cubicBezTo>
                    <a:pt x="88" y="218"/>
                    <a:pt x="88" y="218"/>
                    <a:pt x="88" y="218"/>
                  </a:cubicBezTo>
                  <a:cubicBezTo>
                    <a:pt x="88" y="325"/>
                    <a:pt x="88" y="325"/>
                    <a:pt x="88" y="325"/>
                  </a:cubicBezTo>
                  <a:cubicBezTo>
                    <a:pt x="74" y="325"/>
                    <a:pt x="74" y="325"/>
                    <a:pt x="74" y="325"/>
                  </a:cubicBezTo>
                  <a:cubicBezTo>
                    <a:pt x="72" y="334"/>
                    <a:pt x="72" y="334"/>
                    <a:pt x="72" y="334"/>
                  </a:cubicBezTo>
                  <a:cubicBezTo>
                    <a:pt x="53" y="334"/>
                    <a:pt x="53" y="334"/>
                    <a:pt x="53" y="334"/>
                  </a:cubicBezTo>
                  <a:cubicBezTo>
                    <a:pt x="53" y="330"/>
                    <a:pt x="50" y="327"/>
                    <a:pt x="45" y="327"/>
                  </a:cubicBezTo>
                  <a:cubicBezTo>
                    <a:pt x="8" y="327"/>
                    <a:pt x="8" y="327"/>
                    <a:pt x="8" y="327"/>
                  </a:cubicBezTo>
                  <a:cubicBezTo>
                    <a:pt x="3" y="327"/>
                    <a:pt x="0" y="330"/>
                    <a:pt x="0" y="335"/>
                  </a:cubicBezTo>
                  <a:cubicBezTo>
                    <a:pt x="0" y="384"/>
                    <a:pt x="0" y="384"/>
                    <a:pt x="0" y="384"/>
                  </a:cubicBezTo>
                  <a:cubicBezTo>
                    <a:pt x="0" y="389"/>
                    <a:pt x="3" y="392"/>
                    <a:pt x="8" y="392"/>
                  </a:cubicBezTo>
                  <a:cubicBezTo>
                    <a:pt x="45" y="392"/>
                    <a:pt x="45" y="392"/>
                    <a:pt x="45" y="392"/>
                  </a:cubicBezTo>
                  <a:cubicBezTo>
                    <a:pt x="50" y="392"/>
                    <a:pt x="53" y="389"/>
                    <a:pt x="53" y="385"/>
                  </a:cubicBezTo>
                  <a:cubicBezTo>
                    <a:pt x="79" y="385"/>
                    <a:pt x="79" y="385"/>
                    <a:pt x="79" y="385"/>
                  </a:cubicBezTo>
                  <a:cubicBezTo>
                    <a:pt x="82" y="427"/>
                    <a:pt x="82" y="427"/>
                    <a:pt x="82" y="427"/>
                  </a:cubicBezTo>
                  <a:cubicBezTo>
                    <a:pt x="155" y="433"/>
                    <a:pt x="155" y="433"/>
                    <a:pt x="155" y="433"/>
                  </a:cubicBezTo>
                  <a:cubicBezTo>
                    <a:pt x="156" y="398"/>
                    <a:pt x="186" y="369"/>
                    <a:pt x="222" y="369"/>
                  </a:cubicBezTo>
                  <a:cubicBezTo>
                    <a:pt x="252" y="369"/>
                    <a:pt x="278" y="390"/>
                    <a:pt x="286" y="417"/>
                  </a:cubicBezTo>
                  <a:cubicBezTo>
                    <a:pt x="376" y="417"/>
                    <a:pt x="376" y="417"/>
                    <a:pt x="376" y="417"/>
                  </a:cubicBezTo>
                  <a:cubicBezTo>
                    <a:pt x="384" y="390"/>
                    <a:pt x="410" y="369"/>
                    <a:pt x="440" y="369"/>
                  </a:cubicBezTo>
                  <a:cubicBezTo>
                    <a:pt x="471" y="369"/>
                    <a:pt x="496" y="390"/>
                    <a:pt x="504" y="417"/>
                  </a:cubicBezTo>
                  <a:cubicBezTo>
                    <a:pt x="595" y="417"/>
                    <a:pt x="595" y="417"/>
                    <a:pt x="595" y="417"/>
                  </a:cubicBezTo>
                  <a:cubicBezTo>
                    <a:pt x="603" y="390"/>
                    <a:pt x="629" y="369"/>
                    <a:pt x="659" y="369"/>
                  </a:cubicBezTo>
                  <a:cubicBezTo>
                    <a:pt x="676" y="369"/>
                    <a:pt x="691" y="375"/>
                    <a:pt x="702" y="385"/>
                  </a:cubicBezTo>
                  <a:cubicBezTo>
                    <a:pt x="780" y="385"/>
                    <a:pt x="780" y="385"/>
                    <a:pt x="780" y="385"/>
                  </a:cubicBezTo>
                  <a:cubicBezTo>
                    <a:pt x="816" y="385"/>
                    <a:pt x="816" y="385"/>
                    <a:pt x="816" y="385"/>
                  </a:cubicBezTo>
                  <a:cubicBezTo>
                    <a:pt x="1495" y="385"/>
                    <a:pt x="1495" y="385"/>
                    <a:pt x="1495" y="385"/>
                  </a:cubicBezTo>
                  <a:cubicBezTo>
                    <a:pt x="1613" y="385"/>
                    <a:pt x="1613" y="385"/>
                    <a:pt x="1613" y="385"/>
                  </a:cubicBezTo>
                  <a:cubicBezTo>
                    <a:pt x="1624" y="375"/>
                    <a:pt x="1640" y="369"/>
                    <a:pt x="1656" y="369"/>
                  </a:cubicBezTo>
                  <a:cubicBezTo>
                    <a:pt x="1686" y="369"/>
                    <a:pt x="1712" y="390"/>
                    <a:pt x="1720" y="417"/>
                  </a:cubicBezTo>
                  <a:cubicBezTo>
                    <a:pt x="1811" y="417"/>
                    <a:pt x="1811" y="417"/>
                    <a:pt x="1811" y="417"/>
                  </a:cubicBezTo>
                  <a:cubicBezTo>
                    <a:pt x="1819" y="390"/>
                    <a:pt x="1844" y="369"/>
                    <a:pt x="1875" y="369"/>
                  </a:cubicBezTo>
                  <a:cubicBezTo>
                    <a:pt x="1905" y="369"/>
                    <a:pt x="1931" y="390"/>
                    <a:pt x="1939" y="417"/>
                  </a:cubicBezTo>
                  <a:cubicBezTo>
                    <a:pt x="2029" y="417"/>
                    <a:pt x="2029" y="417"/>
                    <a:pt x="2029" y="417"/>
                  </a:cubicBezTo>
                  <a:cubicBezTo>
                    <a:pt x="2037" y="390"/>
                    <a:pt x="2063" y="369"/>
                    <a:pt x="2093" y="369"/>
                  </a:cubicBezTo>
                  <a:cubicBezTo>
                    <a:pt x="2130" y="369"/>
                    <a:pt x="2160" y="399"/>
                    <a:pt x="2160" y="435"/>
                  </a:cubicBezTo>
                  <a:cubicBezTo>
                    <a:pt x="2162" y="436"/>
                    <a:pt x="2162" y="436"/>
                    <a:pt x="2162" y="436"/>
                  </a:cubicBezTo>
                  <a:cubicBezTo>
                    <a:pt x="2213" y="436"/>
                    <a:pt x="2213" y="436"/>
                    <a:pt x="2213" y="436"/>
                  </a:cubicBezTo>
                  <a:cubicBezTo>
                    <a:pt x="2213" y="417"/>
                    <a:pt x="2213" y="417"/>
                    <a:pt x="2213" y="417"/>
                  </a:cubicBezTo>
                  <a:cubicBezTo>
                    <a:pt x="2231" y="417"/>
                    <a:pt x="2231" y="417"/>
                    <a:pt x="2231" y="417"/>
                  </a:cubicBezTo>
                  <a:cubicBezTo>
                    <a:pt x="2232" y="421"/>
                    <a:pt x="2235" y="425"/>
                    <a:pt x="2239" y="425"/>
                  </a:cubicBezTo>
                  <a:cubicBezTo>
                    <a:pt x="2277" y="425"/>
                    <a:pt x="2277" y="425"/>
                    <a:pt x="2277" y="425"/>
                  </a:cubicBezTo>
                  <a:cubicBezTo>
                    <a:pt x="2281" y="425"/>
                    <a:pt x="2285" y="421"/>
                    <a:pt x="2285" y="417"/>
                  </a:cubicBezTo>
                  <a:cubicBezTo>
                    <a:pt x="2285" y="367"/>
                    <a:pt x="2285" y="367"/>
                    <a:pt x="2285" y="367"/>
                  </a:cubicBezTo>
                  <a:cubicBezTo>
                    <a:pt x="2285" y="362"/>
                    <a:pt x="2281" y="359"/>
                    <a:pt x="2277" y="359"/>
                  </a:cubicBezTo>
                  <a:close/>
                  <a:moveTo>
                    <a:pt x="353" y="337"/>
                  </a:moveTo>
                  <a:cubicBezTo>
                    <a:pt x="345" y="337"/>
                    <a:pt x="345" y="337"/>
                    <a:pt x="345" y="337"/>
                  </a:cubicBezTo>
                  <a:cubicBezTo>
                    <a:pt x="345" y="211"/>
                    <a:pt x="345" y="211"/>
                    <a:pt x="345" y="211"/>
                  </a:cubicBezTo>
                  <a:cubicBezTo>
                    <a:pt x="353" y="211"/>
                    <a:pt x="353" y="211"/>
                    <a:pt x="353" y="211"/>
                  </a:cubicBezTo>
                  <a:lnTo>
                    <a:pt x="353" y="337"/>
                  </a:lnTo>
                  <a:close/>
                  <a:moveTo>
                    <a:pt x="487" y="337"/>
                  </a:moveTo>
                  <a:cubicBezTo>
                    <a:pt x="479" y="337"/>
                    <a:pt x="479" y="337"/>
                    <a:pt x="479" y="337"/>
                  </a:cubicBezTo>
                  <a:cubicBezTo>
                    <a:pt x="479" y="211"/>
                    <a:pt x="479" y="211"/>
                    <a:pt x="479" y="211"/>
                  </a:cubicBezTo>
                  <a:cubicBezTo>
                    <a:pt x="487" y="211"/>
                    <a:pt x="487" y="211"/>
                    <a:pt x="487" y="211"/>
                  </a:cubicBezTo>
                  <a:lnTo>
                    <a:pt x="487" y="337"/>
                  </a:lnTo>
                  <a:close/>
                  <a:moveTo>
                    <a:pt x="621" y="337"/>
                  </a:moveTo>
                  <a:cubicBezTo>
                    <a:pt x="613" y="337"/>
                    <a:pt x="613" y="337"/>
                    <a:pt x="613" y="337"/>
                  </a:cubicBezTo>
                  <a:cubicBezTo>
                    <a:pt x="613" y="211"/>
                    <a:pt x="613" y="211"/>
                    <a:pt x="613" y="211"/>
                  </a:cubicBezTo>
                  <a:cubicBezTo>
                    <a:pt x="621" y="211"/>
                    <a:pt x="621" y="211"/>
                    <a:pt x="621" y="211"/>
                  </a:cubicBezTo>
                  <a:lnTo>
                    <a:pt x="621" y="337"/>
                  </a:lnTo>
                  <a:close/>
                  <a:moveTo>
                    <a:pt x="755" y="337"/>
                  </a:moveTo>
                  <a:cubicBezTo>
                    <a:pt x="747" y="337"/>
                    <a:pt x="747" y="337"/>
                    <a:pt x="747" y="337"/>
                  </a:cubicBezTo>
                  <a:cubicBezTo>
                    <a:pt x="747" y="211"/>
                    <a:pt x="747" y="211"/>
                    <a:pt x="747" y="211"/>
                  </a:cubicBezTo>
                  <a:cubicBezTo>
                    <a:pt x="755" y="211"/>
                    <a:pt x="755" y="211"/>
                    <a:pt x="755" y="211"/>
                  </a:cubicBezTo>
                  <a:lnTo>
                    <a:pt x="755" y="337"/>
                  </a:lnTo>
                  <a:close/>
                  <a:moveTo>
                    <a:pt x="817" y="192"/>
                  </a:moveTo>
                  <a:cubicBezTo>
                    <a:pt x="329" y="192"/>
                    <a:pt x="329" y="192"/>
                    <a:pt x="329" y="192"/>
                  </a:cubicBezTo>
                  <a:cubicBezTo>
                    <a:pt x="329" y="42"/>
                    <a:pt x="329" y="42"/>
                    <a:pt x="329" y="42"/>
                  </a:cubicBezTo>
                  <a:cubicBezTo>
                    <a:pt x="817" y="42"/>
                    <a:pt x="817" y="42"/>
                    <a:pt x="817" y="42"/>
                  </a:cubicBezTo>
                  <a:lnTo>
                    <a:pt x="817" y="192"/>
                  </a:lnTo>
                  <a:close/>
                  <a:moveTo>
                    <a:pt x="889" y="337"/>
                  </a:moveTo>
                  <a:cubicBezTo>
                    <a:pt x="880" y="337"/>
                    <a:pt x="880" y="337"/>
                    <a:pt x="880" y="337"/>
                  </a:cubicBezTo>
                  <a:cubicBezTo>
                    <a:pt x="880" y="211"/>
                    <a:pt x="880" y="211"/>
                    <a:pt x="880" y="211"/>
                  </a:cubicBezTo>
                  <a:cubicBezTo>
                    <a:pt x="889" y="211"/>
                    <a:pt x="889" y="211"/>
                    <a:pt x="889" y="211"/>
                  </a:cubicBezTo>
                  <a:lnTo>
                    <a:pt x="889" y="337"/>
                  </a:lnTo>
                  <a:close/>
                  <a:moveTo>
                    <a:pt x="1022" y="337"/>
                  </a:moveTo>
                  <a:cubicBezTo>
                    <a:pt x="1014" y="337"/>
                    <a:pt x="1014" y="337"/>
                    <a:pt x="1014" y="337"/>
                  </a:cubicBezTo>
                  <a:cubicBezTo>
                    <a:pt x="1014" y="211"/>
                    <a:pt x="1014" y="211"/>
                    <a:pt x="1014" y="211"/>
                  </a:cubicBezTo>
                  <a:cubicBezTo>
                    <a:pt x="1022" y="211"/>
                    <a:pt x="1022" y="211"/>
                    <a:pt x="1022" y="211"/>
                  </a:cubicBezTo>
                  <a:lnTo>
                    <a:pt x="1022" y="337"/>
                  </a:lnTo>
                  <a:close/>
                  <a:moveTo>
                    <a:pt x="1156" y="337"/>
                  </a:moveTo>
                  <a:cubicBezTo>
                    <a:pt x="1148" y="337"/>
                    <a:pt x="1148" y="337"/>
                    <a:pt x="1148" y="337"/>
                  </a:cubicBezTo>
                  <a:cubicBezTo>
                    <a:pt x="1148" y="211"/>
                    <a:pt x="1148" y="211"/>
                    <a:pt x="1148" y="211"/>
                  </a:cubicBezTo>
                  <a:cubicBezTo>
                    <a:pt x="1156" y="211"/>
                    <a:pt x="1156" y="211"/>
                    <a:pt x="1156" y="211"/>
                  </a:cubicBezTo>
                  <a:lnTo>
                    <a:pt x="1156" y="337"/>
                  </a:lnTo>
                  <a:close/>
                  <a:moveTo>
                    <a:pt x="1290" y="337"/>
                  </a:moveTo>
                  <a:cubicBezTo>
                    <a:pt x="1282" y="337"/>
                    <a:pt x="1282" y="337"/>
                    <a:pt x="1282" y="337"/>
                  </a:cubicBezTo>
                  <a:cubicBezTo>
                    <a:pt x="1282" y="211"/>
                    <a:pt x="1282" y="211"/>
                    <a:pt x="1282" y="211"/>
                  </a:cubicBezTo>
                  <a:cubicBezTo>
                    <a:pt x="1290" y="211"/>
                    <a:pt x="1290" y="211"/>
                    <a:pt x="1290" y="211"/>
                  </a:cubicBezTo>
                  <a:lnTo>
                    <a:pt x="1290" y="337"/>
                  </a:lnTo>
                  <a:close/>
                  <a:moveTo>
                    <a:pt x="1424" y="337"/>
                  </a:moveTo>
                  <a:cubicBezTo>
                    <a:pt x="1416" y="337"/>
                    <a:pt x="1416" y="337"/>
                    <a:pt x="1416" y="337"/>
                  </a:cubicBezTo>
                  <a:cubicBezTo>
                    <a:pt x="1416" y="211"/>
                    <a:pt x="1416" y="211"/>
                    <a:pt x="1416" y="211"/>
                  </a:cubicBezTo>
                  <a:cubicBezTo>
                    <a:pt x="1424" y="211"/>
                    <a:pt x="1424" y="211"/>
                    <a:pt x="1424" y="211"/>
                  </a:cubicBezTo>
                  <a:lnTo>
                    <a:pt x="1424" y="337"/>
                  </a:lnTo>
                  <a:close/>
                  <a:moveTo>
                    <a:pt x="1558" y="337"/>
                  </a:moveTo>
                  <a:cubicBezTo>
                    <a:pt x="1550" y="337"/>
                    <a:pt x="1550" y="337"/>
                    <a:pt x="1550" y="337"/>
                  </a:cubicBezTo>
                  <a:cubicBezTo>
                    <a:pt x="1550" y="211"/>
                    <a:pt x="1550" y="211"/>
                    <a:pt x="1550" y="211"/>
                  </a:cubicBezTo>
                  <a:cubicBezTo>
                    <a:pt x="1558" y="211"/>
                    <a:pt x="1558" y="211"/>
                    <a:pt x="1558" y="211"/>
                  </a:cubicBezTo>
                  <a:lnTo>
                    <a:pt x="1558" y="337"/>
                  </a:lnTo>
                  <a:close/>
                  <a:moveTo>
                    <a:pt x="1649" y="300"/>
                  </a:moveTo>
                  <a:cubicBezTo>
                    <a:pt x="1641" y="300"/>
                    <a:pt x="1641" y="300"/>
                    <a:pt x="1641" y="300"/>
                  </a:cubicBezTo>
                  <a:cubicBezTo>
                    <a:pt x="1641" y="36"/>
                    <a:pt x="1641" y="36"/>
                    <a:pt x="1641" y="36"/>
                  </a:cubicBezTo>
                  <a:cubicBezTo>
                    <a:pt x="1649" y="36"/>
                    <a:pt x="1649" y="36"/>
                    <a:pt x="1649" y="36"/>
                  </a:cubicBezTo>
                  <a:lnTo>
                    <a:pt x="1649" y="300"/>
                  </a:lnTo>
                  <a:close/>
                  <a:moveTo>
                    <a:pt x="1751" y="179"/>
                  </a:moveTo>
                  <a:cubicBezTo>
                    <a:pt x="1710" y="179"/>
                    <a:pt x="1710" y="179"/>
                    <a:pt x="1710" y="179"/>
                  </a:cubicBezTo>
                  <a:cubicBezTo>
                    <a:pt x="1710" y="101"/>
                    <a:pt x="1710" y="101"/>
                    <a:pt x="1710" y="101"/>
                  </a:cubicBezTo>
                  <a:cubicBezTo>
                    <a:pt x="1751" y="101"/>
                    <a:pt x="1751" y="101"/>
                    <a:pt x="1751" y="101"/>
                  </a:cubicBezTo>
                  <a:lnTo>
                    <a:pt x="1751" y="179"/>
                  </a:lnTo>
                  <a:close/>
                  <a:moveTo>
                    <a:pt x="1804" y="179"/>
                  </a:moveTo>
                  <a:cubicBezTo>
                    <a:pt x="1763" y="179"/>
                    <a:pt x="1763" y="179"/>
                    <a:pt x="1763" y="179"/>
                  </a:cubicBezTo>
                  <a:cubicBezTo>
                    <a:pt x="1763" y="101"/>
                    <a:pt x="1763" y="101"/>
                    <a:pt x="1763" y="101"/>
                  </a:cubicBezTo>
                  <a:cubicBezTo>
                    <a:pt x="1804" y="101"/>
                    <a:pt x="1804" y="101"/>
                    <a:pt x="1804" y="101"/>
                  </a:cubicBezTo>
                  <a:lnTo>
                    <a:pt x="1804" y="179"/>
                  </a:lnTo>
                  <a:close/>
                  <a:moveTo>
                    <a:pt x="1866" y="272"/>
                  </a:moveTo>
                  <a:cubicBezTo>
                    <a:pt x="1858" y="272"/>
                    <a:pt x="1858" y="272"/>
                    <a:pt x="1858" y="272"/>
                  </a:cubicBezTo>
                  <a:cubicBezTo>
                    <a:pt x="1858" y="156"/>
                    <a:pt x="1858" y="156"/>
                    <a:pt x="1858" y="156"/>
                  </a:cubicBezTo>
                  <a:cubicBezTo>
                    <a:pt x="1866" y="156"/>
                    <a:pt x="1866" y="156"/>
                    <a:pt x="1866" y="156"/>
                  </a:cubicBezTo>
                  <a:lnTo>
                    <a:pt x="1866" y="272"/>
                  </a:lnTo>
                  <a:close/>
                  <a:moveTo>
                    <a:pt x="1982" y="272"/>
                  </a:moveTo>
                  <a:cubicBezTo>
                    <a:pt x="1974" y="272"/>
                    <a:pt x="1974" y="272"/>
                    <a:pt x="1974" y="272"/>
                  </a:cubicBezTo>
                  <a:cubicBezTo>
                    <a:pt x="1974" y="156"/>
                    <a:pt x="1974" y="156"/>
                    <a:pt x="1974" y="156"/>
                  </a:cubicBezTo>
                  <a:cubicBezTo>
                    <a:pt x="1982" y="156"/>
                    <a:pt x="1982" y="156"/>
                    <a:pt x="1982" y="156"/>
                  </a:cubicBezTo>
                  <a:lnTo>
                    <a:pt x="1982" y="2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47" name="Oval 132"/>
            <p:cNvSpPr>
              <a:spLocks noChangeArrowheads="1"/>
            </p:cNvSpPr>
            <p:nvPr userDrawn="1"/>
          </p:nvSpPr>
          <p:spPr bwMode="auto">
            <a:xfrm>
              <a:off x="3525" y="1104"/>
              <a:ext cx="16" cy="1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48" name="Oval 133"/>
            <p:cNvSpPr>
              <a:spLocks noChangeArrowheads="1"/>
            </p:cNvSpPr>
            <p:nvPr userDrawn="1"/>
          </p:nvSpPr>
          <p:spPr bwMode="auto">
            <a:xfrm>
              <a:off x="3551" y="1104"/>
              <a:ext cx="16" cy="1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49" name="Oval 134"/>
            <p:cNvSpPr>
              <a:spLocks noChangeArrowheads="1"/>
            </p:cNvSpPr>
            <p:nvPr userDrawn="1"/>
          </p:nvSpPr>
          <p:spPr bwMode="auto">
            <a:xfrm>
              <a:off x="3352" y="1104"/>
              <a:ext cx="16" cy="1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0" name="Oval 135"/>
            <p:cNvSpPr>
              <a:spLocks noChangeArrowheads="1"/>
            </p:cNvSpPr>
            <p:nvPr userDrawn="1"/>
          </p:nvSpPr>
          <p:spPr bwMode="auto">
            <a:xfrm>
              <a:off x="3327" y="1104"/>
              <a:ext cx="15" cy="1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1" name="Freeform 136"/>
            <p:cNvSpPr>
              <a:spLocks noEditPoints="1"/>
            </p:cNvSpPr>
            <p:nvPr userDrawn="1"/>
          </p:nvSpPr>
          <p:spPr bwMode="auto">
            <a:xfrm>
              <a:off x="3293" y="1047"/>
              <a:ext cx="307" cy="66"/>
            </a:xfrm>
            <a:custGeom>
              <a:avLst/>
              <a:gdLst>
                <a:gd name="T0" fmla="*/ 1960 w 1993"/>
                <a:gd name="T1" fmla="*/ 313 h 428"/>
                <a:gd name="T2" fmla="*/ 1922 w 1993"/>
                <a:gd name="T3" fmla="*/ 312 h 428"/>
                <a:gd name="T4" fmla="*/ 1922 w 1993"/>
                <a:gd name="T5" fmla="*/ 0 h 428"/>
                <a:gd name="T6" fmla="*/ 71 w 1993"/>
                <a:gd name="T7" fmla="*/ 31 h 428"/>
                <a:gd name="T8" fmla="*/ 41 w 1993"/>
                <a:gd name="T9" fmla="*/ 312 h 428"/>
                <a:gd name="T10" fmla="*/ 17 w 1993"/>
                <a:gd name="T11" fmla="*/ 290 h 428"/>
                <a:gd name="T12" fmla="*/ 17 w 1993"/>
                <a:gd name="T13" fmla="*/ 381 h 428"/>
                <a:gd name="T14" fmla="*/ 41 w 1993"/>
                <a:gd name="T15" fmla="*/ 358 h 428"/>
                <a:gd name="T16" fmla="*/ 71 w 1993"/>
                <a:gd name="T17" fmla="*/ 366 h 428"/>
                <a:gd name="T18" fmla="*/ 206 w 1993"/>
                <a:gd name="T19" fmla="*/ 398 h 428"/>
                <a:gd name="T20" fmla="*/ 336 w 1993"/>
                <a:gd name="T21" fmla="*/ 416 h 428"/>
                <a:gd name="T22" fmla="*/ 353 w 1993"/>
                <a:gd name="T23" fmla="*/ 428 h 428"/>
                <a:gd name="T24" fmla="*/ 370 w 1993"/>
                <a:gd name="T25" fmla="*/ 416 h 428"/>
                <a:gd name="T26" fmla="*/ 500 w 1993"/>
                <a:gd name="T27" fmla="*/ 398 h 428"/>
                <a:gd name="T28" fmla="*/ 1445 w 1993"/>
                <a:gd name="T29" fmla="*/ 366 h 428"/>
                <a:gd name="T30" fmla="*/ 1556 w 1993"/>
                <a:gd name="T31" fmla="*/ 352 h 428"/>
                <a:gd name="T32" fmla="*/ 1626 w 1993"/>
                <a:gd name="T33" fmla="*/ 428 h 428"/>
                <a:gd name="T34" fmla="*/ 1654 w 1993"/>
                <a:gd name="T35" fmla="*/ 428 h 428"/>
                <a:gd name="T36" fmla="*/ 1724 w 1993"/>
                <a:gd name="T37" fmla="*/ 352 h 428"/>
                <a:gd name="T38" fmla="*/ 1836 w 1993"/>
                <a:gd name="T39" fmla="*/ 366 h 428"/>
                <a:gd name="T40" fmla="*/ 1922 w 1993"/>
                <a:gd name="T41" fmla="*/ 358 h 428"/>
                <a:gd name="T42" fmla="*/ 1960 w 1993"/>
                <a:gd name="T43" fmla="*/ 357 h 428"/>
                <a:gd name="T44" fmla="*/ 1993 w 1993"/>
                <a:gd name="T45" fmla="*/ 335 h 428"/>
                <a:gd name="T46" fmla="*/ 247 w 1993"/>
                <a:gd name="T47" fmla="*/ 312 h 428"/>
                <a:gd name="T48" fmla="*/ 232 w 1993"/>
                <a:gd name="T49" fmla="*/ 31 h 428"/>
                <a:gd name="T50" fmla="*/ 247 w 1993"/>
                <a:gd name="T51" fmla="*/ 312 h 428"/>
                <a:gd name="T52" fmla="*/ 448 w 1993"/>
                <a:gd name="T53" fmla="*/ 312 h 428"/>
                <a:gd name="T54" fmla="*/ 463 w 1993"/>
                <a:gd name="T55" fmla="*/ 31 h 428"/>
                <a:gd name="T56" fmla="*/ 679 w 1993"/>
                <a:gd name="T57" fmla="*/ 312 h 428"/>
                <a:gd name="T58" fmla="*/ 665 w 1993"/>
                <a:gd name="T59" fmla="*/ 31 h 428"/>
                <a:gd name="T60" fmla="*/ 679 w 1993"/>
                <a:gd name="T61" fmla="*/ 312 h 428"/>
                <a:gd name="T62" fmla="*/ 881 w 1993"/>
                <a:gd name="T63" fmla="*/ 312 h 428"/>
                <a:gd name="T64" fmla="*/ 896 w 1993"/>
                <a:gd name="T65" fmla="*/ 31 h 428"/>
                <a:gd name="T66" fmla="*/ 1112 w 1993"/>
                <a:gd name="T67" fmla="*/ 312 h 428"/>
                <a:gd name="T68" fmla="*/ 1097 w 1993"/>
                <a:gd name="T69" fmla="*/ 31 h 428"/>
                <a:gd name="T70" fmla="*/ 1112 w 1993"/>
                <a:gd name="T71" fmla="*/ 312 h 428"/>
                <a:gd name="T72" fmla="*/ 1314 w 1993"/>
                <a:gd name="T73" fmla="*/ 312 h 428"/>
                <a:gd name="T74" fmla="*/ 1328 w 1993"/>
                <a:gd name="T75" fmla="*/ 31 h 428"/>
                <a:gd name="T76" fmla="*/ 1545 w 1993"/>
                <a:gd name="T77" fmla="*/ 312 h 428"/>
                <a:gd name="T78" fmla="*/ 1530 w 1993"/>
                <a:gd name="T79" fmla="*/ 31 h 428"/>
                <a:gd name="T80" fmla="*/ 1545 w 1993"/>
                <a:gd name="T81" fmla="*/ 312 h 428"/>
                <a:gd name="T82" fmla="*/ 1746 w 1993"/>
                <a:gd name="T83" fmla="*/ 312 h 428"/>
                <a:gd name="T84" fmla="*/ 1761 w 1993"/>
                <a:gd name="T85" fmla="*/ 31 h 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993" h="428">
                  <a:moveTo>
                    <a:pt x="1976" y="290"/>
                  </a:moveTo>
                  <a:cubicBezTo>
                    <a:pt x="1969" y="290"/>
                    <a:pt x="1963" y="299"/>
                    <a:pt x="1960" y="313"/>
                  </a:cubicBezTo>
                  <a:cubicBezTo>
                    <a:pt x="1958" y="313"/>
                    <a:pt x="1955" y="312"/>
                    <a:pt x="1953" y="312"/>
                  </a:cubicBezTo>
                  <a:cubicBezTo>
                    <a:pt x="1922" y="312"/>
                    <a:pt x="1922" y="312"/>
                    <a:pt x="1922" y="312"/>
                  </a:cubicBezTo>
                  <a:cubicBezTo>
                    <a:pt x="1922" y="31"/>
                    <a:pt x="1922" y="31"/>
                    <a:pt x="1922" y="31"/>
                  </a:cubicBezTo>
                  <a:cubicBezTo>
                    <a:pt x="1922" y="0"/>
                    <a:pt x="1922" y="0"/>
                    <a:pt x="1922" y="0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71" y="31"/>
                    <a:pt x="71" y="31"/>
                    <a:pt x="71" y="31"/>
                  </a:cubicBezTo>
                  <a:cubicBezTo>
                    <a:pt x="71" y="312"/>
                    <a:pt x="71" y="312"/>
                    <a:pt x="71" y="312"/>
                  </a:cubicBezTo>
                  <a:cubicBezTo>
                    <a:pt x="41" y="312"/>
                    <a:pt x="41" y="312"/>
                    <a:pt x="41" y="312"/>
                  </a:cubicBezTo>
                  <a:cubicBezTo>
                    <a:pt x="38" y="312"/>
                    <a:pt x="35" y="313"/>
                    <a:pt x="33" y="313"/>
                  </a:cubicBezTo>
                  <a:cubicBezTo>
                    <a:pt x="30" y="299"/>
                    <a:pt x="24" y="290"/>
                    <a:pt x="17" y="290"/>
                  </a:cubicBezTo>
                  <a:cubicBezTo>
                    <a:pt x="8" y="290"/>
                    <a:pt x="0" y="310"/>
                    <a:pt x="0" y="335"/>
                  </a:cubicBezTo>
                  <a:cubicBezTo>
                    <a:pt x="0" y="360"/>
                    <a:pt x="8" y="381"/>
                    <a:pt x="17" y="381"/>
                  </a:cubicBezTo>
                  <a:cubicBezTo>
                    <a:pt x="24" y="381"/>
                    <a:pt x="30" y="371"/>
                    <a:pt x="33" y="357"/>
                  </a:cubicBezTo>
                  <a:cubicBezTo>
                    <a:pt x="35" y="358"/>
                    <a:pt x="38" y="358"/>
                    <a:pt x="41" y="358"/>
                  </a:cubicBezTo>
                  <a:cubicBezTo>
                    <a:pt x="71" y="358"/>
                    <a:pt x="71" y="358"/>
                    <a:pt x="71" y="358"/>
                  </a:cubicBezTo>
                  <a:cubicBezTo>
                    <a:pt x="71" y="366"/>
                    <a:pt x="71" y="366"/>
                    <a:pt x="71" y="366"/>
                  </a:cubicBezTo>
                  <a:cubicBezTo>
                    <a:pt x="157" y="366"/>
                    <a:pt x="157" y="366"/>
                    <a:pt x="157" y="366"/>
                  </a:cubicBezTo>
                  <a:cubicBezTo>
                    <a:pt x="206" y="398"/>
                    <a:pt x="206" y="398"/>
                    <a:pt x="206" y="398"/>
                  </a:cubicBezTo>
                  <a:cubicBezTo>
                    <a:pt x="215" y="371"/>
                    <a:pt x="240" y="352"/>
                    <a:pt x="269" y="352"/>
                  </a:cubicBezTo>
                  <a:cubicBezTo>
                    <a:pt x="304" y="352"/>
                    <a:pt x="334" y="380"/>
                    <a:pt x="336" y="416"/>
                  </a:cubicBezTo>
                  <a:cubicBezTo>
                    <a:pt x="337" y="419"/>
                    <a:pt x="338" y="424"/>
                    <a:pt x="339" y="428"/>
                  </a:cubicBezTo>
                  <a:cubicBezTo>
                    <a:pt x="353" y="428"/>
                    <a:pt x="353" y="428"/>
                    <a:pt x="353" y="428"/>
                  </a:cubicBezTo>
                  <a:cubicBezTo>
                    <a:pt x="367" y="428"/>
                    <a:pt x="367" y="428"/>
                    <a:pt x="367" y="428"/>
                  </a:cubicBezTo>
                  <a:cubicBezTo>
                    <a:pt x="367" y="424"/>
                    <a:pt x="368" y="419"/>
                    <a:pt x="370" y="416"/>
                  </a:cubicBezTo>
                  <a:cubicBezTo>
                    <a:pt x="372" y="380"/>
                    <a:pt x="401" y="352"/>
                    <a:pt x="437" y="352"/>
                  </a:cubicBezTo>
                  <a:cubicBezTo>
                    <a:pt x="466" y="352"/>
                    <a:pt x="491" y="371"/>
                    <a:pt x="500" y="398"/>
                  </a:cubicBezTo>
                  <a:cubicBezTo>
                    <a:pt x="548" y="366"/>
                    <a:pt x="548" y="366"/>
                    <a:pt x="548" y="366"/>
                  </a:cubicBezTo>
                  <a:cubicBezTo>
                    <a:pt x="1445" y="366"/>
                    <a:pt x="1445" y="366"/>
                    <a:pt x="1445" y="366"/>
                  </a:cubicBezTo>
                  <a:cubicBezTo>
                    <a:pt x="1493" y="398"/>
                    <a:pt x="1493" y="398"/>
                    <a:pt x="1493" y="398"/>
                  </a:cubicBezTo>
                  <a:cubicBezTo>
                    <a:pt x="1502" y="371"/>
                    <a:pt x="1527" y="352"/>
                    <a:pt x="1556" y="352"/>
                  </a:cubicBezTo>
                  <a:cubicBezTo>
                    <a:pt x="1592" y="352"/>
                    <a:pt x="1621" y="380"/>
                    <a:pt x="1623" y="416"/>
                  </a:cubicBezTo>
                  <a:cubicBezTo>
                    <a:pt x="1625" y="419"/>
                    <a:pt x="1626" y="424"/>
                    <a:pt x="1626" y="428"/>
                  </a:cubicBezTo>
                  <a:cubicBezTo>
                    <a:pt x="1640" y="428"/>
                    <a:pt x="1640" y="428"/>
                    <a:pt x="1640" y="428"/>
                  </a:cubicBezTo>
                  <a:cubicBezTo>
                    <a:pt x="1654" y="428"/>
                    <a:pt x="1654" y="428"/>
                    <a:pt x="1654" y="428"/>
                  </a:cubicBezTo>
                  <a:cubicBezTo>
                    <a:pt x="1655" y="424"/>
                    <a:pt x="1656" y="419"/>
                    <a:pt x="1658" y="416"/>
                  </a:cubicBezTo>
                  <a:cubicBezTo>
                    <a:pt x="1660" y="380"/>
                    <a:pt x="1689" y="352"/>
                    <a:pt x="1724" y="352"/>
                  </a:cubicBezTo>
                  <a:cubicBezTo>
                    <a:pt x="1754" y="352"/>
                    <a:pt x="1778" y="371"/>
                    <a:pt x="1787" y="398"/>
                  </a:cubicBezTo>
                  <a:cubicBezTo>
                    <a:pt x="1836" y="366"/>
                    <a:pt x="1836" y="366"/>
                    <a:pt x="1836" y="366"/>
                  </a:cubicBezTo>
                  <a:cubicBezTo>
                    <a:pt x="1922" y="366"/>
                    <a:pt x="1922" y="366"/>
                    <a:pt x="1922" y="366"/>
                  </a:cubicBezTo>
                  <a:cubicBezTo>
                    <a:pt x="1922" y="358"/>
                    <a:pt x="1922" y="358"/>
                    <a:pt x="1922" y="358"/>
                  </a:cubicBezTo>
                  <a:cubicBezTo>
                    <a:pt x="1953" y="358"/>
                    <a:pt x="1953" y="358"/>
                    <a:pt x="1953" y="358"/>
                  </a:cubicBezTo>
                  <a:cubicBezTo>
                    <a:pt x="1955" y="358"/>
                    <a:pt x="1958" y="358"/>
                    <a:pt x="1960" y="357"/>
                  </a:cubicBezTo>
                  <a:cubicBezTo>
                    <a:pt x="1963" y="371"/>
                    <a:pt x="1969" y="381"/>
                    <a:pt x="1976" y="381"/>
                  </a:cubicBezTo>
                  <a:cubicBezTo>
                    <a:pt x="1985" y="381"/>
                    <a:pt x="1993" y="360"/>
                    <a:pt x="1993" y="335"/>
                  </a:cubicBezTo>
                  <a:cubicBezTo>
                    <a:pt x="1993" y="310"/>
                    <a:pt x="1985" y="290"/>
                    <a:pt x="1976" y="290"/>
                  </a:cubicBezTo>
                  <a:close/>
                  <a:moveTo>
                    <a:pt x="247" y="312"/>
                  </a:moveTo>
                  <a:cubicBezTo>
                    <a:pt x="232" y="312"/>
                    <a:pt x="232" y="312"/>
                    <a:pt x="232" y="312"/>
                  </a:cubicBezTo>
                  <a:cubicBezTo>
                    <a:pt x="232" y="31"/>
                    <a:pt x="232" y="31"/>
                    <a:pt x="232" y="31"/>
                  </a:cubicBezTo>
                  <a:cubicBezTo>
                    <a:pt x="247" y="31"/>
                    <a:pt x="247" y="31"/>
                    <a:pt x="247" y="31"/>
                  </a:cubicBezTo>
                  <a:lnTo>
                    <a:pt x="247" y="312"/>
                  </a:lnTo>
                  <a:close/>
                  <a:moveTo>
                    <a:pt x="463" y="312"/>
                  </a:moveTo>
                  <a:cubicBezTo>
                    <a:pt x="448" y="312"/>
                    <a:pt x="448" y="312"/>
                    <a:pt x="448" y="312"/>
                  </a:cubicBezTo>
                  <a:cubicBezTo>
                    <a:pt x="448" y="31"/>
                    <a:pt x="448" y="31"/>
                    <a:pt x="448" y="31"/>
                  </a:cubicBezTo>
                  <a:cubicBezTo>
                    <a:pt x="463" y="31"/>
                    <a:pt x="463" y="31"/>
                    <a:pt x="463" y="31"/>
                  </a:cubicBezTo>
                  <a:lnTo>
                    <a:pt x="463" y="312"/>
                  </a:lnTo>
                  <a:close/>
                  <a:moveTo>
                    <a:pt x="679" y="312"/>
                  </a:moveTo>
                  <a:cubicBezTo>
                    <a:pt x="665" y="312"/>
                    <a:pt x="665" y="312"/>
                    <a:pt x="665" y="312"/>
                  </a:cubicBezTo>
                  <a:cubicBezTo>
                    <a:pt x="665" y="31"/>
                    <a:pt x="665" y="31"/>
                    <a:pt x="665" y="31"/>
                  </a:cubicBezTo>
                  <a:cubicBezTo>
                    <a:pt x="679" y="31"/>
                    <a:pt x="679" y="31"/>
                    <a:pt x="679" y="31"/>
                  </a:cubicBezTo>
                  <a:lnTo>
                    <a:pt x="679" y="312"/>
                  </a:lnTo>
                  <a:close/>
                  <a:moveTo>
                    <a:pt x="896" y="312"/>
                  </a:moveTo>
                  <a:cubicBezTo>
                    <a:pt x="881" y="312"/>
                    <a:pt x="881" y="312"/>
                    <a:pt x="881" y="312"/>
                  </a:cubicBezTo>
                  <a:cubicBezTo>
                    <a:pt x="881" y="31"/>
                    <a:pt x="881" y="31"/>
                    <a:pt x="881" y="31"/>
                  </a:cubicBezTo>
                  <a:cubicBezTo>
                    <a:pt x="896" y="31"/>
                    <a:pt x="896" y="31"/>
                    <a:pt x="896" y="31"/>
                  </a:cubicBezTo>
                  <a:lnTo>
                    <a:pt x="896" y="312"/>
                  </a:lnTo>
                  <a:close/>
                  <a:moveTo>
                    <a:pt x="1112" y="312"/>
                  </a:moveTo>
                  <a:cubicBezTo>
                    <a:pt x="1097" y="312"/>
                    <a:pt x="1097" y="312"/>
                    <a:pt x="1097" y="312"/>
                  </a:cubicBezTo>
                  <a:cubicBezTo>
                    <a:pt x="1097" y="31"/>
                    <a:pt x="1097" y="31"/>
                    <a:pt x="1097" y="31"/>
                  </a:cubicBezTo>
                  <a:cubicBezTo>
                    <a:pt x="1112" y="31"/>
                    <a:pt x="1112" y="31"/>
                    <a:pt x="1112" y="31"/>
                  </a:cubicBezTo>
                  <a:lnTo>
                    <a:pt x="1112" y="312"/>
                  </a:lnTo>
                  <a:close/>
                  <a:moveTo>
                    <a:pt x="1328" y="312"/>
                  </a:moveTo>
                  <a:cubicBezTo>
                    <a:pt x="1314" y="312"/>
                    <a:pt x="1314" y="312"/>
                    <a:pt x="1314" y="312"/>
                  </a:cubicBezTo>
                  <a:cubicBezTo>
                    <a:pt x="1314" y="31"/>
                    <a:pt x="1314" y="31"/>
                    <a:pt x="1314" y="31"/>
                  </a:cubicBezTo>
                  <a:cubicBezTo>
                    <a:pt x="1328" y="31"/>
                    <a:pt x="1328" y="31"/>
                    <a:pt x="1328" y="31"/>
                  </a:cubicBezTo>
                  <a:lnTo>
                    <a:pt x="1328" y="312"/>
                  </a:lnTo>
                  <a:close/>
                  <a:moveTo>
                    <a:pt x="1545" y="312"/>
                  </a:moveTo>
                  <a:cubicBezTo>
                    <a:pt x="1530" y="312"/>
                    <a:pt x="1530" y="312"/>
                    <a:pt x="1530" y="312"/>
                  </a:cubicBezTo>
                  <a:cubicBezTo>
                    <a:pt x="1530" y="31"/>
                    <a:pt x="1530" y="31"/>
                    <a:pt x="1530" y="31"/>
                  </a:cubicBezTo>
                  <a:cubicBezTo>
                    <a:pt x="1545" y="31"/>
                    <a:pt x="1545" y="31"/>
                    <a:pt x="1545" y="31"/>
                  </a:cubicBezTo>
                  <a:lnTo>
                    <a:pt x="1545" y="312"/>
                  </a:lnTo>
                  <a:close/>
                  <a:moveTo>
                    <a:pt x="1761" y="312"/>
                  </a:moveTo>
                  <a:cubicBezTo>
                    <a:pt x="1746" y="312"/>
                    <a:pt x="1746" y="312"/>
                    <a:pt x="1746" y="312"/>
                  </a:cubicBezTo>
                  <a:cubicBezTo>
                    <a:pt x="1746" y="31"/>
                    <a:pt x="1746" y="31"/>
                    <a:pt x="1746" y="31"/>
                  </a:cubicBezTo>
                  <a:cubicBezTo>
                    <a:pt x="1761" y="31"/>
                    <a:pt x="1761" y="31"/>
                    <a:pt x="1761" y="31"/>
                  </a:cubicBezTo>
                  <a:lnTo>
                    <a:pt x="1761" y="3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2" name="Oval 137"/>
            <p:cNvSpPr>
              <a:spLocks noChangeArrowheads="1"/>
            </p:cNvSpPr>
            <p:nvPr userDrawn="1"/>
          </p:nvSpPr>
          <p:spPr bwMode="auto">
            <a:xfrm>
              <a:off x="3216" y="1104"/>
              <a:ext cx="16" cy="1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3" name="Oval 138"/>
            <p:cNvSpPr>
              <a:spLocks noChangeArrowheads="1"/>
            </p:cNvSpPr>
            <p:nvPr userDrawn="1"/>
          </p:nvSpPr>
          <p:spPr bwMode="auto">
            <a:xfrm>
              <a:off x="3242" y="1104"/>
              <a:ext cx="16" cy="1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4" name="Oval 139"/>
            <p:cNvSpPr>
              <a:spLocks noChangeArrowheads="1"/>
            </p:cNvSpPr>
            <p:nvPr userDrawn="1"/>
          </p:nvSpPr>
          <p:spPr bwMode="auto">
            <a:xfrm>
              <a:off x="3043" y="1104"/>
              <a:ext cx="16" cy="1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5" name="Oval 140"/>
            <p:cNvSpPr>
              <a:spLocks noChangeArrowheads="1"/>
            </p:cNvSpPr>
            <p:nvPr userDrawn="1"/>
          </p:nvSpPr>
          <p:spPr bwMode="auto">
            <a:xfrm>
              <a:off x="3017" y="1104"/>
              <a:ext cx="16" cy="1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6" name="Freeform 141"/>
            <p:cNvSpPr>
              <a:spLocks noEditPoints="1"/>
            </p:cNvSpPr>
            <p:nvPr userDrawn="1"/>
          </p:nvSpPr>
          <p:spPr bwMode="auto">
            <a:xfrm>
              <a:off x="2984" y="1047"/>
              <a:ext cx="307" cy="66"/>
            </a:xfrm>
            <a:custGeom>
              <a:avLst/>
              <a:gdLst>
                <a:gd name="T0" fmla="*/ 1961 w 1993"/>
                <a:gd name="T1" fmla="*/ 313 h 428"/>
                <a:gd name="T2" fmla="*/ 1922 w 1993"/>
                <a:gd name="T3" fmla="*/ 312 h 428"/>
                <a:gd name="T4" fmla="*/ 1922 w 1993"/>
                <a:gd name="T5" fmla="*/ 0 h 428"/>
                <a:gd name="T6" fmla="*/ 71 w 1993"/>
                <a:gd name="T7" fmla="*/ 31 h 428"/>
                <a:gd name="T8" fmla="*/ 41 w 1993"/>
                <a:gd name="T9" fmla="*/ 312 h 428"/>
                <a:gd name="T10" fmla="*/ 18 w 1993"/>
                <a:gd name="T11" fmla="*/ 290 h 428"/>
                <a:gd name="T12" fmla="*/ 18 w 1993"/>
                <a:gd name="T13" fmla="*/ 381 h 428"/>
                <a:gd name="T14" fmla="*/ 41 w 1993"/>
                <a:gd name="T15" fmla="*/ 358 h 428"/>
                <a:gd name="T16" fmla="*/ 71 w 1993"/>
                <a:gd name="T17" fmla="*/ 366 h 428"/>
                <a:gd name="T18" fmla="*/ 206 w 1993"/>
                <a:gd name="T19" fmla="*/ 398 h 428"/>
                <a:gd name="T20" fmla="*/ 336 w 1993"/>
                <a:gd name="T21" fmla="*/ 416 h 428"/>
                <a:gd name="T22" fmla="*/ 353 w 1993"/>
                <a:gd name="T23" fmla="*/ 428 h 428"/>
                <a:gd name="T24" fmla="*/ 370 w 1993"/>
                <a:gd name="T25" fmla="*/ 416 h 428"/>
                <a:gd name="T26" fmla="*/ 500 w 1993"/>
                <a:gd name="T27" fmla="*/ 398 h 428"/>
                <a:gd name="T28" fmla="*/ 1445 w 1993"/>
                <a:gd name="T29" fmla="*/ 366 h 428"/>
                <a:gd name="T30" fmla="*/ 1557 w 1993"/>
                <a:gd name="T31" fmla="*/ 352 h 428"/>
                <a:gd name="T32" fmla="*/ 1627 w 1993"/>
                <a:gd name="T33" fmla="*/ 428 h 428"/>
                <a:gd name="T34" fmla="*/ 1655 w 1993"/>
                <a:gd name="T35" fmla="*/ 428 h 428"/>
                <a:gd name="T36" fmla="*/ 1725 w 1993"/>
                <a:gd name="T37" fmla="*/ 352 h 428"/>
                <a:gd name="T38" fmla="*/ 1836 w 1993"/>
                <a:gd name="T39" fmla="*/ 366 h 428"/>
                <a:gd name="T40" fmla="*/ 1922 w 1993"/>
                <a:gd name="T41" fmla="*/ 358 h 428"/>
                <a:gd name="T42" fmla="*/ 1961 w 1993"/>
                <a:gd name="T43" fmla="*/ 357 h 428"/>
                <a:gd name="T44" fmla="*/ 1993 w 1993"/>
                <a:gd name="T45" fmla="*/ 335 h 428"/>
                <a:gd name="T46" fmla="*/ 1557 w 1993"/>
                <a:gd name="T47" fmla="*/ 84 h 428"/>
                <a:gd name="T48" fmla="*/ 1573 w 1993"/>
                <a:gd name="T49" fmla="*/ 241 h 428"/>
                <a:gd name="T50" fmla="*/ 1709 w 1993"/>
                <a:gd name="T51" fmla="*/ 84 h 428"/>
                <a:gd name="T52" fmla="*/ 1725 w 1993"/>
                <a:gd name="T53" fmla="*/ 277 h 428"/>
                <a:gd name="T54" fmla="*/ 1557 w 1993"/>
                <a:gd name="T55" fmla="*/ 84 h 428"/>
                <a:gd name="T56" fmla="*/ 285 w 1993"/>
                <a:gd name="T57" fmla="*/ 84 h 428"/>
                <a:gd name="T58" fmla="*/ 421 w 1993"/>
                <a:gd name="T59" fmla="*/ 241 h 428"/>
                <a:gd name="T60" fmla="*/ 437 w 1993"/>
                <a:gd name="T61" fmla="*/ 84 h 428"/>
                <a:gd name="T62" fmla="*/ 269 w 1993"/>
                <a:gd name="T63" fmla="*/ 277 h 428"/>
                <a:gd name="T64" fmla="*/ 232 w 1993"/>
                <a:gd name="T65" fmla="*/ 324 h 428"/>
                <a:gd name="T66" fmla="*/ 232 w 1993"/>
                <a:gd name="T67" fmla="*/ 31 h 428"/>
                <a:gd name="T68" fmla="*/ 247 w 1993"/>
                <a:gd name="T69" fmla="*/ 312 h 428"/>
                <a:gd name="T70" fmla="*/ 448 w 1993"/>
                <a:gd name="T71" fmla="*/ 31 h 428"/>
                <a:gd name="T72" fmla="*/ 463 w 1993"/>
                <a:gd name="T73" fmla="*/ 312 h 428"/>
                <a:gd name="T74" fmla="*/ 665 w 1993"/>
                <a:gd name="T75" fmla="*/ 31 h 428"/>
                <a:gd name="T76" fmla="*/ 680 w 1993"/>
                <a:gd name="T77" fmla="*/ 312 h 428"/>
                <a:gd name="T78" fmla="*/ 881 w 1993"/>
                <a:gd name="T79" fmla="*/ 31 h 428"/>
                <a:gd name="T80" fmla="*/ 896 w 1993"/>
                <a:gd name="T81" fmla="*/ 312 h 428"/>
                <a:gd name="T82" fmla="*/ 1098 w 1993"/>
                <a:gd name="T83" fmla="*/ 31 h 428"/>
                <a:gd name="T84" fmla="*/ 1112 w 1993"/>
                <a:gd name="T85" fmla="*/ 312 h 428"/>
                <a:gd name="T86" fmla="*/ 1314 w 1993"/>
                <a:gd name="T87" fmla="*/ 31 h 428"/>
                <a:gd name="T88" fmla="*/ 1329 w 1993"/>
                <a:gd name="T89" fmla="*/ 312 h 428"/>
                <a:gd name="T90" fmla="*/ 1530 w 1993"/>
                <a:gd name="T91" fmla="*/ 31 h 428"/>
                <a:gd name="T92" fmla="*/ 1545 w 1993"/>
                <a:gd name="T93" fmla="*/ 312 h 428"/>
                <a:gd name="T94" fmla="*/ 1747 w 1993"/>
                <a:gd name="T95" fmla="*/ 31 h 428"/>
                <a:gd name="T96" fmla="*/ 1761 w 1993"/>
                <a:gd name="T97" fmla="*/ 312 h 428"/>
                <a:gd name="T98" fmla="*/ 232 w 1993"/>
                <a:gd name="T99" fmla="*/ 324 h 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993" h="428">
                  <a:moveTo>
                    <a:pt x="1976" y="290"/>
                  </a:moveTo>
                  <a:cubicBezTo>
                    <a:pt x="1969" y="290"/>
                    <a:pt x="1964" y="299"/>
                    <a:pt x="1961" y="313"/>
                  </a:cubicBezTo>
                  <a:cubicBezTo>
                    <a:pt x="1958" y="313"/>
                    <a:pt x="1955" y="312"/>
                    <a:pt x="1953" y="312"/>
                  </a:cubicBezTo>
                  <a:cubicBezTo>
                    <a:pt x="1922" y="312"/>
                    <a:pt x="1922" y="312"/>
                    <a:pt x="1922" y="312"/>
                  </a:cubicBezTo>
                  <a:cubicBezTo>
                    <a:pt x="1922" y="31"/>
                    <a:pt x="1922" y="31"/>
                    <a:pt x="1922" y="31"/>
                  </a:cubicBezTo>
                  <a:cubicBezTo>
                    <a:pt x="1922" y="0"/>
                    <a:pt x="1922" y="0"/>
                    <a:pt x="1922" y="0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71" y="31"/>
                    <a:pt x="71" y="31"/>
                    <a:pt x="71" y="31"/>
                  </a:cubicBezTo>
                  <a:cubicBezTo>
                    <a:pt x="71" y="312"/>
                    <a:pt x="71" y="312"/>
                    <a:pt x="71" y="312"/>
                  </a:cubicBezTo>
                  <a:cubicBezTo>
                    <a:pt x="41" y="312"/>
                    <a:pt x="41" y="312"/>
                    <a:pt x="41" y="312"/>
                  </a:cubicBezTo>
                  <a:cubicBezTo>
                    <a:pt x="38" y="312"/>
                    <a:pt x="35" y="313"/>
                    <a:pt x="33" y="313"/>
                  </a:cubicBezTo>
                  <a:cubicBezTo>
                    <a:pt x="30" y="299"/>
                    <a:pt x="24" y="290"/>
                    <a:pt x="18" y="290"/>
                  </a:cubicBezTo>
                  <a:cubicBezTo>
                    <a:pt x="8" y="290"/>
                    <a:pt x="0" y="310"/>
                    <a:pt x="0" y="335"/>
                  </a:cubicBezTo>
                  <a:cubicBezTo>
                    <a:pt x="0" y="360"/>
                    <a:pt x="8" y="381"/>
                    <a:pt x="18" y="381"/>
                  </a:cubicBezTo>
                  <a:cubicBezTo>
                    <a:pt x="24" y="381"/>
                    <a:pt x="30" y="371"/>
                    <a:pt x="33" y="357"/>
                  </a:cubicBezTo>
                  <a:cubicBezTo>
                    <a:pt x="35" y="358"/>
                    <a:pt x="38" y="358"/>
                    <a:pt x="41" y="358"/>
                  </a:cubicBezTo>
                  <a:cubicBezTo>
                    <a:pt x="71" y="358"/>
                    <a:pt x="71" y="358"/>
                    <a:pt x="71" y="358"/>
                  </a:cubicBezTo>
                  <a:cubicBezTo>
                    <a:pt x="71" y="366"/>
                    <a:pt x="71" y="366"/>
                    <a:pt x="71" y="366"/>
                  </a:cubicBezTo>
                  <a:cubicBezTo>
                    <a:pt x="158" y="366"/>
                    <a:pt x="158" y="366"/>
                    <a:pt x="158" y="366"/>
                  </a:cubicBezTo>
                  <a:cubicBezTo>
                    <a:pt x="206" y="398"/>
                    <a:pt x="206" y="398"/>
                    <a:pt x="206" y="398"/>
                  </a:cubicBezTo>
                  <a:cubicBezTo>
                    <a:pt x="215" y="371"/>
                    <a:pt x="240" y="352"/>
                    <a:pt x="269" y="352"/>
                  </a:cubicBezTo>
                  <a:cubicBezTo>
                    <a:pt x="305" y="352"/>
                    <a:pt x="334" y="380"/>
                    <a:pt x="336" y="416"/>
                  </a:cubicBezTo>
                  <a:cubicBezTo>
                    <a:pt x="337" y="419"/>
                    <a:pt x="338" y="424"/>
                    <a:pt x="339" y="428"/>
                  </a:cubicBezTo>
                  <a:cubicBezTo>
                    <a:pt x="353" y="428"/>
                    <a:pt x="353" y="428"/>
                    <a:pt x="353" y="428"/>
                  </a:cubicBezTo>
                  <a:cubicBezTo>
                    <a:pt x="367" y="428"/>
                    <a:pt x="367" y="428"/>
                    <a:pt x="367" y="428"/>
                  </a:cubicBezTo>
                  <a:cubicBezTo>
                    <a:pt x="368" y="424"/>
                    <a:pt x="369" y="419"/>
                    <a:pt x="370" y="416"/>
                  </a:cubicBezTo>
                  <a:cubicBezTo>
                    <a:pt x="372" y="380"/>
                    <a:pt x="401" y="352"/>
                    <a:pt x="437" y="352"/>
                  </a:cubicBezTo>
                  <a:cubicBezTo>
                    <a:pt x="466" y="352"/>
                    <a:pt x="491" y="371"/>
                    <a:pt x="500" y="398"/>
                  </a:cubicBezTo>
                  <a:cubicBezTo>
                    <a:pt x="548" y="366"/>
                    <a:pt x="548" y="366"/>
                    <a:pt x="548" y="366"/>
                  </a:cubicBezTo>
                  <a:cubicBezTo>
                    <a:pt x="1445" y="366"/>
                    <a:pt x="1445" y="366"/>
                    <a:pt x="1445" y="366"/>
                  </a:cubicBezTo>
                  <a:cubicBezTo>
                    <a:pt x="1493" y="398"/>
                    <a:pt x="1493" y="398"/>
                    <a:pt x="1493" y="398"/>
                  </a:cubicBezTo>
                  <a:cubicBezTo>
                    <a:pt x="1503" y="371"/>
                    <a:pt x="1527" y="352"/>
                    <a:pt x="1557" y="352"/>
                  </a:cubicBezTo>
                  <a:cubicBezTo>
                    <a:pt x="1592" y="352"/>
                    <a:pt x="1621" y="380"/>
                    <a:pt x="1623" y="416"/>
                  </a:cubicBezTo>
                  <a:cubicBezTo>
                    <a:pt x="1625" y="419"/>
                    <a:pt x="1626" y="424"/>
                    <a:pt x="1627" y="428"/>
                  </a:cubicBezTo>
                  <a:cubicBezTo>
                    <a:pt x="1641" y="428"/>
                    <a:pt x="1641" y="428"/>
                    <a:pt x="1641" y="428"/>
                  </a:cubicBezTo>
                  <a:cubicBezTo>
                    <a:pt x="1655" y="428"/>
                    <a:pt x="1655" y="428"/>
                    <a:pt x="1655" y="428"/>
                  </a:cubicBezTo>
                  <a:cubicBezTo>
                    <a:pt x="1655" y="424"/>
                    <a:pt x="1656" y="419"/>
                    <a:pt x="1658" y="416"/>
                  </a:cubicBezTo>
                  <a:cubicBezTo>
                    <a:pt x="1660" y="380"/>
                    <a:pt x="1689" y="352"/>
                    <a:pt x="1725" y="352"/>
                  </a:cubicBezTo>
                  <a:cubicBezTo>
                    <a:pt x="1754" y="352"/>
                    <a:pt x="1779" y="371"/>
                    <a:pt x="1788" y="398"/>
                  </a:cubicBezTo>
                  <a:cubicBezTo>
                    <a:pt x="1836" y="366"/>
                    <a:pt x="1836" y="366"/>
                    <a:pt x="1836" y="366"/>
                  </a:cubicBezTo>
                  <a:cubicBezTo>
                    <a:pt x="1922" y="366"/>
                    <a:pt x="1922" y="366"/>
                    <a:pt x="1922" y="366"/>
                  </a:cubicBezTo>
                  <a:cubicBezTo>
                    <a:pt x="1922" y="358"/>
                    <a:pt x="1922" y="358"/>
                    <a:pt x="1922" y="358"/>
                  </a:cubicBezTo>
                  <a:cubicBezTo>
                    <a:pt x="1953" y="358"/>
                    <a:pt x="1953" y="358"/>
                    <a:pt x="1953" y="358"/>
                  </a:cubicBezTo>
                  <a:cubicBezTo>
                    <a:pt x="1955" y="358"/>
                    <a:pt x="1958" y="358"/>
                    <a:pt x="1961" y="357"/>
                  </a:cubicBezTo>
                  <a:cubicBezTo>
                    <a:pt x="1964" y="371"/>
                    <a:pt x="1969" y="381"/>
                    <a:pt x="1976" y="381"/>
                  </a:cubicBezTo>
                  <a:cubicBezTo>
                    <a:pt x="1985" y="381"/>
                    <a:pt x="1993" y="360"/>
                    <a:pt x="1993" y="335"/>
                  </a:cubicBezTo>
                  <a:cubicBezTo>
                    <a:pt x="1993" y="310"/>
                    <a:pt x="1985" y="290"/>
                    <a:pt x="1976" y="290"/>
                  </a:cubicBezTo>
                  <a:close/>
                  <a:moveTo>
                    <a:pt x="1557" y="84"/>
                  </a:moveTo>
                  <a:cubicBezTo>
                    <a:pt x="1573" y="84"/>
                    <a:pt x="1573" y="84"/>
                    <a:pt x="1573" y="84"/>
                  </a:cubicBezTo>
                  <a:cubicBezTo>
                    <a:pt x="1573" y="241"/>
                    <a:pt x="1573" y="241"/>
                    <a:pt x="1573" y="241"/>
                  </a:cubicBezTo>
                  <a:cubicBezTo>
                    <a:pt x="1709" y="241"/>
                    <a:pt x="1709" y="241"/>
                    <a:pt x="1709" y="241"/>
                  </a:cubicBezTo>
                  <a:cubicBezTo>
                    <a:pt x="1709" y="84"/>
                    <a:pt x="1709" y="84"/>
                    <a:pt x="1709" y="84"/>
                  </a:cubicBezTo>
                  <a:cubicBezTo>
                    <a:pt x="1725" y="84"/>
                    <a:pt x="1725" y="84"/>
                    <a:pt x="1725" y="84"/>
                  </a:cubicBezTo>
                  <a:cubicBezTo>
                    <a:pt x="1725" y="277"/>
                    <a:pt x="1725" y="277"/>
                    <a:pt x="1725" y="277"/>
                  </a:cubicBezTo>
                  <a:cubicBezTo>
                    <a:pt x="1557" y="277"/>
                    <a:pt x="1557" y="277"/>
                    <a:pt x="1557" y="277"/>
                  </a:cubicBezTo>
                  <a:lnTo>
                    <a:pt x="1557" y="84"/>
                  </a:lnTo>
                  <a:close/>
                  <a:moveTo>
                    <a:pt x="269" y="84"/>
                  </a:moveTo>
                  <a:cubicBezTo>
                    <a:pt x="285" y="84"/>
                    <a:pt x="285" y="84"/>
                    <a:pt x="285" y="84"/>
                  </a:cubicBezTo>
                  <a:cubicBezTo>
                    <a:pt x="285" y="241"/>
                    <a:pt x="285" y="241"/>
                    <a:pt x="285" y="241"/>
                  </a:cubicBezTo>
                  <a:cubicBezTo>
                    <a:pt x="421" y="241"/>
                    <a:pt x="421" y="241"/>
                    <a:pt x="421" y="241"/>
                  </a:cubicBezTo>
                  <a:cubicBezTo>
                    <a:pt x="421" y="84"/>
                    <a:pt x="421" y="84"/>
                    <a:pt x="421" y="84"/>
                  </a:cubicBezTo>
                  <a:cubicBezTo>
                    <a:pt x="437" y="84"/>
                    <a:pt x="437" y="84"/>
                    <a:pt x="437" y="84"/>
                  </a:cubicBezTo>
                  <a:cubicBezTo>
                    <a:pt x="437" y="277"/>
                    <a:pt x="437" y="277"/>
                    <a:pt x="437" y="277"/>
                  </a:cubicBezTo>
                  <a:cubicBezTo>
                    <a:pt x="269" y="277"/>
                    <a:pt x="269" y="277"/>
                    <a:pt x="269" y="277"/>
                  </a:cubicBezTo>
                  <a:lnTo>
                    <a:pt x="269" y="84"/>
                  </a:lnTo>
                  <a:close/>
                  <a:moveTo>
                    <a:pt x="232" y="324"/>
                  </a:moveTo>
                  <a:cubicBezTo>
                    <a:pt x="232" y="312"/>
                    <a:pt x="232" y="312"/>
                    <a:pt x="232" y="312"/>
                  </a:cubicBezTo>
                  <a:cubicBezTo>
                    <a:pt x="232" y="31"/>
                    <a:pt x="232" y="31"/>
                    <a:pt x="232" y="31"/>
                  </a:cubicBezTo>
                  <a:cubicBezTo>
                    <a:pt x="247" y="31"/>
                    <a:pt x="247" y="31"/>
                    <a:pt x="247" y="31"/>
                  </a:cubicBezTo>
                  <a:cubicBezTo>
                    <a:pt x="247" y="312"/>
                    <a:pt x="247" y="312"/>
                    <a:pt x="247" y="312"/>
                  </a:cubicBezTo>
                  <a:cubicBezTo>
                    <a:pt x="448" y="312"/>
                    <a:pt x="448" y="312"/>
                    <a:pt x="448" y="312"/>
                  </a:cubicBezTo>
                  <a:cubicBezTo>
                    <a:pt x="448" y="31"/>
                    <a:pt x="448" y="31"/>
                    <a:pt x="448" y="31"/>
                  </a:cubicBezTo>
                  <a:cubicBezTo>
                    <a:pt x="463" y="31"/>
                    <a:pt x="463" y="31"/>
                    <a:pt x="463" y="31"/>
                  </a:cubicBezTo>
                  <a:cubicBezTo>
                    <a:pt x="463" y="312"/>
                    <a:pt x="463" y="312"/>
                    <a:pt x="463" y="312"/>
                  </a:cubicBezTo>
                  <a:cubicBezTo>
                    <a:pt x="665" y="312"/>
                    <a:pt x="665" y="312"/>
                    <a:pt x="665" y="312"/>
                  </a:cubicBezTo>
                  <a:cubicBezTo>
                    <a:pt x="665" y="31"/>
                    <a:pt x="665" y="31"/>
                    <a:pt x="665" y="31"/>
                  </a:cubicBezTo>
                  <a:cubicBezTo>
                    <a:pt x="680" y="31"/>
                    <a:pt x="680" y="31"/>
                    <a:pt x="680" y="31"/>
                  </a:cubicBezTo>
                  <a:cubicBezTo>
                    <a:pt x="680" y="312"/>
                    <a:pt x="680" y="312"/>
                    <a:pt x="680" y="312"/>
                  </a:cubicBezTo>
                  <a:cubicBezTo>
                    <a:pt x="881" y="312"/>
                    <a:pt x="881" y="312"/>
                    <a:pt x="881" y="312"/>
                  </a:cubicBezTo>
                  <a:cubicBezTo>
                    <a:pt x="881" y="31"/>
                    <a:pt x="881" y="31"/>
                    <a:pt x="881" y="31"/>
                  </a:cubicBezTo>
                  <a:cubicBezTo>
                    <a:pt x="896" y="31"/>
                    <a:pt x="896" y="31"/>
                    <a:pt x="896" y="31"/>
                  </a:cubicBezTo>
                  <a:cubicBezTo>
                    <a:pt x="896" y="312"/>
                    <a:pt x="896" y="312"/>
                    <a:pt x="896" y="312"/>
                  </a:cubicBezTo>
                  <a:cubicBezTo>
                    <a:pt x="1098" y="312"/>
                    <a:pt x="1098" y="312"/>
                    <a:pt x="1098" y="312"/>
                  </a:cubicBezTo>
                  <a:cubicBezTo>
                    <a:pt x="1098" y="31"/>
                    <a:pt x="1098" y="31"/>
                    <a:pt x="1098" y="31"/>
                  </a:cubicBezTo>
                  <a:cubicBezTo>
                    <a:pt x="1112" y="31"/>
                    <a:pt x="1112" y="31"/>
                    <a:pt x="1112" y="31"/>
                  </a:cubicBezTo>
                  <a:cubicBezTo>
                    <a:pt x="1112" y="312"/>
                    <a:pt x="1112" y="312"/>
                    <a:pt x="1112" y="312"/>
                  </a:cubicBezTo>
                  <a:cubicBezTo>
                    <a:pt x="1314" y="312"/>
                    <a:pt x="1314" y="312"/>
                    <a:pt x="1314" y="312"/>
                  </a:cubicBezTo>
                  <a:cubicBezTo>
                    <a:pt x="1314" y="31"/>
                    <a:pt x="1314" y="31"/>
                    <a:pt x="1314" y="31"/>
                  </a:cubicBezTo>
                  <a:cubicBezTo>
                    <a:pt x="1329" y="31"/>
                    <a:pt x="1329" y="31"/>
                    <a:pt x="1329" y="31"/>
                  </a:cubicBezTo>
                  <a:cubicBezTo>
                    <a:pt x="1329" y="312"/>
                    <a:pt x="1329" y="312"/>
                    <a:pt x="1329" y="312"/>
                  </a:cubicBezTo>
                  <a:cubicBezTo>
                    <a:pt x="1530" y="312"/>
                    <a:pt x="1530" y="312"/>
                    <a:pt x="1530" y="312"/>
                  </a:cubicBezTo>
                  <a:cubicBezTo>
                    <a:pt x="1530" y="31"/>
                    <a:pt x="1530" y="31"/>
                    <a:pt x="1530" y="31"/>
                  </a:cubicBezTo>
                  <a:cubicBezTo>
                    <a:pt x="1545" y="31"/>
                    <a:pt x="1545" y="31"/>
                    <a:pt x="1545" y="31"/>
                  </a:cubicBezTo>
                  <a:cubicBezTo>
                    <a:pt x="1545" y="312"/>
                    <a:pt x="1545" y="312"/>
                    <a:pt x="1545" y="312"/>
                  </a:cubicBezTo>
                  <a:cubicBezTo>
                    <a:pt x="1747" y="312"/>
                    <a:pt x="1747" y="312"/>
                    <a:pt x="1747" y="312"/>
                  </a:cubicBezTo>
                  <a:cubicBezTo>
                    <a:pt x="1747" y="31"/>
                    <a:pt x="1747" y="31"/>
                    <a:pt x="1747" y="31"/>
                  </a:cubicBezTo>
                  <a:cubicBezTo>
                    <a:pt x="1761" y="31"/>
                    <a:pt x="1761" y="31"/>
                    <a:pt x="1761" y="31"/>
                  </a:cubicBezTo>
                  <a:cubicBezTo>
                    <a:pt x="1761" y="312"/>
                    <a:pt x="1761" y="312"/>
                    <a:pt x="1761" y="312"/>
                  </a:cubicBezTo>
                  <a:cubicBezTo>
                    <a:pt x="1762" y="324"/>
                    <a:pt x="1762" y="324"/>
                    <a:pt x="1762" y="324"/>
                  </a:cubicBezTo>
                  <a:lnTo>
                    <a:pt x="232" y="3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7" name="Freeform 142"/>
            <p:cNvSpPr>
              <a:spLocks noEditPoints="1"/>
            </p:cNvSpPr>
            <p:nvPr userDrawn="1"/>
          </p:nvSpPr>
          <p:spPr bwMode="auto">
            <a:xfrm>
              <a:off x="2938" y="1105"/>
              <a:ext cx="14" cy="15"/>
            </a:xfrm>
            <a:custGeom>
              <a:avLst/>
              <a:gdLst>
                <a:gd name="T0" fmla="*/ 47 w 94"/>
                <a:gd name="T1" fmla="*/ 0 h 93"/>
                <a:gd name="T2" fmla="*/ 0 w 94"/>
                <a:gd name="T3" fmla="*/ 46 h 93"/>
                <a:gd name="T4" fmla="*/ 47 w 94"/>
                <a:gd name="T5" fmla="*/ 93 h 93"/>
                <a:gd name="T6" fmla="*/ 94 w 94"/>
                <a:gd name="T7" fmla="*/ 46 h 93"/>
                <a:gd name="T8" fmla="*/ 47 w 94"/>
                <a:gd name="T9" fmla="*/ 0 h 93"/>
                <a:gd name="T10" fmla="*/ 47 w 94"/>
                <a:gd name="T11" fmla="*/ 79 h 93"/>
                <a:gd name="T12" fmla="*/ 14 w 94"/>
                <a:gd name="T13" fmla="*/ 46 h 93"/>
                <a:gd name="T14" fmla="*/ 47 w 94"/>
                <a:gd name="T15" fmla="*/ 13 h 93"/>
                <a:gd name="T16" fmla="*/ 80 w 94"/>
                <a:gd name="T17" fmla="*/ 46 h 93"/>
                <a:gd name="T18" fmla="*/ 47 w 94"/>
                <a:gd name="T19" fmla="*/ 79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4" h="93">
                  <a:moveTo>
                    <a:pt x="47" y="0"/>
                  </a:moveTo>
                  <a:cubicBezTo>
                    <a:pt x="21" y="0"/>
                    <a:pt x="0" y="21"/>
                    <a:pt x="0" y="46"/>
                  </a:cubicBezTo>
                  <a:cubicBezTo>
                    <a:pt x="0" y="72"/>
                    <a:pt x="21" y="93"/>
                    <a:pt x="47" y="93"/>
                  </a:cubicBezTo>
                  <a:cubicBezTo>
                    <a:pt x="73" y="93"/>
                    <a:pt x="94" y="72"/>
                    <a:pt x="94" y="46"/>
                  </a:cubicBezTo>
                  <a:cubicBezTo>
                    <a:pt x="94" y="21"/>
                    <a:pt x="73" y="0"/>
                    <a:pt x="47" y="0"/>
                  </a:cubicBezTo>
                  <a:close/>
                  <a:moveTo>
                    <a:pt x="47" y="79"/>
                  </a:moveTo>
                  <a:cubicBezTo>
                    <a:pt x="29" y="79"/>
                    <a:pt x="14" y="65"/>
                    <a:pt x="14" y="46"/>
                  </a:cubicBezTo>
                  <a:cubicBezTo>
                    <a:pt x="14" y="28"/>
                    <a:pt x="29" y="13"/>
                    <a:pt x="47" y="13"/>
                  </a:cubicBezTo>
                  <a:cubicBezTo>
                    <a:pt x="65" y="13"/>
                    <a:pt x="80" y="28"/>
                    <a:pt x="80" y="46"/>
                  </a:cubicBezTo>
                  <a:cubicBezTo>
                    <a:pt x="80" y="65"/>
                    <a:pt x="65" y="79"/>
                    <a:pt x="47" y="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8" name="Oval 143"/>
            <p:cNvSpPr>
              <a:spLocks noChangeArrowheads="1"/>
            </p:cNvSpPr>
            <p:nvPr userDrawn="1"/>
          </p:nvSpPr>
          <p:spPr bwMode="auto">
            <a:xfrm>
              <a:off x="2941" y="1109"/>
              <a:ext cx="8" cy="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9" name="Freeform 144"/>
            <p:cNvSpPr>
              <a:spLocks noEditPoints="1"/>
            </p:cNvSpPr>
            <p:nvPr userDrawn="1"/>
          </p:nvSpPr>
          <p:spPr bwMode="auto">
            <a:xfrm>
              <a:off x="2921" y="1105"/>
              <a:ext cx="14" cy="15"/>
            </a:xfrm>
            <a:custGeom>
              <a:avLst/>
              <a:gdLst>
                <a:gd name="T0" fmla="*/ 47 w 94"/>
                <a:gd name="T1" fmla="*/ 0 h 93"/>
                <a:gd name="T2" fmla="*/ 0 w 94"/>
                <a:gd name="T3" fmla="*/ 46 h 93"/>
                <a:gd name="T4" fmla="*/ 47 w 94"/>
                <a:gd name="T5" fmla="*/ 93 h 93"/>
                <a:gd name="T6" fmla="*/ 94 w 94"/>
                <a:gd name="T7" fmla="*/ 46 h 93"/>
                <a:gd name="T8" fmla="*/ 47 w 94"/>
                <a:gd name="T9" fmla="*/ 0 h 93"/>
                <a:gd name="T10" fmla="*/ 47 w 94"/>
                <a:gd name="T11" fmla="*/ 79 h 93"/>
                <a:gd name="T12" fmla="*/ 14 w 94"/>
                <a:gd name="T13" fmla="*/ 46 h 93"/>
                <a:gd name="T14" fmla="*/ 47 w 94"/>
                <a:gd name="T15" fmla="*/ 13 h 93"/>
                <a:gd name="T16" fmla="*/ 80 w 94"/>
                <a:gd name="T17" fmla="*/ 46 h 93"/>
                <a:gd name="T18" fmla="*/ 47 w 94"/>
                <a:gd name="T19" fmla="*/ 79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4" h="93">
                  <a:moveTo>
                    <a:pt x="47" y="0"/>
                  </a:moveTo>
                  <a:cubicBezTo>
                    <a:pt x="21" y="0"/>
                    <a:pt x="0" y="21"/>
                    <a:pt x="0" y="46"/>
                  </a:cubicBezTo>
                  <a:cubicBezTo>
                    <a:pt x="0" y="72"/>
                    <a:pt x="21" y="93"/>
                    <a:pt x="47" y="93"/>
                  </a:cubicBezTo>
                  <a:cubicBezTo>
                    <a:pt x="73" y="93"/>
                    <a:pt x="94" y="72"/>
                    <a:pt x="94" y="46"/>
                  </a:cubicBezTo>
                  <a:cubicBezTo>
                    <a:pt x="94" y="21"/>
                    <a:pt x="73" y="0"/>
                    <a:pt x="47" y="0"/>
                  </a:cubicBezTo>
                  <a:close/>
                  <a:moveTo>
                    <a:pt x="47" y="79"/>
                  </a:moveTo>
                  <a:cubicBezTo>
                    <a:pt x="29" y="79"/>
                    <a:pt x="14" y="65"/>
                    <a:pt x="14" y="46"/>
                  </a:cubicBezTo>
                  <a:cubicBezTo>
                    <a:pt x="14" y="28"/>
                    <a:pt x="29" y="13"/>
                    <a:pt x="47" y="13"/>
                  </a:cubicBezTo>
                  <a:cubicBezTo>
                    <a:pt x="65" y="13"/>
                    <a:pt x="80" y="28"/>
                    <a:pt x="80" y="46"/>
                  </a:cubicBezTo>
                  <a:cubicBezTo>
                    <a:pt x="80" y="65"/>
                    <a:pt x="65" y="79"/>
                    <a:pt x="47" y="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0" name="Oval 145"/>
            <p:cNvSpPr>
              <a:spLocks noChangeArrowheads="1"/>
            </p:cNvSpPr>
            <p:nvPr userDrawn="1"/>
          </p:nvSpPr>
          <p:spPr bwMode="auto">
            <a:xfrm>
              <a:off x="2924" y="1109"/>
              <a:ext cx="8" cy="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1" name="Freeform 146"/>
            <p:cNvSpPr>
              <a:spLocks noEditPoints="1"/>
            </p:cNvSpPr>
            <p:nvPr userDrawn="1"/>
          </p:nvSpPr>
          <p:spPr bwMode="auto">
            <a:xfrm>
              <a:off x="2904" y="1105"/>
              <a:ext cx="14" cy="15"/>
            </a:xfrm>
            <a:custGeom>
              <a:avLst/>
              <a:gdLst>
                <a:gd name="T0" fmla="*/ 46 w 93"/>
                <a:gd name="T1" fmla="*/ 0 h 93"/>
                <a:gd name="T2" fmla="*/ 0 w 93"/>
                <a:gd name="T3" fmla="*/ 46 h 93"/>
                <a:gd name="T4" fmla="*/ 46 w 93"/>
                <a:gd name="T5" fmla="*/ 93 h 93"/>
                <a:gd name="T6" fmla="*/ 93 w 93"/>
                <a:gd name="T7" fmla="*/ 46 h 93"/>
                <a:gd name="T8" fmla="*/ 46 w 93"/>
                <a:gd name="T9" fmla="*/ 0 h 93"/>
                <a:gd name="T10" fmla="*/ 46 w 93"/>
                <a:gd name="T11" fmla="*/ 79 h 93"/>
                <a:gd name="T12" fmla="*/ 13 w 93"/>
                <a:gd name="T13" fmla="*/ 46 h 93"/>
                <a:gd name="T14" fmla="*/ 46 w 93"/>
                <a:gd name="T15" fmla="*/ 13 h 93"/>
                <a:gd name="T16" fmla="*/ 80 w 93"/>
                <a:gd name="T17" fmla="*/ 46 h 93"/>
                <a:gd name="T18" fmla="*/ 46 w 93"/>
                <a:gd name="T19" fmla="*/ 79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3" h="93">
                  <a:moveTo>
                    <a:pt x="46" y="0"/>
                  </a:moveTo>
                  <a:cubicBezTo>
                    <a:pt x="21" y="0"/>
                    <a:pt x="0" y="21"/>
                    <a:pt x="0" y="46"/>
                  </a:cubicBezTo>
                  <a:cubicBezTo>
                    <a:pt x="0" y="72"/>
                    <a:pt x="21" y="93"/>
                    <a:pt x="46" y="93"/>
                  </a:cubicBezTo>
                  <a:cubicBezTo>
                    <a:pt x="72" y="93"/>
                    <a:pt x="93" y="72"/>
                    <a:pt x="93" y="46"/>
                  </a:cubicBezTo>
                  <a:cubicBezTo>
                    <a:pt x="93" y="21"/>
                    <a:pt x="72" y="0"/>
                    <a:pt x="46" y="0"/>
                  </a:cubicBezTo>
                  <a:close/>
                  <a:moveTo>
                    <a:pt x="46" y="79"/>
                  </a:moveTo>
                  <a:cubicBezTo>
                    <a:pt x="28" y="79"/>
                    <a:pt x="13" y="65"/>
                    <a:pt x="13" y="46"/>
                  </a:cubicBezTo>
                  <a:cubicBezTo>
                    <a:pt x="13" y="28"/>
                    <a:pt x="28" y="13"/>
                    <a:pt x="46" y="13"/>
                  </a:cubicBezTo>
                  <a:cubicBezTo>
                    <a:pt x="65" y="13"/>
                    <a:pt x="80" y="28"/>
                    <a:pt x="80" y="46"/>
                  </a:cubicBezTo>
                  <a:cubicBezTo>
                    <a:pt x="80" y="65"/>
                    <a:pt x="65" y="79"/>
                    <a:pt x="46" y="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2" name="Oval 147"/>
            <p:cNvSpPr>
              <a:spLocks noChangeArrowheads="1"/>
            </p:cNvSpPr>
            <p:nvPr userDrawn="1"/>
          </p:nvSpPr>
          <p:spPr bwMode="auto">
            <a:xfrm>
              <a:off x="2907" y="1109"/>
              <a:ext cx="8" cy="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3" name="Freeform 148"/>
            <p:cNvSpPr>
              <a:spLocks noEditPoints="1"/>
            </p:cNvSpPr>
            <p:nvPr userDrawn="1"/>
          </p:nvSpPr>
          <p:spPr bwMode="auto">
            <a:xfrm>
              <a:off x="2852" y="1105"/>
              <a:ext cx="14" cy="15"/>
            </a:xfrm>
            <a:custGeom>
              <a:avLst/>
              <a:gdLst>
                <a:gd name="T0" fmla="*/ 47 w 94"/>
                <a:gd name="T1" fmla="*/ 0 h 93"/>
                <a:gd name="T2" fmla="*/ 0 w 94"/>
                <a:gd name="T3" fmla="*/ 46 h 93"/>
                <a:gd name="T4" fmla="*/ 47 w 94"/>
                <a:gd name="T5" fmla="*/ 93 h 93"/>
                <a:gd name="T6" fmla="*/ 94 w 94"/>
                <a:gd name="T7" fmla="*/ 46 h 93"/>
                <a:gd name="T8" fmla="*/ 47 w 94"/>
                <a:gd name="T9" fmla="*/ 0 h 93"/>
                <a:gd name="T10" fmla="*/ 47 w 94"/>
                <a:gd name="T11" fmla="*/ 79 h 93"/>
                <a:gd name="T12" fmla="*/ 14 w 94"/>
                <a:gd name="T13" fmla="*/ 46 h 93"/>
                <a:gd name="T14" fmla="*/ 47 w 94"/>
                <a:gd name="T15" fmla="*/ 13 h 93"/>
                <a:gd name="T16" fmla="*/ 80 w 94"/>
                <a:gd name="T17" fmla="*/ 46 h 93"/>
                <a:gd name="T18" fmla="*/ 47 w 94"/>
                <a:gd name="T19" fmla="*/ 79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4" h="93">
                  <a:moveTo>
                    <a:pt x="47" y="0"/>
                  </a:moveTo>
                  <a:cubicBezTo>
                    <a:pt x="21" y="0"/>
                    <a:pt x="0" y="21"/>
                    <a:pt x="0" y="46"/>
                  </a:cubicBezTo>
                  <a:cubicBezTo>
                    <a:pt x="0" y="72"/>
                    <a:pt x="21" y="93"/>
                    <a:pt x="47" y="93"/>
                  </a:cubicBezTo>
                  <a:cubicBezTo>
                    <a:pt x="72" y="93"/>
                    <a:pt x="94" y="72"/>
                    <a:pt x="94" y="46"/>
                  </a:cubicBezTo>
                  <a:cubicBezTo>
                    <a:pt x="94" y="21"/>
                    <a:pt x="72" y="0"/>
                    <a:pt x="47" y="0"/>
                  </a:cubicBezTo>
                  <a:close/>
                  <a:moveTo>
                    <a:pt x="47" y="79"/>
                  </a:moveTo>
                  <a:cubicBezTo>
                    <a:pt x="28" y="79"/>
                    <a:pt x="14" y="65"/>
                    <a:pt x="14" y="46"/>
                  </a:cubicBezTo>
                  <a:cubicBezTo>
                    <a:pt x="14" y="28"/>
                    <a:pt x="28" y="13"/>
                    <a:pt x="47" y="13"/>
                  </a:cubicBezTo>
                  <a:cubicBezTo>
                    <a:pt x="65" y="13"/>
                    <a:pt x="80" y="28"/>
                    <a:pt x="80" y="46"/>
                  </a:cubicBezTo>
                  <a:cubicBezTo>
                    <a:pt x="80" y="65"/>
                    <a:pt x="65" y="79"/>
                    <a:pt x="47" y="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4" name="Oval 149"/>
            <p:cNvSpPr>
              <a:spLocks noChangeArrowheads="1"/>
            </p:cNvSpPr>
            <p:nvPr userDrawn="1"/>
          </p:nvSpPr>
          <p:spPr bwMode="auto">
            <a:xfrm>
              <a:off x="2855" y="1109"/>
              <a:ext cx="8" cy="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5" name="Freeform 150"/>
            <p:cNvSpPr>
              <a:spLocks noEditPoints="1"/>
            </p:cNvSpPr>
            <p:nvPr userDrawn="1"/>
          </p:nvSpPr>
          <p:spPr bwMode="auto">
            <a:xfrm>
              <a:off x="2835" y="1105"/>
              <a:ext cx="14" cy="15"/>
            </a:xfrm>
            <a:custGeom>
              <a:avLst/>
              <a:gdLst>
                <a:gd name="T0" fmla="*/ 47 w 94"/>
                <a:gd name="T1" fmla="*/ 0 h 93"/>
                <a:gd name="T2" fmla="*/ 0 w 94"/>
                <a:gd name="T3" fmla="*/ 46 h 93"/>
                <a:gd name="T4" fmla="*/ 47 w 94"/>
                <a:gd name="T5" fmla="*/ 93 h 93"/>
                <a:gd name="T6" fmla="*/ 94 w 94"/>
                <a:gd name="T7" fmla="*/ 46 h 93"/>
                <a:gd name="T8" fmla="*/ 47 w 94"/>
                <a:gd name="T9" fmla="*/ 0 h 93"/>
                <a:gd name="T10" fmla="*/ 47 w 94"/>
                <a:gd name="T11" fmla="*/ 79 h 93"/>
                <a:gd name="T12" fmla="*/ 14 w 94"/>
                <a:gd name="T13" fmla="*/ 46 h 93"/>
                <a:gd name="T14" fmla="*/ 47 w 94"/>
                <a:gd name="T15" fmla="*/ 13 h 93"/>
                <a:gd name="T16" fmla="*/ 80 w 94"/>
                <a:gd name="T17" fmla="*/ 46 h 93"/>
                <a:gd name="T18" fmla="*/ 47 w 94"/>
                <a:gd name="T19" fmla="*/ 79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4" h="93">
                  <a:moveTo>
                    <a:pt x="47" y="0"/>
                  </a:moveTo>
                  <a:cubicBezTo>
                    <a:pt x="22" y="0"/>
                    <a:pt x="0" y="21"/>
                    <a:pt x="0" y="46"/>
                  </a:cubicBezTo>
                  <a:cubicBezTo>
                    <a:pt x="0" y="72"/>
                    <a:pt x="22" y="93"/>
                    <a:pt x="47" y="93"/>
                  </a:cubicBezTo>
                  <a:cubicBezTo>
                    <a:pt x="73" y="93"/>
                    <a:pt x="94" y="72"/>
                    <a:pt x="94" y="46"/>
                  </a:cubicBezTo>
                  <a:cubicBezTo>
                    <a:pt x="94" y="21"/>
                    <a:pt x="73" y="0"/>
                    <a:pt x="47" y="0"/>
                  </a:cubicBezTo>
                  <a:close/>
                  <a:moveTo>
                    <a:pt x="47" y="79"/>
                  </a:moveTo>
                  <a:cubicBezTo>
                    <a:pt x="29" y="79"/>
                    <a:pt x="14" y="65"/>
                    <a:pt x="14" y="46"/>
                  </a:cubicBezTo>
                  <a:cubicBezTo>
                    <a:pt x="14" y="28"/>
                    <a:pt x="29" y="13"/>
                    <a:pt x="47" y="13"/>
                  </a:cubicBezTo>
                  <a:cubicBezTo>
                    <a:pt x="66" y="13"/>
                    <a:pt x="80" y="28"/>
                    <a:pt x="80" y="46"/>
                  </a:cubicBezTo>
                  <a:cubicBezTo>
                    <a:pt x="80" y="65"/>
                    <a:pt x="66" y="79"/>
                    <a:pt x="47" y="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6" name="Oval 151"/>
            <p:cNvSpPr>
              <a:spLocks noChangeArrowheads="1"/>
            </p:cNvSpPr>
            <p:nvPr userDrawn="1"/>
          </p:nvSpPr>
          <p:spPr bwMode="auto">
            <a:xfrm>
              <a:off x="2838" y="1109"/>
              <a:ext cx="8" cy="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7" name="Freeform 152"/>
            <p:cNvSpPr>
              <a:spLocks noEditPoints="1"/>
            </p:cNvSpPr>
            <p:nvPr userDrawn="1"/>
          </p:nvSpPr>
          <p:spPr bwMode="auto">
            <a:xfrm>
              <a:off x="2818" y="1105"/>
              <a:ext cx="14" cy="15"/>
            </a:xfrm>
            <a:custGeom>
              <a:avLst/>
              <a:gdLst>
                <a:gd name="T0" fmla="*/ 47 w 94"/>
                <a:gd name="T1" fmla="*/ 0 h 93"/>
                <a:gd name="T2" fmla="*/ 0 w 94"/>
                <a:gd name="T3" fmla="*/ 46 h 93"/>
                <a:gd name="T4" fmla="*/ 47 w 94"/>
                <a:gd name="T5" fmla="*/ 93 h 93"/>
                <a:gd name="T6" fmla="*/ 94 w 94"/>
                <a:gd name="T7" fmla="*/ 46 h 93"/>
                <a:gd name="T8" fmla="*/ 47 w 94"/>
                <a:gd name="T9" fmla="*/ 0 h 93"/>
                <a:gd name="T10" fmla="*/ 47 w 94"/>
                <a:gd name="T11" fmla="*/ 79 h 93"/>
                <a:gd name="T12" fmla="*/ 14 w 94"/>
                <a:gd name="T13" fmla="*/ 46 h 93"/>
                <a:gd name="T14" fmla="*/ 47 w 94"/>
                <a:gd name="T15" fmla="*/ 13 h 93"/>
                <a:gd name="T16" fmla="*/ 80 w 94"/>
                <a:gd name="T17" fmla="*/ 46 h 93"/>
                <a:gd name="T18" fmla="*/ 47 w 94"/>
                <a:gd name="T19" fmla="*/ 79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4" h="93">
                  <a:moveTo>
                    <a:pt x="47" y="0"/>
                  </a:moveTo>
                  <a:cubicBezTo>
                    <a:pt x="21" y="0"/>
                    <a:pt x="0" y="21"/>
                    <a:pt x="0" y="46"/>
                  </a:cubicBezTo>
                  <a:cubicBezTo>
                    <a:pt x="0" y="72"/>
                    <a:pt x="21" y="93"/>
                    <a:pt x="47" y="93"/>
                  </a:cubicBezTo>
                  <a:cubicBezTo>
                    <a:pt x="73" y="93"/>
                    <a:pt x="94" y="72"/>
                    <a:pt x="94" y="46"/>
                  </a:cubicBezTo>
                  <a:cubicBezTo>
                    <a:pt x="94" y="21"/>
                    <a:pt x="73" y="0"/>
                    <a:pt x="47" y="0"/>
                  </a:cubicBezTo>
                  <a:close/>
                  <a:moveTo>
                    <a:pt x="47" y="79"/>
                  </a:moveTo>
                  <a:cubicBezTo>
                    <a:pt x="29" y="79"/>
                    <a:pt x="14" y="65"/>
                    <a:pt x="14" y="46"/>
                  </a:cubicBezTo>
                  <a:cubicBezTo>
                    <a:pt x="14" y="28"/>
                    <a:pt x="29" y="13"/>
                    <a:pt x="47" y="13"/>
                  </a:cubicBezTo>
                  <a:cubicBezTo>
                    <a:pt x="65" y="13"/>
                    <a:pt x="80" y="28"/>
                    <a:pt x="80" y="46"/>
                  </a:cubicBezTo>
                  <a:cubicBezTo>
                    <a:pt x="80" y="65"/>
                    <a:pt x="65" y="79"/>
                    <a:pt x="47" y="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8" name="Oval 153"/>
            <p:cNvSpPr>
              <a:spLocks noChangeArrowheads="1"/>
            </p:cNvSpPr>
            <p:nvPr userDrawn="1"/>
          </p:nvSpPr>
          <p:spPr bwMode="auto">
            <a:xfrm>
              <a:off x="2821" y="1109"/>
              <a:ext cx="8" cy="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9" name="Freeform 154"/>
            <p:cNvSpPr>
              <a:spLocks/>
            </p:cNvSpPr>
            <p:nvPr userDrawn="1"/>
          </p:nvSpPr>
          <p:spPr bwMode="auto">
            <a:xfrm>
              <a:off x="2787" y="1092"/>
              <a:ext cx="194" cy="21"/>
            </a:xfrm>
            <a:custGeom>
              <a:avLst/>
              <a:gdLst>
                <a:gd name="T0" fmla="*/ 1249 w 1258"/>
                <a:gd name="T1" fmla="*/ 15 h 135"/>
                <a:gd name="T2" fmla="*/ 1207 w 1258"/>
                <a:gd name="T3" fmla="*/ 15 h 135"/>
                <a:gd name="T4" fmla="*/ 1198 w 1258"/>
                <a:gd name="T5" fmla="*/ 23 h 135"/>
                <a:gd name="T6" fmla="*/ 1128 w 1258"/>
                <a:gd name="T7" fmla="*/ 23 h 135"/>
                <a:gd name="T8" fmla="*/ 1137 w 1258"/>
                <a:gd name="T9" fmla="*/ 10 h 135"/>
                <a:gd name="T10" fmla="*/ 927 w 1258"/>
                <a:gd name="T11" fmla="*/ 10 h 135"/>
                <a:gd name="T12" fmla="*/ 927 w 1258"/>
                <a:gd name="T13" fmla="*/ 0 h 135"/>
                <a:gd name="T14" fmla="*/ 682 w 1258"/>
                <a:gd name="T15" fmla="*/ 0 h 135"/>
                <a:gd name="T16" fmla="*/ 682 w 1258"/>
                <a:gd name="T17" fmla="*/ 10 h 135"/>
                <a:gd name="T18" fmla="*/ 591 w 1258"/>
                <a:gd name="T19" fmla="*/ 10 h 135"/>
                <a:gd name="T20" fmla="*/ 591 w 1258"/>
                <a:gd name="T21" fmla="*/ 0 h 135"/>
                <a:gd name="T22" fmla="*/ 346 w 1258"/>
                <a:gd name="T23" fmla="*/ 0 h 135"/>
                <a:gd name="T24" fmla="*/ 346 w 1258"/>
                <a:gd name="T25" fmla="*/ 10 h 135"/>
                <a:gd name="T26" fmla="*/ 122 w 1258"/>
                <a:gd name="T27" fmla="*/ 10 h 135"/>
                <a:gd name="T28" fmla="*/ 131 w 1258"/>
                <a:gd name="T29" fmla="*/ 23 h 135"/>
                <a:gd name="T30" fmla="*/ 60 w 1258"/>
                <a:gd name="T31" fmla="*/ 23 h 135"/>
                <a:gd name="T32" fmla="*/ 51 w 1258"/>
                <a:gd name="T33" fmla="*/ 15 h 135"/>
                <a:gd name="T34" fmla="*/ 9 w 1258"/>
                <a:gd name="T35" fmla="*/ 15 h 135"/>
                <a:gd name="T36" fmla="*/ 0 w 1258"/>
                <a:gd name="T37" fmla="*/ 24 h 135"/>
                <a:gd name="T38" fmla="*/ 0 w 1258"/>
                <a:gd name="T39" fmla="*/ 80 h 135"/>
                <a:gd name="T40" fmla="*/ 9 w 1258"/>
                <a:gd name="T41" fmla="*/ 89 h 135"/>
                <a:gd name="T42" fmla="*/ 51 w 1258"/>
                <a:gd name="T43" fmla="*/ 89 h 135"/>
                <a:gd name="T44" fmla="*/ 60 w 1258"/>
                <a:gd name="T45" fmla="*/ 80 h 135"/>
                <a:gd name="T46" fmla="*/ 144 w 1258"/>
                <a:gd name="T47" fmla="*/ 80 h 135"/>
                <a:gd name="T48" fmla="*/ 175 w 1258"/>
                <a:gd name="T49" fmla="*/ 135 h 135"/>
                <a:gd name="T50" fmla="*/ 177 w 1258"/>
                <a:gd name="T51" fmla="*/ 135 h 135"/>
                <a:gd name="T52" fmla="*/ 177 w 1258"/>
                <a:gd name="T53" fmla="*/ 135 h 135"/>
                <a:gd name="T54" fmla="*/ 246 w 1258"/>
                <a:gd name="T55" fmla="*/ 66 h 135"/>
                <a:gd name="T56" fmla="*/ 301 w 1258"/>
                <a:gd name="T57" fmla="*/ 93 h 135"/>
                <a:gd name="T58" fmla="*/ 355 w 1258"/>
                <a:gd name="T59" fmla="*/ 66 h 135"/>
                <a:gd name="T60" fmla="*/ 410 w 1258"/>
                <a:gd name="T61" fmla="*/ 93 h 135"/>
                <a:gd name="T62" fmla="*/ 465 w 1258"/>
                <a:gd name="T63" fmla="*/ 66 h 135"/>
                <a:gd name="T64" fmla="*/ 534 w 1258"/>
                <a:gd name="T65" fmla="*/ 135 h 135"/>
                <a:gd name="T66" fmla="*/ 534 w 1258"/>
                <a:gd name="T67" fmla="*/ 135 h 135"/>
                <a:gd name="T68" fmla="*/ 735 w 1258"/>
                <a:gd name="T69" fmla="*/ 135 h 135"/>
                <a:gd name="T70" fmla="*/ 735 w 1258"/>
                <a:gd name="T71" fmla="*/ 135 h 135"/>
                <a:gd name="T72" fmla="*/ 804 w 1258"/>
                <a:gd name="T73" fmla="*/ 66 h 135"/>
                <a:gd name="T74" fmla="*/ 859 w 1258"/>
                <a:gd name="T75" fmla="*/ 93 h 135"/>
                <a:gd name="T76" fmla="*/ 914 w 1258"/>
                <a:gd name="T77" fmla="*/ 66 h 135"/>
                <a:gd name="T78" fmla="*/ 968 w 1258"/>
                <a:gd name="T79" fmla="*/ 93 h 135"/>
                <a:gd name="T80" fmla="*/ 1023 w 1258"/>
                <a:gd name="T81" fmla="*/ 66 h 135"/>
                <a:gd name="T82" fmla="*/ 1092 w 1258"/>
                <a:gd name="T83" fmla="*/ 129 h 135"/>
                <a:gd name="T84" fmla="*/ 1114 w 1258"/>
                <a:gd name="T85" fmla="*/ 80 h 135"/>
                <a:gd name="T86" fmla="*/ 1198 w 1258"/>
                <a:gd name="T87" fmla="*/ 80 h 135"/>
                <a:gd name="T88" fmla="*/ 1207 w 1258"/>
                <a:gd name="T89" fmla="*/ 89 h 135"/>
                <a:gd name="T90" fmla="*/ 1249 w 1258"/>
                <a:gd name="T91" fmla="*/ 89 h 135"/>
                <a:gd name="T92" fmla="*/ 1258 w 1258"/>
                <a:gd name="T93" fmla="*/ 80 h 135"/>
                <a:gd name="T94" fmla="*/ 1258 w 1258"/>
                <a:gd name="T95" fmla="*/ 24 h 135"/>
                <a:gd name="T96" fmla="*/ 1249 w 1258"/>
                <a:gd name="T97" fmla="*/ 15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258" h="135">
                  <a:moveTo>
                    <a:pt x="1249" y="15"/>
                  </a:moveTo>
                  <a:cubicBezTo>
                    <a:pt x="1207" y="15"/>
                    <a:pt x="1207" y="15"/>
                    <a:pt x="1207" y="15"/>
                  </a:cubicBezTo>
                  <a:cubicBezTo>
                    <a:pt x="1202" y="15"/>
                    <a:pt x="1199" y="19"/>
                    <a:pt x="1198" y="23"/>
                  </a:cubicBezTo>
                  <a:cubicBezTo>
                    <a:pt x="1128" y="23"/>
                    <a:pt x="1128" y="23"/>
                    <a:pt x="1128" y="23"/>
                  </a:cubicBezTo>
                  <a:cubicBezTo>
                    <a:pt x="1131" y="19"/>
                    <a:pt x="1134" y="15"/>
                    <a:pt x="1137" y="10"/>
                  </a:cubicBezTo>
                  <a:cubicBezTo>
                    <a:pt x="927" y="10"/>
                    <a:pt x="927" y="10"/>
                    <a:pt x="927" y="10"/>
                  </a:cubicBezTo>
                  <a:cubicBezTo>
                    <a:pt x="927" y="0"/>
                    <a:pt x="927" y="0"/>
                    <a:pt x="927" y="0"/>
                  </a:cubicBezTo>
                  <a:cubicBezTo>
                    <a:pt x="682" y="0"/>
                    <a:pt x="682" y="0"/>
                    <a:pt x="682" y="0"/>
                  </a:cubicBezTo>
                  <a:cubicBezTo>
                    <a:pt x="682" y="10"/>
                    <a:pt x="682" y="10"/>
                    <a:pt x="682" y="10"/>
                  </a:cubicBezTo>
                  <a:cubicBezTo>
                    <a:pt x="591" y="10"/>
                    <a:pt x="591" y="10"/>
                    <a:pt x="591" y="10"/>
                  </a:cubicBezTo>
                  <a:cubicBezTo>
                    <a:pt x="591" y="0"/>
                    <a:pt x="591" y="0"/>
                    <a:pt x="591" y="0"/>
                  </a:cubicBezTo>
                  <a:cubicBezTo>
                    <a:pt x="346" y="0"/>
                    <a:pt x="346" y="0"/>
                    <a:pt x="346" y="0"/>
                  </a:cubicBezTo>
                  <a:cubicBezTo>
                    <a:pt x="346" y="10"/>
                    <a:pt x="346" y="10"/>
                    <a:pt x="346" y="10"/>
                  </a:cubicBezTo>
                  <a:cubicBezTo>
                    <a:pt x="122" y="10"/>
                    <a:pt x="122" y="10"/>
                    <a:pt x="122" y="10"/>
                  </a:cubicBezTo>
                  <a:cubicBezTo>
                    <a:pt x="124" y="15"/>
                    <a:pt x="127" y="19"/>
                    <a:pt x="131" y="23"/>
                  </a:cubicBezTo>
                  <a:cubicBezTo>
                    <a:pt x="60" y="23"/>
                    <a:pt x="60" y="23"/>
                    <a:pt x="60" y="23"/>
                  </a:cubicBezTo>
                  <a:cubicBezTo>
                    <a:pt x="60" y="19"/>
                    <a:pt x="56" y="15"/>
                    <a:pt x="51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4" y="15"/>
                    <a:pt x="0" y="19"/>
                    <a:pt x="0" y="24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0" y="85"/>
                    <a:pt x="4" y="89"/>
                    <a:pt x="9" y="89"/>
                  </a:cubicBezTo>
                  <a:cubicBezTo>
                    <a:pt x="51" y="89"/>
                    <a:pt x="51" y="89"/>
                    <a:pt x="51" y="89"/>
                  </a:cubicBezTo>
                  <a:cubicBezTo>
                    <a:pt x="56" y="89"/>
                    <a:pt x="60" y="85"/>
                    <a:pt x="60" y="80"/>
                  </a:cubicBezTo>
                  <a:cubicBezTo>
                    <a:pt x="144" y="80"/>
                    <a:pt x="144" y="80"/>
                    <a:pt x="144" y="80"/>
                  </a:cubicBezTo>
                  <a:cubicBezTo>
                    <a:pt x="144" y="104"/>
                    <a:pt x="157" y="124"/>
                    <a:pt x="175" y="135"/>
                  </a:cubicBezTo>
                  <a:cubicBezTo>
                    <a:pt x="177" y="135"/>
                    <a:pt x="177" y="135"/>
                    <a:pt x="177" y="135"/>
                  </a:cubicBezTo>
                  <a:cubicBezTo>
                    <a:pt x="177" y="135"/>
                    <a:pt x="177" y="135"/>
                    <a:pt x="177" y="135"/>
                  </a:cubicBezTo>
                  <a:cubicBezTo>
                    <a:pt x="177" y="97"/>
                    <a:pt x="208" y="66"/>
                    <a:pt x="246" y="66"/>
                  </a:cubicBezTo>
                  <a:cubicBezTo>
                    <a:pt x="268" y="66"/>
                    <a:pt x="288" y="77"/>
                    <a:pt x="301" y="93"/>
                  </a:cubicBezTo>
                  <a:cubicBezTo>
                    <a:pt x="313" y="77"/>
                    <a:pt x="333" y="66"/>
                    <a:pt x="355" y="66"/>
                  </a:cubicBezTo>
                  <a:cubicBezTo>
                    <a:pt x="378" y="66"/>
                    <a:pt x="397" y="77"/>
                    <a:pt x="410" y="93"/>
                  </a:cubicBezTo>
                  <a:cubicBezTo>
                    <a:pt x="423" y="77"/>
                    <a:pt x="442" y="66"/>
                    <a:pt x="465" y="66"/>
                  </a:cubicBezTo>
                  <a:cubicBezTo>
                    <a:pt x="503" y="66"/>
                    <a:pt x="534" y="97"/>
                    <a:pt x="534" y="135"/>
                  </a:cubicBezTo>
                  <a:cubicBezTo>
                    <a:pt x="534" y="135"/>
                    <a:pt x="534" y="135"/>
                    <a:pt x="534" y="135"/>
                  </a:cubicBezTo>
                  <a:cubicBezTo>
                    <a:pt x="735" y="135"/>
                    <a:pt x="735" y="135"/>
                    <a:pt x="735" y="135"/>
                  </a:cubicBezTo>
                  <a:cubicBezTo>
                    <a:pt x="735" y="135"/>
                    <a:pt x="735" y="135"/>
                    <a:pt x="735" y="135"/>
                  </a:cubicBezTo>
                  <a:cubicBezTo>
                    <a:pt x="735" y="97"/>
                    <a:pt x="766" y="66"/>
                    <a:pt x="804" y="66"/>
                  </a:cubicBezTo>
                  <a:cubicBezTo>
                    <a:pt x="827" y="66"/>
                    <a:pt x="846" y="77"/>
                    <a:pt x="859" y="93"/>
                  </a:cubicBezTo>
                  <a:cubicBezTo>
                    <a:pt x="872" y="77"/>
                    <a:pt x="892" y="66"/>
                    <a:pt x="914" y="66"/>
                  </a:cubicBezTo>
                  <a:cubicBezTo>
                    <a:pt x="936" y="66"/>
                    <a:pt x="956" y="77"/>
                    <a:pt x="968" y="93"/>
                  </a:cubicBezTo>
                  <a:cubicBezTo>
                    <a:pt x="981" y="77"/>
                    <a:pt x="1001" y="66"/>
                    <a:pt x="1023" y="66"/>
                  </a:cubicBezTo>
                  <a:cubicBezTo>
                    <a:pt x="1059" y="66"/>
                    <a:pt x="1089" y="94"/>
                    <a:pt x="1092" y="129"/>
                  </a:cubicBezTo>
                  <a:cubicBezTo>
                    <a:pt x="1105" y="117"/>
                    <a:pt x="1114" y="100"/>
                    <a:pt x="1114" y="80"/>
                  </a:cubicBezTo>
                  <a:cubicBezTo>
                    <a:pt x="1198" y="80"/>
                    <a:pt x="1198" y="80"/>
                    <a:pt x="1198" y="80"/>
                  </a:cubicBezTo>
                  <a:cubicBezTo>
                    <a:pt x="1199" y="85"/>
                    <a:pt x="1202" y="89"/>
                    <a:pt x="1207" y="89"/>
                  </a:cubicBezTo>
                  <a:cubicBezTo>
                    <a:pt x="1249" y="89"/>
                    <a:pt x="1249" y="89"/>
                    <a:pt x="1249" y="89"/>
                  </a:cubicBezTo>
                  <a:cubicBezTo>
                    <a:pt x="1254" y="89"/>
                    <a:pt x="1258" y="85"/>
                    <a:pt x="1258" y="80"/>
                  </a:cubicBezTo>
                  <a:cubicBezTo>
                    <a:pt x="1258" y="24"/>
                    <a:pt x="1258" y="24"/>
                    <a:pt x="1258" y="24"/>
                  </a:cubicBezTo>
                  <a:cubicBezTo>
                    <a:pt x="1258" y="19"/>
                    <a:pt x="1254" y="15"/>
                    <a:pt x="1249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0" name="Freeform 155"/>
            <p:cNvSpPr>
              <a:spLocks/>
            </p:cNvSpPr>
            <p:nvPr userDrawn="1"/>
          </p:nvSpPr>
          <p:spPr bwMode="auto">
            <a:xfrm>
              <a:off x="2871" y="1035"/>
              <a:ext cx="26" cy="3"/>
            </a:xfrm>
            <a:custGeom>
              <a:avLst/>
              <a:gdLst>
                <a:gd name="T0" fmla="*/ 133 w 166"/>
                <a:gd name="T1" fmla="*/ 0 h 18"/>
                <a:gd name="T2" fmla="*/ 34 w 166"/>
                <a:gd name="T3" fmla="*/ 0 h 18"/>
                <a:gd name="T4" fmla="*/ 0 w 166"/>
                <a:gd name="T5" fmla="*/ 18 h 18"/>
                <a:gd name="T6" fmla="*/ 166 w 166"/>
                <a:gd name="T7" fmla="*/ 18 h 18"/>
                <a:gd name="T8" fmla="*/ 133 w 166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6" h="18">
                  <a:moveTo>
                    <a:pt x="133" y="0"/>
                  </a:moveTo>
                  <a:cubicBezTo>
                    <a:pt x="34" y="0"/>
                    <a:pt x="34" y="0"/>
                    <a:pt x="34" y="0"/>
                  </a:cubicBezTo>
                  <a:cubicBezTo>
                    <a:pt x="20" y="0"/>
                    <a:pt x="8" y="7"/>
                    <a:pt x="0" y="18"/>
                  </a:cubicBezTo>
                  <a:cubicBezTo>
                    <a:pt x="166" y="18"/>
                    <a:pt x="166" y="18"/>
                    <a:pt x="166" y="18"/>
                  </a:cubicBezTo>
                  <a:cubicBezTo>
                    <a:pt x="159" y="7"/>
                    <a:pt x="147" y="0"/>
                    <a:pt x="13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1" name="Freeform 156"/>
            <p:cNvSpPr>
              <a:spLocks/>
            </p:cNvSpPr>
            <p:nvPr userDrawn="1"/>
          </p:nvSpPr>
          <p:spPr bwMode="auto">
            <a:xfrm>
              <a:off x="2956" y="1042"/>
              <a:ext cx="12" cy="45"/>
            </a:xfrm>
            <a:custGeom>
              <a:avLst/>
              <a:gdLst>
                <a:gd name="T0" fmla="*/ 78 w 78"/>
                <a:gd name="T1" fmla="*/ 145 h 290"/>
                <a:gd name="T2" fmla="*/ 0 w 78"/>
                <a:gd name="T3" fmla="*/ 0 h 290"/>
                <a:gd name="T4" fmla="*/ 0 w 78"/>
                <a:gd name="T5" fmla="*/ 290 h 290"/>
                <a:gd name="T6" fmla="*/ 78 w 78"/>
                <a:gd name="T7" fmla="*/ 145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8" h="290">
                  <a:moveTo>
                    <a:pt x="78" y="145"/>
                  </a:moveTo>
                  <a:cubicBezTo>
                    <a:pt x="78" y="83"/>
                    <a:pt x="47" y="29"/>
                    <a:pt x="0" y="0"/>
                  </a:cubicBezTo>
                  <a:cubicBezTo>
                    <a:pt x="0" y="290"/>
                    <a:pt x="0" y="290"/>
                    <a:pt x="0" y="290"/>
                  </a:cubicBezTo>
                  <a:cubicBezTo>
                    <a:pt x="47" y="262"/>
                    <a:pt x="78" y="208"/>
                    <a:pt x="78" y="1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2" name="Freeform 157"/>
            <p:cNvSpPr>
              <a:spLocks/>
            </p:cNvSpPr>
            <p:nvPr userDrawn="1"/>
          </p:nvSpPr>
          <p:spPr bwMode="auto">
            <a:xfrm>
              <a:off x="2800" y="1041"/>
              <a:ext cx="14" cy="47"/>
            </a:xfrm>
            <a:custGeom>
              <a:avLst/>
              <a:gdLst>
                <a:gd name="T0" fmla="*/ 92 w 92"/>
                <a:gd name="T1" fmla="*/ 305 h 305"/>
                <a:gd name="T2" fmla="*/ 92 w 92"/>
                <a:gd name="T3" fmla="*/ 0 h 305"/>
                <a:gd name="T4" fmla="*/ 0 w 92"/>
                <a:gd name="T5" fmla="*/ 152 h 305"/>
                <a:gd name="T6" fmla="*/ 92 w 92"/>
                <a:gd name="T7" fmla="*/ 305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2" h="305">
                  <a:moveTo>
                    <a:pt x="92" y="305"/>
                  </a:moveTo>
                  <a:cubicBezTo>
                    <a:pt x="92" y="0"/>
                    <a:pt x="92" y="0"/>
                    <a:pt x="92" y="0"/>
                  </a:cubicBezTo>
                  <a:cubicBezTo>
                    <a:pt x="38" y="25"/>
                    <a:pt x="0" y="84"/>
                    <a:pt x="0" y="152"/>
                  </a:cubicBezTo>
                  <a:cubicBezTo>
                    <a:pt x="0" y="221"/>
                    <a:pt x="38" y="280"/>
                    <a:pt x="92" y="30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3" name="Rectangle 158"/>
            <p:cNvSpPr>
              <a:spLocks noChangeArrowheads="1"/>
            </p:cNvSpPr>
            <p:nvPr userDrawn="1"/>
          </p:nvSpPr>
          <p:spPr bwMode="auto">
            <a:xfrm>
              <a:off x="2849" y="1058"/>
              <a:ext cx="8" cy="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4" name="Rectangle 159"/>
            <p:cNvSpPr>
              <a:spLocks noChangeArrowheads="1"/>
            </p:cNvSpPr>
            <p:nvPr userDrawn="1"/>
          </p:nvSpPr>
          <p:spPr bwMode="auto">
            <a:xfrm>
              <a:off x="2849" y="1068"/>
              <a:ext cx="8" cy="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5" name="Freeform 160"/>
            <p:cNvSpPr>
              <a:spLocks/>
            </p:cNvSpPr>
            <p:nvPr userDrawn="1"/>
          </p:nvSpPr>
          <p:spPr bwMode="auto">
            <a:xfrm>
              <a:off x="2816" y="1039"/>
              <a:ext cx="139" cy="51"/>
            </a:xfrm>
            <a:custGeom>
              <a:avLst/>
              <a:gdLst>
                <a:gd name="T0" fmla="*/ 838 w 901"/>
                <a:gd name="T1" fmla="*/ 331 h 331"/>
                <a:gd name="T2" fmla="*/ 901 w 901"/>
                <a:gd name="T3" fmla="*/ 316 h 331"/>
                <a:gd name="T4" fmla="*/ 901 w 901"/>
                <a:gd name="T5" fmla="*/ 15 h 331"/>
                <a:gd name="T6" fmla="*/ 838 w 901"/>
                <a:gd name="T7" fmla="*/ 0 h 331"/>
                <a:gd name="T8" fmla="*/ 289 w 901"/>
                <a:gd name="T9" fmla="*/ 0 h 331"/>
                <a:gd name="T10" fmla="*/ 289 w 901"/>
                <a:gd name="T11" fmla="*/ 287 h 331"/>
                <a:gd name="T12" fmla="*/ 269 w 901"/>
                <a:gd name="T13" fmla="*/ 287 h 331"/>
                <a:gd name="T14" fmla="*/ 269 w 901"/>
                <a:gd name="T15" fmla="*/ 252 h 331"/>
                <a:gd name="T16" fmla="*/ 216 w 901"/>
                <a:gd name="T17" fmla="*/ 252 h 331"/>
                <a:gd name="T18" fmla="*/ 216 w 901"/>
                <a:gd name="T19" fmla="*/ 287 h 331"/>
                <a:gd name="T20" fmla="*/ 196 w 901"/>
                <a:gd name="T21" fmla="*/ 287 h 331"/>
                <a:gd name="T22" fmla="*/ 196 w 901"/>
                <a:gd name="T23" fmla="*/ 252 h 331"/>
                <a:gd name="T24" fmla="*/ 196 w 901"/>
                <a:gd name="T25" fmla="*/ 222 h 331"/>
                <a:gd name="T26" fmla="*/ 196 w 901"/>
                <a:gd name="T27" fmla="*/ 186 h 331"/>
                <a:gd name="T28" fmla="*/ 196 w 901"/>
                <a:gd name="T29" fmla="*/ 156 h 331"/>
                <a:gd name="T30" fmla="*/ 196 w 901"/>
                <a:gd name="T31" fmla="*/ 120 h 331"/>
                <a:gd name="T32" fmla="*/ 196 w 901"/>
                <a:gd name="T33" fmla="*/ 91 h 331"/>
                <a:gd name="T34" fmla="*/ 196 w 901"/>
                <a:gd name="T35" fmla="*/ 55 h 331"/>
                <a:gd name="T36" fmla="*/ 196 w 901"/>
                <a:gd name="T37" fmla="*/ 25 h 331"/>
                <a:gd name="T38" fmla="*/ 196 w 901"/>
                <a:gd name="T39" fmla="*/ 0 h 331"/>
                <a:gd name="T40" fmla="*/ 48 w 901"/>
                <a:gd name="T41" fmla="*/ 0 h 331"/>
                <a:gd name="T42" fmla="*/ 0 w 901"/>
                <a:gd name="T43" fmla="*/ 8 h 331"/>
                <a:gd name="T44" fmla="*/ 0 w 901"/>
                <a:gd name="T45" fmla="*/ 322 h 331"/>
                <a:gd name="T46" fmla="*/ 48 w 901"/>
                <a:gd name="T47" fmla="*/ 331 h 331"/>
                <a:gd name="T48" fmla="*/ 838 w 901"/>
                <a:gd name="T49" fmla="*/ 331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01" h="331">
                  <a:moveTo>
                    <a:pt x="838" y="331"/>
                  </a:moveTo>
                  <a:cubicBezTo>
                    <a:pt x="861" y="331"/>
                    <a:pt x="882" y="326"/>
                    <a:pt x="901" y="316"/>
                  </a:cubicBezTo>
                  <a:cubicBezTo>
                    <a:pt x="901" y="15"/>
                    <a:pt x="901" y="15"/>
                    <a:pt x="901" y="15"/>
                  </a:cubicBezTo>
                  <a:cubicBezTo>
                    <a:pt x="882" y="5"/>
                    <a:pt x="861" y="0"/>
                    <a:pt x="838" y="0"/>
                  </a:cubicBezTo>
                  <a:cubicBezTo>
                    <a:pt x="289" y="0"/>
                    <a:pt x="289" y="0"/>
                    <a:pt x="289" y="0"/>
                  </a:cubicBezTo>
                  <a:cubicBezTo>
                    <a:pt x="289" y="287"/>
                    <a:pt x="289" y="287"/>
                    <a:pt x="289" y="287"/>
                  </a:cubicBezTo>
                  <a:cubicBezTo>
                    <a:pt x="269" y="287"/>
                    <a:pt x="269" y="287"/>
                    <a:pt x="269" y="287"/>
                  </a:cubicBezTo>
                  <a:cubicBezTo>
                    <a:pt x="269" y="252"/>
                    <a:pt x="269" y="252"/>
                    <a:pt x="269" y="252"/>
                  </a:cubicBezTo>
                  <a:cubicBezTo>
                    <a:pt x="216" y="252"/>
                    <a:pt x="216" y="252"/>
                    <a:pt x="216" y="252"/>
                  </a:cubicBezTo>
                  <a:cubicBezTo>
                    <a:pt x="216" y="287"/>
                    <a:pt x="216" y="287"/>
                    <a:pt x="216" y="287"/>
                  </a:cubicBezTo>
                  <a:cubicBezTo>
                    <a:pt x="196" y="287"/>
                    <a:pt x="196" y="287"/>
                    <a:pt x="196" y="287"/>
                  </a:cubicBezTo>
                  <a:cubicBezTo>
                    <a:pt x="196" y="252"/>
                    <a:pt x="196" y="252"/>
                    <a:pt x="196" y="252"/>
                  </a:cubicBezTo>
                  <a:cubicBezTo>
                    <a:pt x="196" y="222"/>
                    <a:pt x="196" y="222"/>
                    <a:pt x="196" y="222"/>
                  </a:cubicBezTo>
                  <a:cubicBezTo>
                    <a:pt x="196" y="186"/>
                    <a:pt x="196" y="186"/>
                    <a:pt x="196" y="186"/>
                  </a:cubicBezTo>
                  <a:cubicBezTo>
                    <a:pt x="196" y="156"/>
                    <a:pt x="196" y="156"/>
                    <a:pt x="196" y="156"/>
                  </a:cubicBezTo>
                  <a:cubicBezTo>
                    <a:pt x="196" y="120"/>
                    <a:pt x="196" y="120"/>
                    <a:pt x="196" y="120"/>
                  </a:cubicBezTo>
                  <a:cubicBezTo>
                    <a:pt x="196" y="91"/>
                    <a:pt x="196" y="91"/>
                    <a:pt x="196" y="91"/>
                  </a:cubicBezTo>
                  <a:cubicBezTo>
                    <a:pt x="196" y="55"/>
                    <a:pt x="196" y="55"/>
                    <a:pt x="196" y="5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0"/>
                    <a:pt x="196" y="0"/>
                    <a:pt x="196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31" y="0"/>
                    <a:pt x="15" y="3"/>
                    <a:pt x="0" y="8"/>
                  </a:cubicBezTo>
                  <a:cubicBezTo>
                    <a:pt x="0" y="322"/>
                    <a:pt x="0" y="322"/>
                    <a:pt x="0" y="322"/>
                  </a:cubicBezTo>
                  <a:cubicBezTo>
                    <a:pt x="15" y="328"/>
                    <a:pt x="31" y="331"/>
                    <a:pt x="48" y="331"/>
                  </a:cubicBezTo>
                  <a:lnTo>
                    <a:pt x="838" y="3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6" name="Rectangle 161"/>
            <p:cNvSpPr>
              <a:spLocks noChangeArrowheads="1"/>
            </p:cNvSpPr>
            <p:nvPr userDrawn="1"/>
          </p:nvSpPr>
          <p:spPr bwMode="auto">
            <a:xfrm>
              <a:off x="2849" y="1039"/>
              <a:ext cx="8" cy="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7" name="Rectangle 162"/>
            <p:cNvSpPr>
              <a:spLocks noChangeArrowheads="1"/>
            </p:cNvSpPr>
            <p:nvPr userDrawn="1"/>
          </p:nvSpPr>
          <p:spPr bwMode="auto">
            <a:xfrm>
              <a:off x="2849" y="1048"/>
              <a:ext cx="8" cy="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4" name="Group 165"/>
          <p:cNvGrpSpPr>
            <a:grpSpLocks noChangeAspect="1"/>
          </p:cNvGrpSpPr>
          <p:nvPr userDrawn="1"/>
        </p:nvGrpSpPr>
        <p:grpSpPr bwMode="auto">
          <a:xfrm flipH="1">
            <a:off x="6799472" y="2406953"/>
            <a:ext cx="1906914" cy="178383"/>
            <a:chOff x="841" y="2322"/>
            <a:chExt cx="3207" cy="225"/>
          </a:xfrm>
          <a:solidFill>
            <a:schemeClr val="bg1"/>
          </a:solidFill>
        </p:grpSpPr>
        <p:sp>
          <p:nvSpPr>
            <p:cNvPr id="181" name="Freeform 166"/>
            <p:cNvSpPr>
              <a:spLocks noEditPoints="1"/>
            </p:cNvSpPr>
            <p:nvPr userDrawn="1"/>
          </p:nvSpPr>
          <p:spPr bwMode="auto">
            <a:xfrm>
              <a:off x="3899" y="2506"/>
              <a:ext cx="41" cy="41"/>
            </a:xfrm>
            <a:custGeom>
              <a:avLst/>
              <a:gdLst>
                <a:gd name="T0" fmla="*/ 45 w 90"/>
                <a:gd name="T1" fmla="*/ 0 h 91"/>
                <a:gd name="T2" fmla="*/ 0 w 90"/>
                <a:gd name="T3" fmla="*/ 45 h 91"/>
                <a:gd name="T4" fmla="*/ 45 w 90"/>
                <a:gd name="T5" fmla="*/ 91 h 91"/>
                <a:gd name="T6" fmla="*/ 90 w 90"/>
                <a:gd name="T7" fmla="*/ 45 h 91"/>
                <a:gd name="T8" fmla="*/ 45 w 90"/>
                <a:gd name="T9" fmla="*/ 0 h 91"/>
                <a:gd name="T10" fmla="*/ 45 w 90"/>
                <a:gd name="T11" fmla="*/ 77 h 91"/>
                <a:gd name="T12" fmla="*/ 13 w 90"/>
                <a:gd name="T13" fmla="*/ 45 h 91"/>
                <a:gd name="T14" fmla="*/ 45 w 90"/>
                <a:gd name="T15" fmla="*/ 13 h 91"/>
                <a:gd name="T16" fmla="*/ 77 w 90"/>
                <a:gd name="T17" fmla="*/ 45 h 91"/>
                <a:gd name="T18" fmla="*/ 45 w 90"/>
                <a:gd name="T19" fmla="*/ 77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91">
                  <a:moveTo>
                    <a:pt x="45" y="0"/>
                  </a:moveTo>
                  <a:cubicBezTo>
                    <a:pt x="20" y="0"/>
                    <a:pt x="0" y="20"/>
                    <a:pt x="0" y="45"/>
                  </a:cubicBezTo>
                  <a:cubicBezTo>
                    <a:pt x="0" y="70"/>
                    <a:pt x="20" y="91"/>
                    <a:pt x="45" y="91"/>
                  </a:cubicBezTo>
                  <a:cubicBezTo>
                    <a:pt x="70" y="91"/>
                    <a:pt x="90" y="70"/>
                    <a:pt x="90" y="45"/>
                  </a:cubicBezTo>
                  <a:cubicBezTo>
                    <a:pt x="90" y="20"/>
                    <a:pt x="70" y="0"/>
                    <a:pt x="45" y="0"/>
                  </a:cubicBezTo>
                  <a:close/>
                  <a:moveTo>
                    <a:pt x="45" y="77"/>
                  </a:moveTo>
                  <a:cubicBezTo>
                    <a:pt x="27" y="77"/>
                    <a:pt x="13" y="63"/>
                    <a:pt x="13" y="45"/>
                  </a:cubicBezTo>
                  <a:cubicBezTo>
                    <a:pt x="13" y="28"/>
                    <a:pt x="27" y="13"/>
                    <a:pt x="45" y="13"/>
                  </a:cubicBezTo>
                  <a:cubicBezTo>
                    <a:pt x="63" y="13"/>
                    <a:pt x="77" y="28"/>
                    <a:pt x="77" y="45"/>
                  </a:cubicBezTo>
                  <a:cubicBezTo>
                    <a:pt x="77" y="63"/>
                    <a:pt x="63" y="77"/>
                    <a:pt x="45" y="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82" name="Oval 167"/>
            <p:cNvSpPr>
              <a:spLocks noChangeArrowheads="1"/>
            </p:cNvSpPr>
            <p:nvPr userDrawn="1"/>
          </p:nvSpPr>
          <p:spPr bwMode="auto">
            <a:xfrm>
              <a:off x="3908" y="2515"/>
              <a:ext cx="23" cy="2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83" name="Freeform 168"/>
            <p:cNvSpPr>
              <a:spLocks noEditPoints="1"/>
            </p:cNvSpPr>
            <p:nvPr userDrawn="1"/>
          </p:nvSpPr>
          <p:spPr bwMode="auto">
            <a:xfrm>
              <a:off x="3955" y="2506"/>
              <a:ext cx="41" cy="41"/>
            </a:xfrm>
            <a:custGeom>
              <a:avLst/>
              <a:gdLst>
                <a:gd name="T0" fmla="*/ 46 w 91"/>
                <a:gd name="T1" fmla="*/ 0 h 91"/>
                <a:gd name="T2" fmla="*/ 0 w 91"/>
                <a:gd name="T3" fmla="*/ 45 h 91"/>
                <a:gd name="T4" fmla="*/ 46 w 91"/>
                <a:gd name="T5" fmla="*/ 91 h 91"/>
                <a:gd name="T6" fmla="*/ 91 w 91"/>
                <a:gd name="T7" fmla="*/ 45 h 91"/>
                <a:gd name="T8" fmla="*/ 46 w 91"/>
                <a:gd name="T9" fmla="*/ 0 h 91"/>
                <a:gd name="T10" fmla="*/ 46 w 91"/>
                <a:gd name="T11" fmla="*/ 77 h 91"/>
                <a:gd name="T12" fmla="*/ 14 w 91"/>
                <a:gd name="T13" fmla="*/ 45 h 91"/>
                <a:gd name="T14" fmla="*/ 46 w 91"/>
                <a:gd name="T15" fmla="*/ 13 h 91"/>
                <a:gd name="T16" fmla="*/ 78 w 91"/>
                <a:gd name="T17" fmla="*/ 45 h 91"/>
                <a:gd name="T18" fmla="*/ 46 w 91"/>
                <a:gd name="T19" fmla="*/ 77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1" h="91">
                  <a:moveTo>
                    <a:pt x="46" y="0"/>
                  </a:moveTo>
                  <a:cubicBezTo>
                    <a:pt x="20" y="0"/>
                    <a:pt x="0" y="20"/>
                    <a:pt x="0" y="45"/>
                  </a:cubicBezTo>
                  <a:cubicBezTo>
                    <a:pt x="0" y="70"/>
                    <a:pt x="20" y="91"/>
                    <a:pt x="46" y="91"/>
                  </a:cubicBezTo>
                  <a:cubicBezTo>
                    <a:pt x="71" y="91"/>
                    <a:pt x="91" y="70"/>
                    <a:pt x="91" y="45"/>
                  </a:cubicBezTo>
                  <a:cubicBezTo>
                    <a:pt x="91" y="20"/>
                    <a:pt x="71" y="0"/>
                    <a:pt x="46" y="0"/>
                  </a:cubicBezTo>
                  <a:close/>
                  <a:moveTo>
                    <a:pt x="46" y="77"/>
                  </a:moveTo>
                  <a:cubicBezTo>
                    <a:pt x="28" y="77"/>
                    <a:pt x="14" y="63"/>
                    <a:pt x="14" y="45"/>
                  </a:cubicBezTo>
                  <a:cubicBezTo>
                    <a:pt x="14" y="28"/>
                    <a:pt x="28" y="13"/>
                    <a:pt x="46" y="13"/>
                  </a:cubicBezTo>
                  <a:cubicBezTo>
                    <a:pt x="63" y="13"/>
                    <a:pt x="78" y="28"/>
                    <a:pt x="78" y="45"/>
                  </a:cubicBezTo>
                  <a:cubicBezTo>
                    <a:pt x="78" y="63"/>
                    <a:pt x="63" y="77"/>
                    <a:pt x="46" y="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84" name="Oval 169"/>
            <p:cNvSpPr>
              <a:spLocks noChangeArrowheads="1"/>
            </p:cNvSpPr>
            <p:nvPr userDrawn="1"/>
          </p:nvSpPr>
          <p:spPr bwMode="auto">
            <a:xfrm>
              <a:off x="3964" y="2515"/>
              <a:ext cx="23" cy="2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85" name="Freeform 170"/>
            <p:cNvSpPr>
              <a:spLocks noEditPoints="1"/>
            </p:cNvSpPr>
            <p:nvPr userDrawn="1"/>
          </p:nvSpPr>
          <p:spPr bwMode="auto">
            <a:xfrm>
              <a:off x="3486" y="2506"/>
              <a:ext cx="41" cy="41"/>
            </a:xfrm>
            <a:custGeom>
              <a:avLst/>
              <a:gdLst>
                <a:gd name="T0" fmla="*/ 45 w 91"/>
                <a:gd name="T1" fmla="*/ 0 h 91"/>
                <a:gd name="T2" fmla="*/ 0 w 91"/>
                <a:gd name="T3" fmla="*/ 45 h 91"/>
                <a:gd name="T4" fmla="*/ 45 w 91"/>
                <a:gd name="T5" fmla="*/ 91 h 91"/>
                <a:gd name="T6" fmla="*/ 91 w 91"/>
                <a:gd name="T7" fmla="*/ 45 h 91"/>
                <a:gd name="T8" fmla="*/ 45 w 91"/>
                <a:gd name="T9" fmla="*/ 0 h 91"/>
                <a:gd name="T10" fmla="*/ 45 w 91"/>
                <a:gd name="T11" fmla="*/ 77 h 91"/>
                <a:gd name="T12" fmla="*/ 13 w 91"/>
                <a:gd name="T13" fmla="*/ 45 h 91"/>
                <a:gd name="T14" fmla="*/ 45 w 91"/>
                <a:gd name="T15" fmla="*/ 13 h 91"/>
                <a:gd name="T16" fmla="*/ 77 w 91"/>
                <a:gd name="T17" fmla="*/ 45 h 91"/>
                <a:gd name="T18" fmla="*/ 45 w 91"/>
                <a:gd name="T19" fmla="*/ 77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1" h="91">
                  <a:moveTo>
                    <a:pt x="45" y="0"/>
                  </a:moveTo>
                  <a:cubicBezTo>
                    <a:pt x="20" y="0"/>
                    <a:pt x="0" y="20"/>
                    <a:pt x="0" y="45"/>
                  </a:cubicBezTo>
                  <a:cubicBezTo>
                    <a:pt x="0" y="70"/>
                    <a:pt x="20" y="91"/>
                    <a:pt x="45" y="91"/>
                  </a:cubicBezTo>
                  <a:cubicBezTo>
                    <a:pt x="70" y="91"/>
                    <a:pt x="91" y="70"/>
                    <a:pt x="91" y="45"/>
                  </a:cubicBezTo>
                  <a:cubicBezTo>
                    <a:pt x="91" y="20"/>
                    <a:pt x="70" y="0"/>
                    <a:pt x="45" y="0"/>
                  </a:cubicBezTo>
                  <a:close/>
                  <a:moveTo>
                    <a:pt x="45" y="77"/>
                  </a:moveTo>
                  <a:cubicBezTo>
                    <a:pt x="28" y="77"/>
                    <a:pt x="13" y="63"/>
                    <a:pt x="13" y="45"/>
                  </a:cubicBezTo>
                  <a:cubicBezTo>
                    <a:pt x="13" y="28"/>
                    <a:pt x="28" y="13"/>
                    <a:pt x="45" y="13"/>
                  </a:cubicBezTo>
                  <a:cubicBezTo>
                    <a:pt x="63" y="13"/>
                    <a:pt x="77" y="28"/>
                    <a:pt x="77" y="45"/>
                  </a:cubicBezTo>
                  <a:cubicBezTo>
                    <a:pt x="77" y="63"/>
                    <a:pt x="63" y="77"/>
                    <a:pt x="45" y="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86" name="Oval 171"/>
            <p:cNvSpPr>
              <a:spLocks noChangeArrowheads="1"/>
            </p:cNvSpPr>
            <p:nvPr userDrawn="1"/>
          </p:nvSpPr>
          <p:spPr bwMode="auto">
            <a:xfrm>
              <a:off x="3494" y="2515"/>
              <a:ext cx="24" cy="2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87" name="Freeform 172"/>
            <p:cNvSpPr>
              <a:spLocks noEditPoints="1"/>
            </p:cNvSpPr>
            <p:nvPr userDrawn="1"/>
          </p:nvSpPr>
          <p:spPr bwMode="auto">
            <a:xfrm>
              <a:off x="3423" y="2506"/>
              <a:ext cx="41" cy="41"/>
            </a:xfrm>
            <a:custGeom>
              <a:avLst/>
              <a:gdLst>
                <a:gd name="T0" fmla="*/ 45 w 91"/>
                <a:gd name="T1" fmla="*/ 0 h 91"/>
                <a:gd name="T2" fmla="*/ 0 w 91"/>
                <a:gd name="T3" fmla="*/ 45 h 91"/>
                <a:gd name="T4" fmla="*/ 45 w 91"/>
                <a:gd name="T5" fmla="*/ 91 h 91"/>
                <a:gd name="T6" fmla="*/ 91 w 91"/>
                <a:gd name="T7" fmla="*/ 45 h 91"/>
                <a:gd name="T8" fmla="*/ 45 w 91"/>
                <a:gd name="T9" fmla="*/ 0 h 91"/>
                <a:gd name="T10" fmla="*/ 45 w 91"/>
                <a:gd name="T11" fmla="*/ 77 h 91"/>
                <a:gd name="T12" fmla="*/ 13 w 91"/>
                <a:gd name="T13" fmla="*/ 45 h 91"/>
                <a:gd name="T14" fmla="*/ 45 w 91"/>
                <a:gd name="T15" fmla="*/ 13 h 91"/>
                <a:gd name="T16" fmla="*/ 77 w 91"/>
                <a:gd name="T17" fmla="*/ 45 h 91"/>
                <a:gd name="T18" fmla="*/ 45 w 91"/>
                <a:gd name="T19" fmla="*/ 77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1" h="91">
                  <a:moveTo>
                    <a:pt x="45" y="0"/>
                  </a:moveTo>
                  <a:cubicBezTo>
                    <a:pt x="20" y="0"/>
                    <a:pt x="0" y="20"/>
                    <a:pt x="0" y="45"/>
                  </a:cubicBezTo>
                  <a:cubicBezTo>
                    <a:pt x="0" y="70"/>
                    <a:pt x="20" y="91"/>
                    <a:pt x="45" y="91"/>
                  </a:cubicBezTo>
                  <a:cubicBezTo>
                    <a:pt x="70" y="91"/>
                    <a:pt x="91" y="70"/>
                    <a:pt x="91" y="45"/>
                  </a:cubicBezTo>
                  <a:cubicBezTo>
                    <a:pt x="91" y="20"/>
                    <a:pt x="70" y="0"/>
                    <a:pt x="45" y="0"/>
                  </a:cubicBezTo>
                  <a:close/>
                  <a:moveTo>
                    <a:pt x="45" y="77"/>
                  </a:moveTo>
                  <a:cubicBezTo>
                    <a:pt x="28" y="77"/>
                    <a:pt x="13" y="63"/>
                    <a:pt x="13" y="45"/>
                  </a:cubicBezTo>
                  <a:cubicBezTo>
                    <a:pt x="13" y="28"/>
                    <a:pt x="28" y="13"/>
                    <a:pt x="45" y="13"/>
                  </a:cubicBezTo>
                  <a:cubicBezTo>
                    <a:pt x="63" y="13"/>
                    <a:pt x="77" y="28"/>
                    <a:pt x="77" y="45"/>
                  </a:cubicBezTo>
                  <a:cubicBezTo>
                    <a:pt x="77" y="63"/>
                    <a:pt x="63" y="77"/>
                    <a:pt x="45" y="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88" name="Oval 173"/>
            <p:cNvSpPr>
              <a:spLocks noChangeArrowheads="1"/>
            </p:cNvSpPr>
            <p:nvPr userDrawn="1"/>
          </p:nvSpPr>
          <p:spPr bwMode="auto">
            <a:xfrm>
              <a:off x="3431" y="2515"/>
              <a:ext cx="24" cy="2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89" name="Freeform 174"/>
            <p:cNvSpPr>
              <a:spLocks noEditPoints="1"/>
            </p:cNvSpPr>
            <p:nvPr userDrawn="1"/>
          </p:nvSpPr>
          <p:spPr bwMode="auto">
            <a:xfrm>
              <a:off x="3546" y="2470"/>
              <a:ext cx="77" cy="77"/>
            </a:xfrm>
            <a:custGeom>
              <a:avLst/>
              <a:gdLst>
                <a:gd name="T0" fmla="*/ 85 w 170"/>
                <a:gd name="T1" fmla="*/ 0 h 170"/>
                <a:gd name="T2" fmla="*/ 0 w 170"/>
                <a:gd name="T3" fmla="*/ 85 h 170"/>
                <a:gd name="T4" fmla="*/ 85 w 170"/>
                <a:gd name="T5" fmla="*/ 170 h 170"/>
                <a:gd name="T6" fmla="*/ 170 w 170"/>
                <a:gd name="T7" fmla="*/ 85 h 170"/>
                <a:gd name="T8" fmla="*/ 85 w 170"/>
                <a:gd name="T9" fmla="*/ 0 h 170"/>
                <a:gd name="T10" fmla="*/ 18 w 170"/>
                <a:gd name="T11" fmla="*/ 110 h 170"/>
                <a:gd name="T12" fmla="*/ 13 w 170"/>
                <a:gd name="T13" fmla="*/ 85 h 170"/>
                <a:gd name="T14" fmla="*/ 18 w 170"/>
                <a:gd name="T15" fmla="*/ 59 h 170"/>
                <a:gd name="T16" fmla="*/ 59 w 170"/>
                <a:gd name="T17" fmla="*/ 85 h 170"/>
                <a:gd name="T18" fmla="*/ 18 w 170"/>
                <a:gd name="T19" fmla="*/ 110 h 170"/>
                <a:gd name="T20" fmla="*/ 74 w 170"/>
                <a:gd name="T21" fmla="*/ 155 h 170"/>
                <a:gd name="T22" fmla="*/ 29 w 170"/>
                <a:gd name="T23" fmla="*/ 130 h 170"/>
                <a:gd name="T24" fmla="*/ 72 w 170"/>
                <a:gd name="T25" fmla="*/ 107 h 170"/>
                <a:gd name="T26" fmla="*/ 74 w 170"/>
                <a:gd name="T27" fmla="*/ 155 h 170"/>
                <a:gd name="T28" fmla="*/ 72 w 170"/>
                <a:gd name="T29" fmla="*/ 62 h 170"/>
                <a:gd name="T30" fmla="*/ 29 w 170"/>
                <a:gd name="T31" fmla="*/ 40 h 170"/>
                <a:gd name="T32" fmla="*/ 74 w 170"/>
                <a:gd name="T33" fmla="*/ 14 h 170"/>
                <a:gd name="T34" fmla="*/ 72 w 170"/>
                <a:gd name="T35" fmla="*/ 62 h 170"/>
                <a:gd name="T36" fmla="*/ 96 w 170"/>
                <a:gd name="T37" fmla="*/ 14 h 170"/>
                <a:gd name="T38" fmla="*/ 140 w 170"/>
                <a:gd name="T39" fmla="*/ 40 h 170"/>
                <a:gd name="T40" fmla="*/ 98 w 170"/>
                <a:gd name="T41" fmla="*/ 62 h 170"/>
                <a:gd name="T42" fmla="*/ 96 w 170"/>
                <a:gd name="T43" fmla="*/ 14 h 170"/>
                <a:gd name="T44" fmla="*/ 96 w 170"/>
                <a:gd name="T45" fmla="*/ 155 h 170"/>
                <a:gd name="T46" fmla="*/ 98 w 170"/>
                <a:gd name="T47" fmla="*/ 107 h 170"/>
                <a:gd name="T48" fmla="*/ 140 w 170"/>
                <a:gd name="T49" fmla="*/ 130 h 170"/>
                <a:gd name="T50" fmla="*/ 96 w 170"/>
                <a:gd name="T51" fmla="*/ 155 h 170"/>
                <a:gd name="T52" fmla="*/ 111 w 170"/>
                <a:gd name="T53" fmla="*/ 85 h 170"/>
                <a:gd name="T54" fmla="*/ 152 w 170"/>
                <a:gd name="T55" fmla="*/ 59 h 170"/>
                <a:gd name="T56" fmla="*/ 156 w 170"/>
                <a:gd name="T57" fmla="*/ 85 h 170"/>
                <a:gd name="T58" fmla="*/ 152 w 170"/>
                <a:gd name="T59" fmla="*/ 110 h 170"/>
                <a:gd name="T60" fmla="*/ 111 w 170"/>
                <a:gd name="T61" fmla="*/ 85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70" h="170">
                  <a:moveTo>
                    <a:pt x="85" y="0"/>
                  </a:moveTo>
                  <a:cubicBezTo>
                    <a:pt x="38" y="0"/>
                    <a:pt x="0" y="38"/>
                    <a:pt x="0" y="85"/>
                  </a:cubicBezTo>
                  <a:cubicBezTo>
                    <a:pt x="0" y="132"/>
                    <a:pt x="38" y="170"/>
                    <a:pt x="85" y="170"/>
                  </a:cubicBezTo>
                  <a:cubicBezTo>
                    <a:pt x="132" y="170"/>
                    <a:pt x="170" y="132"/>
                    <a:pt x="170" y="85"/>
                  </a:cubicBezTo>
                  <a:cubicBezTo>
                    <a:pt x="170" y="38"/>
                    <a:pt x="132" y="0"/>
                    <a:pt x="85" y="0"/>
                  </a:cubicBezTo>
                  <a:close/>
                  <a:moveTo>
                    <a:pt x="18" y="110"/>
                  </a:moveTo>
                  <a:cubicBezTo>
                    <a:pt x="15" y="102"/>
                    <a:pt x="13" y="94"/>
                    <a:pt x="13" y="85"/>
                  </a:cubicBezTo>
                  <a:cubicBezTo>
                    <a:pt x="13" y="76"/>
                    <a:pt x="15" y="67"/>
                    <a:pt x="18" y="59"/>
                  </a:cubicBezTo>
                  <a:cubicBezTo>
                    <a:pt x="32" y="59"/>
                    <a:pt x="51" y="77"/>
                    <a:pt x="59" y="85"/>
                  </a:cubicBezTo>
                  <a:cubicBezTo>
                    <a:pt x="51" y="92"/>
                    <a:pt x="32" y="110"/>
                    <a:pt x="18" y="110"/>
                  </a:cubicBezTo>
                  <a:close/>
                  <a:moveTo>
                    <a:pt x="74" y="155"/>
                  </a:moveTo>
                  <a:cubicBezTo>
                    <a:pt x="56" y="153"/>
                    <a:pt x="40" y="143"/>
                    <a:pt x="29" y="130"/>
                  </a:cubicBezTo>
                  <a:cubicBezTo>
                    <a:pt x="36" y="118"/>
                    <a:pt x="62" y="110"/>
                    <a:pt x="72" y="107"/>
                  </a:cubicBezTo>
                  <a:cubicBezTo>
                    <a:pt x="75" y="118"/>
                    <a:pt x="81" y="144"/>
                    <a:pt x="74" y="155"/>
                  </a:cubicBezTo>
                  <a:close/>
                  <a:moveTo>
                    <a:pt x="72" y="62"/>
                  </a:moveTo>
                  <a:cubicBezTo>
                    <a:pt x="62" y="60"/>
                    <a:pt x="36" y="52"/>
                    <a:pt x="29" y="40"/>
                  </a:cubicBezTo>
                  <a:cubicBezTo>
                    <a:pt x="40" y="26"/>
                    <a:pt x="56" y="17"/>
                    <a:pt x="74" y="14"/>
                  </a:cubicBezTo>
                  <a:cubicBezTo>
                    <a:pt x="81" y="26"/>
                    <a:pt x="75" y="52"/>
                    <a:pt x="72" y="62"/>
                  </a:cubicBezTo>
                  <a:close/>
                  <a:moveTo>
                    <a:pt x="96" y="14"/>
                  </a:moveTo>
                  <a:cubicBezTo>
                    <a:pt x="114" y="17"/>
                    <a:pt x="129" y="26"/>
                    <a:pt x="140" y="40"/>
                  </a:cubicBezTo>
                  <a:cubicBezTo>
                    <a:pt x="133" y="52"/>
                    <a:pt x="108" y="60"/>
                    <a:pt x="98" y="62"/>
                  </a:cubicBezTo>
                  <a:cubicBezTo>
                    <a:pt x="95" y="52"/>
                    <a:pt x="89" y="26"/>
                    <a:pt x="96" y="14"/>
                  </a:cubicBezTo>
                  <a:close/>
                  <a:moveTo>
                    <a:pt x="96" y="155"/>
                  </a:moveTo>
                  <a:cubicBezTo>
                    <a:pt x="89" y="144"/>
                    <a:pt x="95" y="118"/>
                    <a:pt x="98" y="107"/>
                  </a:cubicBezTo>
                  <a:cubicBezTo>
                    <a:pt x="108" y="110"/>
                    <a:pt x="133" y="118"/>
                    <a:pt x="140" y="130"/>
                  </a:cubicBezTo>
                  <a:cubicBezTo>
                    <a:pt x="129" y="143"/>
                    <a:pt x="114" y="153"/>
                    <a:pt x="96" y="155"/>
                  </a:cubicBezTo>
                  <a:close/>
                  <a:moveTo>
                    <a:pt x="111" y="85"/>
                  </a:moveTo>
                  <a:cubicBezTo>
                    <a:pt x="118" y="77"/>
                    <a:pt x="138" y="59"/>
                    <a:pt x="152" y="59"/>
                  </a:cubicBezTo>
                  <a:cubicBezTo>
                    <a:pt x="155" y="67"/>
                    <a:pt x="156" y="76"/>
                    <a:pt x="156" y="85"/>
                  </a:cubicBezTo>
                  <a:cubicBezTo>
                    <a:pt x="156" y="94"/>
                    <a:pt x="155" y="102"/>
                    <a:pt x="152" y="110"/>
                  </a:cubicBezTo>
                  <a:cubicBezTo>
                    <a:pt x="138" y="110"/>
                    <a:pt x="118" y="92"/>
                    <a:pt x="111" y="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0" name="Freeform 175"/>
            <p:cNvSpPr>
              <a:spLocks noEditPoints="1"/>
            </p:cNvSpPr>
            <p:nvPr userDrawn="1"/>
          </p:nvSpPr>
          <p:spPr bwMode="auto">
            <a:xfrm>
              <a:off x="3634" y="2470"/>
              <a:ext cx="77" cy="77"/>
            </a:xfrm>
            <a:custGeom>
              <a:avLst/>
              <a:gdLst>
                <a:gd name="T0" fmla="*/ 85 w 170"/>
                <a:gd name="T1" fmla="*/ 0 h 170"/>
                <a:gd name="T2" fmla="*/ 0 w 170"/>
                <a:gd name="T3" fmla="*/ 85 h 170"/>
                <a:gd name="T4" fmla="*/ 85 w 170"/>
                <a:gd name="T5" fmla="*/ 170 h 170"/>
                <a:gd name="T6" fmla="*/ 170 w 170"/>
                <a:gd name="T7" fmla="*/ 85 h 170"/>
                <a:gd name="T8" fmla="*/ 85 w 170"/>
                <a:gd name="T9" fmla="*/ 0 h 170"/>
                <a:gd name="T10" fmla="*/ 18 w 170"/>
                <a:gd name="T11" fmla="*/ 110 h 170"/>
                <a:gd name="T12" fmla="*/ 13 w 170"/>
                <a:gd name="T13" fmla="*/ 85 h 170"/>
                <a:gd name="T14" fmla="*/ 18 w 170"/>
                <a:gd name="T15" fmla="*/ 59 h 170"/>
                <a:gd name="T16" fmla="*/ 59 w 170"/>
                <a:gd name="T17" fmla="*/ 85 h 170"/>
                <a:gd name="T18" fmla="*/ 18 w 170"/>
                <a:gd name="T19" fmla="*/ 110 h 170"/>
                <a:gd name="T20" fmla="*/ 73 w 170"/>
                <a:gd name="T21" fmla="*/ 155 h 170"/>
                <a:gd name="T22" fmla="*/ 29 w 170"/>
                <a:gd name="T23" fmla="*/ 130 h 170"/>
                <a:gd name="T24" fmla="*/ 72 w 170"/>
                <a:gd name="T25" fmla="*/ 107 h 170"/>
                <a:gd name="T26" fmla="*/ 73 w 170"/>
                <a:gd name="T27" fmla="*/ 155 h 170"/>
                <a:gd name="T28" fmla="*/ 72 w 170"/>
                <a:gd name="T29" fmla="*/ 62 h 170"/>
                <a:gd name="T30" fmla="*/ 29 w 170"/>
                <a:gd name="T31" fmla="*/ 40 h 170"/>
                <a:gd name="T32" fmla="*/ 73 w 170"/>
                <a:gd name="T33" fmla="*/ 14 h 170"/>
                <a:gd name="T34" fmla="*/ 72 w 170"/>
                <a:gd name="T35" fmla="*/ 62 h 170"/>
                <a:gd name="T36" fmla="*/ 96 w 170"/>
                <a:gd name="T37" fmla="*/ 14 h 170"/>
                <a:gd name="T38" fmla="*/ 140 w 170"/>
                <a:gd name="T39" fmla="*/ 40 h 170"/>
                <a:gd name="T40" fmla="*/ 98 w 170"/>
                <a:gd name="T41" fmla="*/ 62 h 170"/>
                <a:gd name="T42" fmla="*/ 96 w 170"/>
                <a:gd name="T43" fmla="*/ 14 h 170"/>
                <a:gd name="T44" fmla="*/ 96 w 170"/>
                <a:gd name="T45" fmla="*/ 155 h 170"/>
                <a:gd name="T46" fmla="*/ 98 w 170"/>
                <a:gd name="T47" fmla="*/ 107 h 170"/>
                <a:gd name="T48" fmla="*/ 140 w 170"/>
                <a:gd name="T49" fmla="*/ 130 h 170"/>
                <a:gd name="T50" fmla="*/ 96 w 170"/>
                <a:gd name="T51" fmla="*/ 155 h 170"/>
                <a:gd name="T52" fmla="*/ 111 w 170"/>
                <a:gd name="T53" fmla="*/ 85 h 170"/>
                <a:gd name="T54" fmla="*/ 151 w 170"/>
                <a:gd name="T55" fmla="*/ 59 h 170"/>
                <a:gd name="T56" fmla="*/ 156 w 170"/>
                <a:gd name="T57" fmla="*/ 85 h 170"/>
                <a:gd name="T58" fmla="*/ 151 w 170"/>
                <a:gd name="T59" fmla="*/ 110 h 170"/>
                <a:gd name="T60" fmla="*/ 111 w 170"/>
                <a:gd name="T61" fmla="*/ 85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70" h="170">
                  <a:moveTo>
                    <a:pt x="85" y="0"/>
                  </a:moveTo>
                  <a:cubicBezTo>
                    <a:pt x="38" y="0"/>
                    <a:pt x="0" y="38"/>
                    <a:pt x="0" y="85"/>
                  </a:cubicBezTo>
                  <a:cubicBezTo>
                    <a:pt x="0" y="132"/>
                    <a:pt x="38" y="170"/>
                    <a:pt x="85" y="170"/>
                  </a:cubicBezTo>
                  <a:cubicBezTo>
                    <a:pt x="131" y="170"/>
                    <a:pt x="170" y="132"/>
                    <a:pt x="170" y="85"/>
                  </a:cubicBezTo>
                  <a:cubicBezTo>
                    <a:pt x="170" y="38"/>
                    <a:pt x="131" y="0"/>
                    <a:pt x="85" y="0"/>
                  </a:cubicBezTo>
                  <a:close/>
                  <a:moveTo>
                    <a:pt x="18" y="110"/>
                  </a:moveTo>
                  <a:cubicBezTo>
                    <a:pt x="15" y="102"/>
                    <a:pt x="13" y="94"/>
                    <a:pt x="13" y="85"/>
                  </a:cubicBezTo>
                  <a:cubicBezTo>
                    <a:pt x="13" y="76"/>
                    <a:pt x="15" y="67"/>
                    <a:pt x="18" y="59"/>
                  </a:cubicBezTo>
                  <a:cubicBezTo>
                    <a:pt x="32" y="59"/>
                    <a:pt x="51" y="77"/>
                    <a:pt x="59" y="85"/>
                  </a:cubicBezTo>
                  <a:cubicBezTo>
                    <a:pt x="51" y="92"/>
                    <a:pt x="32" y="110"/>
                    <a:pt x="18" y="110"/>
                  </a:cubicBezTo>
                  <a:close/>
                  <a:moveTo>
                    <a:pt x="73" y="155"/>
                  </a:moveTo>
                  <a:cubicBezTo>
                    <a:pt x="56" y="153"/>
                    <a:pt x="40" y="143"/>
                    <a:pt x="29" y="130"/>
                  </a:cubicBezTo>
                  <a:cubicBezTo>
                    <a:pt x="36" y="118"/>
                    <a:pt x="61" y="110"/>
                    <a:pt x="72" y="107"/>
                  </a:cubicBezTo>
                  <a:cubicBezTo>
                    <a:pt x="74" y="118"/>
                    <a:pt x="80" y="144"/>
                    <a:pt x="73" y="155"/>
                  </a:cubicBezTo>
                  <a:close/>
                  <a:moveTo>
                    <a:pt x="72" y="62"/>
                  </a:moveTo>
                  <a:cubicBezTo>
                    <a:pt x="61" y="60"/>
                    <a:pt x="36" y="52"/>
                    <a:pt x="29" y="40"/>
                  </a:cubicBezTo>
                  <a:cubicBezTo>
                    <a:pt x="40" y="26"/>
                    <a:pt x="56" y="17"/>
                    <a:pt x="73" y="14"/>
                  </a:cubicBezTo>
                  <a:cubicBezTo>
                    <a:pt x="80" y="26"/>
                    <a:pt x="74" y="52"/>
                    <a:pt x="72" y="62"/>
                  </a:cubicBezTo>
                  <a:close/>
                  <a:moveTo>
                    <a:pt x="96" y="14"/>
                  </a:moveTo>
                  <a:cubicBezTo>
                    <a:pt x="114" y="17"/>
                    <a:pt x="129" y="26"/>
                    <a:pt x="140" y="40"/>
                  </a:cubicBezTo>
                  <a:cubicBezTo>
                    <a:pt x="133" y="52"/>
                    <a:pt x="108" y="60"/>
                    <a:pt x="98" y="62"/>
                  </a:cubicBezTo>
                  <a:cubicBezTo>
                    <a:pt x="95" y="52"/>
                    <a:pt x="89" y="26"/>
                    <a:pt x="96" y="14"/>
                  </a:cubicBezTo>
                  <a:close/>
                  <a:moveTo>
                    <a:pt x="96" y="155"/>
                  </a:moveTo>
                  <a:cubicBezTo>
                    <a:pt x="89" y="144"/>
                    <a:pt x="95" y="118"/>
                    <a:pt x="98" y="107"/>
                  </a:cubicBezTo>
                  <a:cubicBezTo>
                    <a:pt x="108" y="110"/>
                    <a:pt x="133" y="118"/>
                    <a:pt x="140" y="130"/>
                  </a:cubicBezTo>
                  <a:cubicBezTo>
                    <a:pt x="129" y="143"/>
                    <a:pt x="114" y="153"/>
                    <a:pt x="96" y="155"/>
                  </a:cubicBezTo>
                  <a:close/>
                  <a:moveTo>
                    <a:pt x="111" y="85"/>
                  </a:moveTo>
                  <a:cubicBezTo>
                    <a:pt x="118" y="77"/>
                    <a:pt x="138" y="59"/>
                    <a:pt x="151" y="59"/>
                  </a:cubicBezTo>
                  <a:cubicBezTo>
                    <a:pt x="154" y="67"/>
                    <a:pt x="156" y="76"/>
                    <a:pt x="156" y="85"/>
                  </a:cubicBezTo>
                  <a:cubicBezTo>
                    <a:pt x="156" y="94"/>
                    <a:pt x="154" y="102"/>
                    <a:pt x="151" y="110"/>
                  </a:cubicBezTo>
                  <a:cubicBezTo>
                    <a:pt x="138" y="110"/>
                    <a:pt x="118" y="92"/>
                    <a:pt x="111" y="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1" name="Freeform 176"/>
            <p:cNvSpPr>
              <a:spLocks noEditPoints="1"/>
            </p:cNvSpPr>
            <p:nvPr userDrawn="1"/>
          </p:nvSpPr>
          <p:spPr bwMode="auto">
            <a:xfrm>
              <a:off x="3722" y="2470"/>
              <a:ext cx="76" cy="77"/>
            </a:xfrm>
            <a:custGeom>
              <a:avLst/>
              <a:gdLst>
                <a:gd name="T0" fmla="*/ 84 w 169"/>
                <a:gd name="T1" fmla="*/ 0 h 170"/>
                <a:gd name="T2" fmla="*/ 0 w 169"/>
                <a:gd name="T3" fmla="*/ 85 h 170"/>
                <a:gd name="T4" fmla="*/ 84 w 169"/>
                <a:gd name="T5" fmla="*/ 170 h 170"/>
                <a:gd name="T6" fmla="*/ 169 w 169"/>
                <a:gd name="T7" fmla="*/ 85 h 170"/>
                <a:gd name="T8" fmla="*/ 84 w 169"/>
                <a:gd name="T9" fmla="*/ 0 h 170"/>
                <a:gd name="T10" fmla="*/ 18 w 169"/>
                <a:gd name="T11" fmla="*/ 110 h 170"/>
                <a:gd name="T12" fmla="*/ 13 w 169"/>
                <a:gd name="T13" fmla="*/ 85 h 170"/>
                <a:gd name="T14" fmla="*/ 18 w 169"/>
                <a:gd name="T15" fmla="*/ 59 h 170"/>
                <a:gd name="T16" fmla="*/ 58 w 169"/>
                <a:gd name="T17" fmla="*/ 85 h 170"/>
                <a:gd name="T18" fmla="*/ 18 w 169"/>
                <a:gd name="T19" fmla="*/ 110 h 170"/>
                <a:gd name="T20" fmla="*/ 73 w 169"/>
                <a:gd name="T21" fmla="*/ 155 h 170"/>
                <a:gd name="T22" fmla="*/ 29 w 169"/>
                <a:gd name="T23" fmla="*/ 130 h 170"/>
                <a:gd name="T24" fmla="*/ 71 w 169"/>
                <a:gd name="T25" fmla="*/ 107 h 170"/>
                <a:gd name="T26" fmla="*/ 73 w 169"/>
                <a:gd name="T27" fmla="*/ 155 h 170"/>
                <a:gd name="T28" fmla="*/ 71 w 169"/>
                <a:gd name="T29" fmla="*/ 62 h 170"/>
                <a:gd name="T30" fmla="*/ 29 w 169"/>
                <a:gd name="T31" fmla="*/ 40 h 170"/>
                <a:gd name="T32" fmla="*/ 73 w 169"/>
                <a:gd name="T33" fmla="*/ 14 h 170"/>
                <a:gd name="T34" fmla="*/ 71 w 169"/>
                <a:gd name="T35" fmla="*/ 62 h 170"/>
                <a:gd name="T36" fmla="*/ 96 w 169"/>
                <a:gd name="T37" fmla="*/ 14 h 170"/>
                <a:gd name="T38" fmla="*/ 140 w 169"/>
                <a:gd name="T39" fmla="*/ 40 h 170"/>
                <a:gd name="T40" fmla="*/ 97 w 169"/>
                <a:gd name="T41" fmla="*/ 62 h 170"/>
                <a:gd name="T42" fmla="*/ 96 w 169"/>
                <a:gd name="T43" fmla="*/ 14 h 170"/>
                <a:gd name="T44" fmla="*/ 96 w 169"/>
                <a:gd name="T45" fmla="*/ 155 h 170"/>
                <a:gd name="T46" fmla="*/ 97 w 169"/>
                <a:gd name="T47" fmla="*/ 107 h 170"/>
                <a:gd name="T48" fmla="*/ 140 w 169"/>
                <a:gd name="T49" fmla="*/ 130 h 170"/>
                <a:gd name="T50" fmla="*/ 96 w 169"/>
                <a:gd name="T51" fmla="*/ 155 h 170"/>
                <a:gd name="T52" fmla="*/ 110 w 169"/>
                <a:gd name="T53" fmla="*/ 85 h 170"/>
                <a:gd name="T54" fmla="*/ 151 w 169"/>
                <a:gd name="T55" fmla="*/ 59 h 170"/>
                <a:gd name="T56" fmla="*/ 156 w 169"/>
                <a:gd name="T57" fmla="*/ 85 h 170"/>
                <a:gd name="T58" fmla="*/ 151 w 169"/>
                <a:gd name="T59" fmla="*/ 110 h 170"/>
                <a:gd name="T60" fmla="*/ 110 w 169"/>
                <a:gd name="T61" fmla="*/ 85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69" h="170">
                  <a:moveTo>
                    <a:pt x="84" y="0"/>
                  </a:moveTo>
                  <a:cubicBezTo>
                    <a:pt x="38" y="0"/>
                    <a:pt x="0" y="38"/>
                    <a:pt x="0" y="85"/>
                  </a:cubicBezTo>
                  <a:cubicBezTo>
                    <a:pt x="0" y="132"/>
                    <a:pt x="38" y="170"/>
                    <a:pt x="84" y="170"/>
                  </a:cubicBezTo>
                  <a:cubicBezTo>
                    <a:pt x="131" y="170"/>
                    <a:pt x="169" y="132"/>
                    <a:pt x="169" y="85"/>
                  </a:cubicBezTo>
                  <a:cubicBezTo>
                    <a:pt x="169" y="38"/>
                    <a:pt x="131" y="0"/>
                    <a:pt x="84" y="0"/>
                  </a:cubicBezTo>
                  <a:close/>
                  <a:moveTo>
                    <a:pt x="18" y="110"/>
                  </a:moveTo>
                  <a:cubicBezTo>
                    <a:pt x="15" y="102"/>
                    <a:pt x="13" y="94"/>
                    <a:pt x="13" y="85"/>
                  </a:cubicBezTo>
                  <a:cubicBezTo>
                    <a:pt x="13" y="76"/>
                    <a:pt x="15" y="67"/>
                    <a:pt x="18" y="59"/>
                  </a:cubicBezTo>
                  <a:cubicBezTo>
                    <a:pt x="31" y="59"/>
                    <a:pt x="51" y="77"/>
                    <a:pt x="58" y="85"/>
                  </a:cubicBezTo>
                  <a:cubicBezTo>
                    <a:pt x="51" y="92"/>
                    <a:pt x="31" y="110"/>
                    <a:pt x="18" y="110"/>
                  </a:cubicBezTo>
                  <a:close/>
                  <a:moveTo>
                    <a:pt x="73" y="155"/>
                  </a:moveTo>
                  <a:cubicBezTo>
                    <a:pt x="55" y="153"/>
                    <a:pt x="40" y="143"/>
                    <a:pt x="29" y="130"/>
                  </a:cubicBezTo>
                  <a:cubicBezTo>
                    <a:pt x="36" y="118"/>
                    <a:pt x="61" y="110"/>
                    <a:pt x="71" y="107"/>
                  </a:cubicBezTo>
                  <a:cubicBezTo>
                    <a:pt x="74" y="118"/>
                    <a:pt x="80" y="144"/>
                    <a:pt x="73" y="155"/>
                  </a:cubicBezTo>
                  <a:close/>
                  <a:moveTo>
                    <a:pt x="71" y="62"/>
                  </a:moveTo>
                  <a:cubicBezTo>
                    <a:pt x="61" y="60"/>
                    <a:pt x="36" y="52"/>
                    <a:pt x="29" y="40"/>
                  </a:cubicBezTo>
                  <a:cubicBezTo>
                    <a:pt x="40" y="26"/>
                    <a:pt x="55" y="17"/>
                    <a:pt x="73" y="14"/>
                  </a:cubicBezTo>
                  <a:cubicBezTo>
                    <a:pt x="80" y="26"/>
                    <a:pt x="74" y="52"/>
                    <a:pt x="71" y="62"/>
                  </a:cubicBezTo>
                  <a:close/>
                  <a:moveTo>
                    <a:pt x="96" y="14"/>
                  </a:moveTo>
                  <a:cubicBezTo>
                    <a:pt x="113" y="17"/>
                    <a:pt x="129" y="26"/>
                    <a:pt x="140" y="40"/>
                  </a:cubicBezTo>
                  <a:cubicBezTo>
                    <a:pt x="133" y="52"/>
                    <a:pt x="108" y="60"/>
                    <a:pt x="97" y="62"/>
                  </a:cubicBezTo>
                  <a:cubicBezTo>
                    <a:pt x="95" y="52"/>
                    <a:pt x="89" y="26"/>
                    <a:pt x="96" y="14"/>
                  </a:cubicBezTo>
                  <a:close/>
                  <a:moveTo>
                    <a:pt x="96" y="155"/>
                  </a:moveTo>
                  <a:cubicBezTo>
                    <a:pt x="89" y="144"/>
                    <a:pt x="95" y="118"/>
                    <a:pt x="97" y="107"/>
                  </a:cubicBezTo>
                  <a:cubicBezTo>
                    <a:pt x="108" y="110"/>
                    <a:pt x="133" y="118"/>
                    <a:pt x="140" y="130"/>
                  </a:cubicBezTo>
                  <a:cubicBezTo>
                    <a:pt x="129" y="143"/>
                    <a:pt x="113" y="153"/>
                    <a:pt x="96" y="155"/>
                  </a:cubicBezTo>
                  <a:close/>
                  <a:moveTo>
                    <a:pt x="110" y="85"/>
                  </a:moveTo>
                  <a:cubicBezTo>
                    <a:pt x="118" y="77"/>
                    <a:pt x="137" y="59"/>
                    <a:pt x="151" y="59"/>
                  </a:cubicBezTo>
                  <a:cubicBezTo>
                    <a:pt x="154" y="67"/>
                    <a:pt x="156" y="76"/>
                    <a:pt x="156" y="85"/>
                  </a:cubicBezTo>
                  <a:cubicBezTo>
                    <a:pt x="156" y="94"/>
                    <a:pt x="154" y="102"/>
                    <a:pt x="151" y="110"/>
                  </a:cubicBezTo>
                  <a:cubicBezTo>
                    <a:pt x="137" y="110"/>
                    <a:pt x="118" y="92"/>
                    <a:pt x="110" y="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2" name="Freeform 177"/>
            <p:cNvSpPr>
              <a:spLocks/>
            </p:cNvSpPr>
            <p:nvPr userDrawn="1"/>
          </p:nvSpPr>
          <p:spPr bwMode="auto">
            <a:xfrm>
              <a:off x="3656" y="2484"/>
              <a:ext cx="7" cy="7"/>
            </a:xfrm>
            <a:custGeom>
              <a:avLst/>
              <a:gdLst>
                <a:gd name="T0" fmla="*/ 14 w 15"/>
                <a:gd name="T1" fmla="*/ 14 h 14"/>
                <a:gd name="T2" fmla="*/ 15 w 15"/>
                <a:gd name="T3" fmla="*/ 0 h 14"/>
                <a:gd name="T4" fmla="*/ 0 w 15"/>
                <a:gd name="T5" fmla="*/ 8 h 14"/>
                <a:gd name="T6" fmla="*/ 14 w 15"/>
                <a:gd name="T7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4">
                  <a:moveTo>
                    <a:pt x="14" y="14"/>
                  </a:moveTo>
                  <a:cubicBezTo>
                    <a:pt x="15" y="8"/>
                    <a:pt x="15" y="4"/>
                    <a:pt x="15" y="0"/>
                  </a:cubicBezTo>
                  <a:cubicBezTo>
                    <a:pt x="10" y="2"/>
                    <a:pt x="5" y="5"/>
                    <a:pt x="0" y="8"/>
                  </a:cubicBezTo>
                  <a:cubicBezTo>
                    <a:pt x="4" y="10"/>
                    <a:pt x="8" y="12"/>
                    <a:pt x="14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3" name="Freeform 178"/>
            <p:cNvSpPr>
              <a:spLocks/>
            </p:cNvSpPr>
            <p:nvPr userDrawn="1"/>
          </p:nvSpPr>
          <p:spPr bwMode="auto">
            <a:xfrm>
              <a:off x="3646" y="2505"/>
              <a:ext cx="6" cy="7"/>
            </a:xfrm>
            <a:custGeom>
              <a:avLst/>
              <a:gdLst>
                <a:gd name="T0" fmla="*/ 1 w 13"/>
                <a:gd name="T1" fmla="*/ 0 h 17"/>
                <a:gd name="T2" fmla="*/ 0 w 13"/>
                <a:gd name="T3" fmla="*/ 9 h 17"/>
                <a:gd name="T4" fmla="*/ 1 w 13"/>
                <a:gd name="T5" fmla="*/ 17 h 17"/>
                <a:gd name="T6" fmla="*/ 13 w 13"/>
                <a:gd name="T7" fmla="*/ 9 h 17"/>
                <a:gd name="T8" fmla="*/ 1 w 13"/>
                <a:gd name="T9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7">
                  <a:moveTo>
                    <a:pt x="1" y="0"/>
                  </a:moveTo>
                  <a:cubicBezTo>
                    <a:pt x="1" y="3"/>
                    <a:pt x="0" y="6"/>
                    <a:pt x="0" y="9"/>
                  </a:cubicBezTo>
                  <a:cubicBezTo>
                    <a:pt x="0" y="12"/>
                    <a:pt x="1" y="15"/>
                    <a:pt x="1" y="17"/>
                  </a:cubicBezTo>
                  <a:cubicBezTo>
                    <a:pt x="4" y="15"/>
                    <a:pt x="8" y="12"/>
                    <a:pt x="13" y="9"/>
                  </a:cubicBezTo>
                  <a:cubicBezTo>
                    <a:pt x="8" y="5"/>
                    <a:pt x="4" y="2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4" name="Freeform 179"/>
            <p:cNvSpPr>
              <a:spLocks/>
            </p:cNvSpPr>
            <p:nvPr userDrawn="1"/>
          </p:nvSpPr>
          <p:spPr bwMode="auto">
            <a:xfrm>
              <a:off x="3656" y="2526"/>
              <a:ext cx="7" cy="7"/>
            </a:xfrm>
            <a:custGeom>
              <a:avLst/>
              <a:gdLst>
                <a:gd name="T0" fmla="*/ 0 w 15"/>
                <a:gd name="T1" fmla="*/ 6 h 15"/>
                <a:gd name="T2" fmla="*/ 15 w 15"/>
                <a:gd name="T3" fmla="*/ 15 h 15"/>
                <a:gd name="T4" fmla="*/ 14 w 15"/>
                <a:gd name="T5" fmla="*/ 0 h 15"/>
                <a:gd name="T6" fmla="*/ 0 w 15"/>
                <a:gd name="T7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5">
                  <a:moveTo>
                    <a:pt x="0" y="6"/>
                  </a:moveTo>
                  <a:cubicBezTo>
                    <a:pt x="5" y="10"/>
                    <a:pt x="10" y="13"/>
                    <a:pt x="15" y="15"/>
                  </a:cubicBezTo>
                  <a:cubicBezTo>
                    <a:pt x="15" y="11"/>
                    <a:pt x="15" y="6"/>
                    <a:pt x="14" y="0"/>
                  </a:cubicBezTo>
                  <a:cubicBezTo>
                    <a:pt x="8" y="2"/>
                    <a:pt x="4" y="4"/>
                    <a:pt x="0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5" name="Freeform 180"/>
            <p:cNvSpPr>
              <a:spLocks/>
            </p:cNvSpPr>
            <p:nvPr userDrawn="1"/>
          </p:nvSpPr>
          <p:spPr bwMode="auto">
            <a:xfrm>
              <a:off x="3693" y="2505"/>
              <a:ext cx="6" cy="7"/>
            </a:xfrm>
            <a:custGeom>
              <a:avLst/>
              <a:gdLst>
                <a:gd name="T0" fmla="*/ 0 w 13"/>
                <a:gd name="T1" fmla="*/ 9 h 17"/>
                <a:gd name="T2" fmla="*/ 12 w 13"/>
                <a:gd name="T3" fmla="*/ 17 h 17"/>
                <a:gd name="T4" fmla="*/ 13 w 13"/>
                <a:gd name="T5" fmla="*/ 9 h 17"/>
                <a:gd name="T6" fmla="*/ 12 w 13"/>
                <a:gd name="T7" fmla="*/ 0 h 17"/>
                <a:gd name="T8" fmla="*/ 0 w 13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7">
                  <a:moveTo>
                    <a:pt x="0" y="9"/>
                  </a:moveTo>
                  <a:cubicBezTo>
                    <a:pt x="5" y="12"/>
                    <a:pt x="9" y="15"/>
                    <a:pt x="12" y="17"/>
                  </a:cubicBezTo>
                  <a:cubicBezTo>
                    <a:pt x="13" y="15"/>
                    <a:pt x="13" y="12"/>
                    <a:pt x="13" y="9"/>
                  </a:cubicBezTo>
                  <a:cubicBezTo>
                    <a:pt x="13" y="6"/>
                    <a:pt x="13" y="3"/>
                    <a:pt x="12" y="0"/>
                  </a:cubicBezTo>
                  <a:cubicBezTo>
                    <a:pt x="9" y="2"/>
                    <a:pt x="5" y="5"/>
                    <a:pt x="0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6" name="Freeform 181"/>
            <p:cNvSpPr>
              <a:spLocks/>
            </p:cNvSpPr>
            <p:nvPr userDrawn="1"/>
          </p:nvSpPr>
          <p:spPr bwMode="auto">
            <a:xfrm>
              <a:off x="3709" y="2515"/>
              <a:ext cx="14" cy="18"/>
            </a:xfrm>
            <a:custGeom>
              <a:avLst/>
              <a:gdLst>
                <a:gd name="T0" fmla="*/ 0 w 32"/>
                <a:gd name="T1" fmla="*/ 41 h 41"/>
                <a:gd name="T2" fmla="*/ 32 w 32"/>
                <a:gd name="T3" fmla="*/ 41 h 41"/>
                <a:gd name="T4" fmla="*/ 16 w 32"/>
                <a:gd name="T5" fmla="*/ 0 h 41"/>
                <a:gd name="T6" fmla="*/ 0 w 32"/>
                <a:gd name="T7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41">
                  <a:moveTo>
                    <a:pt x="0" y="41"/>
                  </a:moveTo>
                  <a:cubicBezTo>
                    <a:pt x="32" y="41"/>
                    <a:pt x="32" y="41"/>
                    <a:pt x="32" y="41"/>
                  </a:cubicBezTo>
                  <a:cubicBezTo>
                    <a:pt x="24" y="29"/>
                    <a:pt x="18" y="15"/>
                    <a:pt x="16" y="0"/>
                  </a:cubicBezTo>
                  <a:cubicBezTo>
                    <a:pt x="14" y="15"/>
                    <a:pt x="8" y="29"/>
                    <a:pt x="0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7" name="Freeform 182"/>
            <p:cNvSpPr>
              <a:spLocks/>
            </p:cNvSpPr>
            <p:nvPr userDrawn="1"/>
          </p:nvSpPr>
          <p:spPr bwMode="auto">
            <a:xfrm>
              <a:off x="3682" y="2484"/>
              <a:ext cx="7" cy="7"/>
            </a:xfrm>
            <a:custGeom>
              <a:avLst/>
              <a:gdLst>
                <a:gd name="T0" fmla="*/ 15 w 15"/>
                <a:gd name="T1" fmla="*/ 8 h 14"/>
                <a:gd name="T2" fmla="*/ 0 w 15"/>
                <a:gd name="T3" fmla="*/ 0 h 14"/>
                <a:gd name="T4" fmla="*/ 1 w 15"/>
                <a:gd name="T5" fmla="*/ 14 h 14"/>
                <a:gd name="T6" fmla="*/ 15 w 15"/>
                <a:gd name="T7" fmla="*/ 8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4">
                  <a:moveTo>
                    <a:pt x="15" y="8"/>
                  </a:moveTo>
                  <a:cubicBezTo>
                    <a:pt x="10" y="5"/>
                    <a:pt x="5" y="2"/>
                    <a:pt x="0" y="0"/>
                  </a:cubicBezTo>
                  <a:cubicBezTo>
                    <a:pt x="0" y="4"/>
                    <a:pt x="0" y="8"/>
                    <a:pt x="1" y="14"/>
                  </a:cubicBezTo>
                  <a:cubicBezTo>
                    <a:pt x="7" y="12"/>
                    <a:pt x="11" y="10"/>
                    <a:pt x="15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8" name="Freeform 183"/>
            <p:cNvSpPr>
              <a:spLocks/>
            </p:cNvSpPr>
            <p:nvPr userDrawn="1"/>
          </p:nvSpPr>
          <p:spPr bwMode="auto">
            <a:xfrm>
              <a:off x="3621" y="2515"/>
              <a:ext cx="15" cy="18"/>
            </a:xfrm>
            <a:custGeom>
              <a:avLst/>
              <a:gdLst>
                <a:gd name="T0" fmla="*/ 0 w 32"/>
                <a:gd name="T1" fmla="*/ 41 h 41"/>
                <a:gd name="T2" fmla="*/ 32 w 32"/>
                <a:gd name="T3" fmla="*/ 41 h 41"/>
                <a:gd name="T4" fmla="*/ 16 w 32"/>
                <a:gd name="T5" fmla="*/ 0 h 41"/>
                <a:gd name="T6" fmla="*/ 0 w 32"/>
                <a:gd name="T7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41">
                  <a:moveTo>
                    <a:pt x="0" y="41"/>
                  </a:moveTo>
                  <a:cubicBezTo>
                    <a:pt x="32" y="41"/>
                    <a:pt x="32" y="41"/>
                    <a:pt x="32" y="41"/>
                  </a:cubicBezTo>
                  <a:cubicBezTo>
                    <a:pt x="24" y="29"/>
                    <a:pt x="18" y="15"/>
                    <a:pt x="16" y="0"/>
                  </a:cubicBezTo>
                  <a:cubicBezTo>
                    <a:pt x="14" y="15"/>
                    <a:pt x="9" y="29"/>
                    <a:pt x="0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9" name="Freeform 184"/>
            <p:cNvSpPr>
              <a:spLocks/>
            </p:cNvSpPr>
            <p:nvPr userDrawn="1"/>
          </p:nvSpPr>
          <p:spPr bwMode="auto">
            <a:xfrm>
              <a:off x="3605" y="2505"/>
              <a:ext cx="6" cy="7"/>
            </a:xfrm>
            <a:custGeom>
              <a:avLst/>
              <a:gdLst>
                <a:gd name="T0" fmla="*/ 0 w 12"/>
                <a:gd name="T1" fmla="*/ 9 h 17"/>
                <a:gd name="T2" fmla="*/ 11 w 12"/>
                <a:gd name="T3" fmla="*/ 17 h 17"/>
                <a:gd name="T4" fmla="*/ 12 w 12"/>
                <a:gd name="T5" fmla="*/ 9 h 17"/>
                <a:gd name="T6" fmla="*/ 11 w 12"/>
                <a:gd name="T7" fmla="*/ 0 h 17"/>
                <a:gd name="T8" fmla="*/ 0 w 12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7">
                  <a:moveTo>
                    <a:pt x="0" y="9"/>
                  </a:moveTo>
                  <a:cubicBezTo>
                    <a:pt x="4" y="12"/>
                    <a:pt x="8" y="15"/>
                    <a:pt x="11" y="17"/>
                  </a:cubicBezTo>
                  <a:cubicBezTo>
                    <a:pt x="12" y="15"/>
                    <a:pt x="12" y="12"/>
                    <a:pt x="12" y="9"/>
                  </a:cubicBezTo>
                  <a:cubicBezTo>
                    <a:pt x="12" y="6"/>
                    <a:pt x="12" y="3"/>
                    <a:pt x="11" y="0"/>
                  </a:cubicBezTo>
                  <a:cubicBezTo>
                    <a:pt x="8" y="2"/>
                    <a:pt x="4" y="5"/>
                    <a:pt x="0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00" name="Freeform 185"/>
            <p:cNvSpPr>
              <a:spLocks/>
            </p:cNvSpPr>
            <p:nvPr userDrawn="1"/>
          </p:nvSpPr>
          <p:spPr bwMode="auto">
            <a:xfrm>
              <a:off x="3568" y="2484"/>
              <a:ext cx="7" cy="7"/>
            </a:xfrm>
            <a:custGeom>
              <a:avLst/>
              <a:gdLst>
                <a:gd name="T0" fmla="*/ 13 w 14"/>
                <a:gd name="T1" fmla="*/ 14 h 14"/>
                <a:gd name="T2" fmla="*/ 14 w 14"/>
                <a:gd name="T3" fmla="*/ 0 h 14"/>
                <a:gd name="T4" fmla="*/ 0 w 14"/>
                <a:gd name="T5" fmla="*/ 8 h 14"/>
                <a:gd name="T6" fmla="*/ 13 w 14"/>
                <a:gd name="T7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14">
                  <a:moveTo>
                    <a:pt x="13" y="14"/>
                  </a:moveTo>
                  <a:cubicBezTo>
                    <a:pt x="14" y="8"/>
                    <a:pt x="14" y="4"/>
                    <a:pt x="14" y="0"/>
                  </a:cubicBezTo>
                  <a:cubicBezTo>
                    <a:pt x="9" y="2"/>
                    <a:pt x="4" y="5"/>
                    <a:pt x="0" y="8"/>
                  </a:cubicBezTo>
                  <a:cubicBezTo>
                    <a:pt x="3" y="10"/>
                    <a:pt x="8" y="12"/>
                    <a:pt x="13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01" name="Freeform 186"/>
            <p:cNvSpPr>
              <a:spLocks/>
            </p:cNvSpPr>
            <p:nvPr userDrawn="1"/>
          </p:nvSpPr>
          <p:spPr bwMode="auto">
            <a:xfrm>
              <a:off x="3559" y="2505"/>
              <a:ext cx="5" cy="7"/>
            </a:xfrm>
            <a:custGeom>
              <a:avLst/>
              <a:gdLst>
                <a:gd name="T0" fmla="*/ 0 w 12"/>
                <a:gd name="T1" fmla="*/ 0 h 17"/>
                <a:gd name="T2" fmla="*/ 0 w 12"/>
                <a:gd name="T3" fmla="*/ 9 h 17"/>
                <a:gd name="T4" fmla="*/ 0 w 12"/>
                <a:gd name="T5" fmla="*/ 17 h 17"/>
                <a:gd name="T6" fmla="*/ 12 w 12"/>
                <a:gd name="T7" fmla="*/ 9 h 17"/>
                <a:gd name="T8" fmla="*/ 0 w 12"/>
                <a:gd name="T9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7">
                  <a:moveTo>
                    <a:pt x="0" y="0"/>
                  </a:moveTo>
                  <a:cubicBezTo>
                    <a:pt x="0" y="3"/>
                    <a:pt x="0" y="6"/>
                    <a:pt x="0" y="9"/>
                  </a:cubicBezTo>
                  <a:cubicBezTo>
                    <a:pt x="0" y="12"/>
                    <a:pt x="0" y="15"/>
                    <a:pt x="0" y="17"/>
                  </a:cubicBezTo>
                  <a:cubicBezTo>
                    <a:pt x="4" y="15"/>
                    <a:pt x="8" y="12"/>
                    <a:pt x="12" y="9"/>
                  </a:cubicBezTo>
                  <a:cubicBezTo>
                    <a:pt x="8" y="5"/>
                    <a:pt x="4" y="2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02" name="Freeform 187"/>
            <p:cNvSpPr>
              <a:spLocks/>
            </p:cNvSpPr>
            <p:nvPr userDrawn="1"/>
          </p:nvSpPr>
          <p:spPr bwMode="auto">
            <a:xfrm>
              <a:off x="3568" y="2526"/>
              <a:ext cx="7" cy="7"/>
            </a:xfrm>
            <a:custGeom>
              <a:avLst/>
              <a:gdLst>
                <a:gd name="T0" fmla="*/ 0 w 14"/>
                <a:gd name="T1" fmla="*/ 6 h 15"/>
                <a:gd name="T2" fmla="*/ 14 w 14"/>
                <a:gd name="T3" fmla="*/ 15 h 15"/>
                <a:gd name="T4" fmla="*/ 13 w 14"/>
                <a:gd name="T5" fmla="*/ 0 h 15"/>
                <a:gd name="T6" fmla="*/ 0 w 14"/>
                <a:gd name="T7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15">
                  <a:moveTo>
                    <a:pt x="0" y="6"/>
                  </a:moveTo>
                  <a:cubicBezTo>
                    <a:pt x="4" y="10"/>
                    <a:pt x="9" y="13"/>
                    <a:pt x="14" y="15"/>
                  </a:cubicBezTo>
                  <a:cubicBezTo>
                    <a:pt x="14" y="11"/>
                    <a:pt x="14" y="6"/>
                    <a:pt x="13" y="0"/>
                  </a:cubicBezTo>
                  <a:cubicBezTo>
                    <a:pt x="8" y="2"/>
                    <a:pt x="3" y="4"/>
                    <a:pt x="0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03" name="Freeform 188"/>
            <p:cNvSpPr>
              <a:spLocks/>
            </p:cNvSpPr>
            <p:nvPr userDrawn="1"/>
          </p:nvSpPr>
          <p:spPr bwMode="auto">
            <a:xfrm>
              <a:off x="3594" y="2484"/>
              <a:ext cx="7" cy="7"/>
            </a:xfrm>
            <a:custGeom>
              <a:avLst/>
              <a:gdLst>
                <a:gd name="T0" fmla="*/ 15 w 15"/>
                <a:gd name="T1" fmla="*/ 8 h 14"/>
                <a:gd name="T2" fmla="*/ 0 w 15"/>
                <a:gd name="T3" fmla="*/ 0 h 14"/>
                <a:gd name="T4" fmla="*/ 2 w 15"/>
                <a:gd name="T5" fmla="*/ 14 h 14"/>
                <a:gd name="T6" fmla="*/ 15 w 15"/>
                <a:gd name="T7" fmla="*/ 8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4">
                  <a:moveTo>
                    <a:pt x="15" y="8"/>
                  </a:moveTo>
                  <a:cubicBezTo>
                    <a:pt x="10" y="5"/>
                    <a:pt x="5" y="2"/>
                    <a:pt x="0" y="0"/>
                  </a:cubicBezTo>
                  <a:cubicBezTo>
                    <a:pt x="0" y="4"/>
                    <a:pt x="1" y="8"/>
                    <a:pt x="2" y="14"/>
                  </a:cubicBezTo>
                  <a:cubicBezTo>
                    <a:pt x="7" y="12"/>
                    <a:pt x="11" y="10"/>
                    <a:pt x="15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04" name="Freeform 189"/>
            <p:cNvSpPr>
              <a:spLocks/>
            </p:cNvSpPr>
            <p:nvPr userDrawn="1"/>
          </p:nvSpPr>
          <p:spPr bwMode="auto">
            <a:xfrm>
              <a:off x="3594" y="2526"/>
              <a:ext cx="7" cy="7"/>
            </a:xfrm>
            <a:custGeom>
              <a:avLst/>
              <a:gdLst>
                <a:gd name="T0" fmla="*/ 0 w 15"/>
                <a:gd name="T1" fmla="*/ 15 h 15"/>
                <a:gd name="T2" fmla="*/ 15 w 15"/>
                <a:gd name="T3" fmla="*/ 6 h 15"/>
                <a:gd name="T4" fmla="*/ 2 w 15"/>
                <a:gd name="T5" fmla="*/ 0 h 15"/>
                <a:gd name="T6" fmla="*/ 0 w 15"/>
                <a:gd name="T7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5">
                  <a:moveTo>
                    <a:pt x="0" y="15"/>
                  </a:moveTo>
                  <a:cubicBezTo>
                    <a:pt x="5" y="13"/>
                    <a:pt x="10" y="10"/>
                    <a:pt x="15" y="6"/>
                  </a:cubicBezTo>
                  <a:cubicBezTo>
                    <a:pt x="11" y="4"/>
                    <a:pt x="7" y="2"/>
                    <a:pt x="2" y="0"/>
                  </a:cubicBezTo>
                  <a:cubicBezTo>
                    <a:pt x="1" y="6"/>
                    <a:pt x="0" y="11"/>
                    <a:pt x="0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05" name="Freeform 190"/>
            <p:cNvSpPr>
              <a:spLocks/>
            </p:cNvSpPr>
            <p:nvPr userDrawn="1"/>
          </p:nvSpPr>
          <p:spPr bwMode="auto">
            <a:xfrm>
              <a:off x="3682" y="2526"/>
              <a:ext cx="7" cy="7"/>
            </a:xfrm>
            <a:custGeom>
              <a:avLst/>
              <a:gdLst>
                <a:gd name="T0" fmla="*/ 0 w 15"/>
                <a:gd name="T1" fmla="*/ 15 h 15"/>
                <a:gd name="T2" fmla="*/ 15 w 15"/>
                <a:gd name="T3" fmla="*/ 6 h 15"/>
                <a:gd name="T4" fmla="*/ 1 w 15"/>
                <a:gd name="T5" fmla="*/ 0 h 15"/>
                <a:gd name="T6" fmla="*/ 0 w 15"/>
                <a:gd name="T7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5">
                  <a:moveTo>
                    <a:pt x="0" y="15"/>
                  </a:moveTo>
                  <a:cubicBezTo>
                    <a:pt x="5" y="13"/>
                    <a:pt x="10" y="10"/>
                    <a:pt x="15" y="6"/>
                  </a:cubicBezTo>
                  <a:cubicBezTo>
                    <a:pt x="11" y="4"/>
                    <a:pt x="7" y="2"/>
                    <a:pt x="1" y="0"/>
                  </a:cubicBezTo>
                  <a:cubicBezTo>
                    <a:pt x="0" y="6"/>
                    <a:pt x="0" y="11"/>
                    <a:pt x="0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06" name="Freeform 191"/>
            <p:cNvSpPr>
              <a:spLocks/>
            </p:cNvSpPr>
            <p:nvPr userDrawn="1"/>
          </p:nvSpPr>
          <p:spPr bwMode="auto">
            <a:xfrm>
              <a:off x="3831" y="2484"/>
              <a:ext cx="7" cy="7"/>
            </a:xfrm>
            <a:custGeom>
              <a:avLst/>
              <a:gdLst>
                <a:gd name="T0" fmla="*/ 13 w 15"/>
                <a:gd name="T1" fmla="*/ 14 h 14"/>
                <a:gd name="T2" fmla="*/ 15 w 15"/>
                <a:gd name="T3" fmla="*/ 0 h 14"/>
                <a:gd name="T4" fmla="*/ 0 w 15"/>
                <a:gd name="T5" fmla="*/ 8 h 14"/>
                <a:gd name="T6" fmla="*/ 13 w 15"/>
                <a:gd name="T7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4">
                  <a:moveTo>
                    <a:pt x="13" y="14"/>
                  </a:moveTo>
                  <a:cubicBezTo>
                    <a:pt x="14" y="8"/>
                    <a:pt x="15" y="4"/>
                    <a:pt x="15" y="0"/>
                  </a:cubicBezTo>
                  <a:cubicBezTo>
                    <a:pt x="10" y="2"/>
                    <a:pt x="5" y="5"/>
                    <a:pt x="0" y="8"/>
                  </a:cubicBezTo>
                  <a:cubicBezTo>
                    <a:pt x="4" y="10"/>
                    <a:pt x="8" y="12"/>
                    <a:pt x="13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07" name="Freeform 192"/>
            <p:cNvSpPr>
              <a:spLocks/>
            </p:cNvSpPr>
            <p:nvPr userDrawn="1"/>
          </p:nvSpPr>
          <p:spPr bwMode="auto">
            <a:xfrm>
              <a:off x="3831" y="2526"/>
              <a:ext cx="7" cy="7"/>
            </a:xfrm>
            <a:custGeom>
              <a:avLst/>
              <a:gdLst>
                <a:gd name="T0" fmla="*/ 0 w 15"/>
                <a:gd name="T1" fmla="*/ 6 h 15"/>
                <a:gd name="T2" fmla="*/ 15 w 15"/>
                <a:gd name="T3" fmla="*/ 15 h 15"/>
                <a:gd name="T4" fmla="*/ 13 w 15"/>
                <a:gd name="T5" fmla="*/ 0 h 15"/>
                <a:gd name="T6" fmla="*/ 0 w 15"/>
                <a:gd name="T7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5">
                  <a:moveTo>
                    <a:pt x="0" y="6"/>
                  </a:moveTo>
                  <a:cubicBezTo>
                    <a:pt x="5" y="10"/>
                    <a:pt x="10" y="13"/>
                    <a:pt x="15" y="15"/>
                  </a:cubicBezTo>
                  <a:cubicBezTo>
                    <a:pt x="15" y="11"/>
                    <a:pt x="14" y="6"/>
                    <a:pt x="13" y="0"/>
                  </a:cubicBezTo>
                  <a:cubicBezTo>
                    <a:pt x="8" y="2"/>
                    <a:pt x="4" y="4"/>
                    <a:pt x="0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08" name="Freeform 193"/>
            <p:cNvSpPr>
              <a:spLocks/>
            </p:cNvSpPr>
            <p:nvPr userDrawn="1"/>
          </p:nvSpPr>
          <p:spPr bwMode="auto">
            <a:xfrm>
              <a:off x="3858" y="2526"/>
              <a:ext cx="6" cy="7"/>
            </a:xfrm>
            <a:custGeom>
              <a:avLst/>
              <a:gdLst>
                <a:gd name="T0" fmla="*/ 0 w 14"/>
                <a:gd name="T1" fmla="*/ 15 h 15"/>
                <a:gd name="T2" fmla="*/ 14 w 14"/>
                <a:gd name="T3" fmla="*/ 6 h 15"/>
                <a:gd name="T4" fmla="*/ 1 w 14"/>
                <a:gd name="T5" fmla="*/ 0 h 15"/>
                <a:gd name="T6" fmla="*/ 0 w 14"/>
                <a:gd name="T7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15">
                  <a:moveTo>
                    <a:pt x="0" y="15"/>
                  </a:moveTo>
                  <a:cubicBezTo>
                    <a:pt x="5" y="13"/>
                    <a:pt x="10" y="10"/>
                    <a:pt x="14" y="6"/>
                  </a:cubicBezTo>
                  <a:cubicBezTo>
                    <a:pt x="11" y="4"/>
                    <a:pt x="6" y="2"/>
                    <a:pt x="1" y="0"/>
                  </a:cubicBezTo>
                  <a:cubicBezTo>
                    <a:pt x="0" y="6"/>
                    <a:pt x="0" y="11"/>
                    <a:pt x="0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09" name="Freeform 194"/>
            <p:cNvSpPr>
              <a:spLocks/>
            </p:cNvSpPr>
            <p:nvPr userDrawn="1"/>
          </p:nvSpPr>
          <p:spPr bwMode="auto">
            <a:xfrm>
              <a:off x="3822" y="2505"/>
              <a:ext cx="5" cy="7"/>
            </a:xfrm>
            <a:custGeom>
              <a:avLst/>
              <a:gdLst>
                <a:gd name="T0" fmla="*/ 1 w 13"/>
                <a:gd name="T1" fmla="*/ 0 h 17"/>
                <a:gd name="T2" fmla="*/ 0 w 13"/>
                <a:gd name="T3" fmla="*/ 9 h 17"/>
                <a:gd name="T4" fmla="*/ 1 w 13"/>
                <a:gd name="T5" fmla="*/ 17 h 17"/>
                <a:gd name="T6" fmla="*/ 13 w 13"/>
                <a:gd name="T7" fmla="*/ 9 h 17"/>
                <a:gd name="T8" fmla="*/ 1 w 13"/>
                <a:gd name="T9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7">
                  <a:moveTo>
                    <a:pt x="1" y="0"/>
                  </a:moveTo>
                  <a:cubicBezTo>
                    <a:pt x="0" y="3"/>
                    <a:pt x="0" y="6"/>
                    <a:pt x="0" y="9"/>
                  </a:cubicBezTo>
                  <a:cubicBezTo>
                    <a:pt x="0" y="12"/>
                    <a:pt x="0" y="15"/>
                    <a:pt x="1" y="17"/>
                  </a:cubicBezTo>
                  <a:cubicBezTo>
                    <a:pt x="4" y="15"/>
                    <a:pt x="8" y="12"/>
                    <a:pt x="13" y="9"/>
                  </a:cubicBezTo>
                  <a:cubicBezTo>
                    <a:pt x="8" y="5"/>
                    <a:pt x="4" y="2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10" name="Freeform 195"/>
            <p:cNvSpPr>
              <a:spLocks/>
            </p:cNvSpPr>
            <p:nvPr userDrawn="1"/>
          </p:nvSpPr>
          <p:spPr bwMode="auto">
            <a:xfrm>
              <a:off x="3868" y="2505"/>
              <a:ext cx="6" cy="7"/>
            </a:xfrm>
            <a:custGeom>
              <a:avLst/>
              <a:gdLst>
                <a:gd name="T0" fmla="*/ 0 w 12"/>
                <a:gd name="T1" fmla="*/ 9 h 17"/>
                <a:gd name="T2" fmla="*/ 12 w 12"/>
                <a:gd name="T3" fmla="*/ 17 h 17"/>
                <a:gd name="T4" fmla="*/ 12 w 12"/>
                <a:gd name="T5" fmla="*/ 9 h 17"/>
                <a:gd name="T6" fmla="*/ 12 w 12"/>
                <a:gd name="T7" fmla="*/ 0 h 17"/>
                <a:gd name="T8" fmla="*/ 0 w 12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7">
                  <a:moveTo>
                    <a:pt x="0" y="9"/>
                  </a:moveTo>
                  <a:cubicBezTo>
                    <a:pt x="4" y="12"/>
                    <a:pt x="8" y="15"/>
                    <a:pt x="12" y="17"/>
                  </a:cubicBezTo>
                  <a:cubicBezTo>
                    <a:pt x="12" y="15"/>
                    <a:pt x="12" y="12"/>
                    <a:pt x="12" y="9"/>
                  </a:cubicBezTo>
                  <a:cubicBezTo>
                    <a:pt x="12" y="6"/>
                    <a:pt x="12" y="3"/>
                    <a:pt x="12" y="0"/>
                  </a:cubicBezTo>
                  <a:cubicBezTo>
                    <a:pt x="8" y="2"/>
                    <a:pt x="4" y="5"/>
                    <a:pt x="0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11" name="Freeform 196"/>
            <p:cNvSpPr>
              <a:spLocks/>
            </p:cNvSpPr>
            <p:nvPr userDrawn="1"/>
          </p:nvSpPr>
          <p:spPr bwMode="auto">
            <a:xfrm>
              <a:off x="3858" y="2484"/>
              <a:ext cx="6" cy="7"/>
            </a:xfrm>
            <a:custGeom>
              <a:avLst/>
              <a:gdLst>
                <a:gd name="T0" fmla="*/ 14 w 14"/>
                <a:gd name="T1" fmla="*/ 8 h 14"/>
                <a:gd name="T2" fmla="*/ 0 w 14"/>
                <a:gd name="T3" fmla="*/ 0 h 14"/>
                <a:gd name="T4" fmla="*/ 1 w 14"/>
                <a:gd name="T5" fmla="*/ 14 h 14"/>
                <a:gd name="T6" fmla="*/ 14 w 14"/>
                <a:gd name="T7" fmla="*/ 8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14">
                  <a:moveTo>
                    <a:pt x="14" y="8"/>
                  </a:moveTo>
                  <a:cubicBezTo>
                    <a:pt x="10" y="5"/>
                    <a:pt x="5" y="2"/>
                    <a:pt x="0" y="0"/>
                  </a:cubicBezTo>
                  <a:cubicBezTo>
                    <a:pt x="0" y="4"/>
                    <a:pt x="0" y="8"/>
                    <a:pt x="1" y="14"/>
                  </a:cubicBezTo>
                  <a:cubicBezTo>
                    <a:pt x="6" y="12"/>
                    <a:pt x="11" y="10"/>
                    <a:pt x="14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12" name="Freeform 197"/>
            <p:cNvSpPr>
              <a:spLocks/>
            </p:cNvSpPr>
            <p:nvPr userDrawn="1"/>
          </p:nvSpPr>
          <p:spPr bwMode="auto">
            <a:xfrm>
              <a:off x="3770" y="2484"/>
              <a:ext cx="7" cy="7"/>
            </a:xfrm>
            <a:custGeom>
              <a:avLst/>
              <a:gdLst>
                <a:gd name="T0" fmla="*/ 15 w 15"/>
                <a:gd name="T1" fmla="*/ 8 h 14"/>
                <a:gd name="T2" fmla="*/ 0 w 15"/>
                <a:gd name="T3" fmla="*/ 0 h 14"/>
                <a:gd name="T4" fmla="*/ 1 w 15"/>
                <a:gd name="T5" fmla="*/ 14 h 14"/>
                <a:gd name="T6" fmla="*/ 15 w 15"/>
                <a:gd name="T7" fmla="*/ 8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4">
                  <a:moveTo>
                    <a:pt x="15" y="8"/>
                  </a:moveTo>
                  <a:cubicBezTo>
                    <a:pt x="10" y="5"/>
                    <a:pt x="5" y="2"/>
                    <a:pt x="0" y="0"/>
                  </a:cubicBezTo>
                  <a:cubicBezTo>
                    <a:pt x="0" y="4"/>
                    <a:pt x="0" y="8"/>
                    <a:pt x="1" y="14"/>
                  </a:cubicBezTo>
                  <a:cubicBezTo>
                    <a:pt x="7" y="12"/>
                    <a:pt x="11" y="10"/>
                    <a:pt x="15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13" name="Freeform 198"/>
            <p:cNvSpPr>
              <a:spLocks/>
            </p:cNvSpPr>
            <p:nvPr userDrawn="1"/>
          </p:nvSpPr>
          <p:spPr bwMode="auto">
            <a:xfrm>
              <a:off x="3797" y="2515"/>
              <a:ext cx="14" cy="18"/>
            </a:xfrm>
            <a:custGeom>
              <a:avLst/>
              <a:gdLst>
                <a:gd name="T0" fmla="*/ 0 w 32"/>
                <a:gd name="T1" fmla="*/ 41 h 41"/>
                <a:gd name="T2" fmla="*/ 32 w 32"/>
                <a:gd name="T3" fmla="*/ 41 h 41"/>
                <a:gd name="T4" fmla="*/ 16 w 32"/>
                <a:gd name="T5" fmla="*/ 0 h 41"/>
                <a:gd name="T6" fmla="*/ 0 w 32"/>
                <a:gd name="T7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41">
                  <a:moveTo>
                    <a:pt x="0" y="41"/>
                  </a:moveTo>
                  <a:cubicBezTo>
                    <a:pt x="32" y="41"/>
                    <a:pt x="32" y="41"/>
                    <a:pt x="32" y="41"/>
                  </a:cubicBezTo>
                  <a:cubicBezTo>
                    <a:pt x="23" y="29"/>
                    <a:pt x="18" y="15"/>
                    <a:pt x="16" y="0"/>
                  </a:cubicBezTo>
                  <a:cubicBezTo>
                    <a:pt x="14" y="15"/>
                    <a:pt x="8" y="29"/>
                    <a:pt x="0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14" name="Freeform 199"/>
            <p:cNvSpPr>
              <a:spLocks/>
            </p:cNvSpPr>
            <p:nvPr userDrawn="1"/>
          </p:nvSpPr>
          <p:spPr bwMode="auto">
            <a:xfrm>
              <a:off x="3744" y="2526"/>
              <a:ext cx="6" cy="7"/>
            </a:xfrm>
            <a:custGeom>
              <a:avLst/>
              <a:gdLst>
                <a:gd name="T0" fmla="*/ 0 w 15"/>
                <a:gd name="T1" fmla="*/ 6 h 15"/>
                <a:gd name="T2" fmla="*/ 15 w 15"/>
                <a:gd name="T3" fmla="*/ 15 h 15"/>
                <a:gd name="T4" fmla="*/ 14 w 15"/>
                <a:gd name="T5" fmla="*/ 0 h 15"/>
                <a:gd name="T6" fmla="*/ 0 w 15"/>
                <a:gd name="T7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5">
                  <a:moveTo>
                    <a:pt x="0" y="6"/>
                  </a:moveTo>
                  <a:cubicBezTo>
                    <a:pt x="5" y="10"/>
                    <a:pt x="10" y="13"/>
                    <a:pt x="15" y="15"/>
                  </a:cubicBezTo>
                  <a:cubicBezTo>
                    <a:pt x="15" y="11"/>
                    <a:pt x="15" y="6"/>
                    <a:pt x="14" y="0"/>
                  </a:cubicBezTo>
                  <a:cubicBezTo>
                    <a:pt x="8" y="2"/>
                    <a:pt x="4" y="4"/>
                    <a:pt x="0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15" name="Freeform 200"/>
            <p:cNvSpPr>
              <a:spLocks/>
            </p:cNvSpPr>
            <p:nvPr userDrawn="1"/>
          </p:nvSpPr>
          <p:spPr bwMode="auto">
            <a:xfrm>
              <a:off x="3770" y="2526"/>
              <a:ext cx="7" cy="7"/>
            </a:xfrm>
            <a:custGeom>
              <a:avLst/>
              <a:gdLst>
                <a:gd name="T0" fmla="*/ 0 w 15"/>
                <a:gd name="T1" fmla="*/ 15 h 15"/>
                <a:gd name="T2" fmla="*/ 15 w 15"/>
                <a:gd name="T3" fmla="*/ 6 h 15"/>
                <a:gd name="T4" fmla="*/ 1 w 15"/>
                <a:gd name="T5" fmla="*/ 0 h 15"/>
                <a:gd name="T6" fmla="*/ 0 w 15"/>
                <a:gd name="T7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5">
                  <a:moveTo>
                    <a:pt x="0" y="15"/>
                  </a:moveTo>
                  <a:cubicBezTo>
                    <a:pt x="5" y="13"/>
                    <a:pt x="10" y="10"/>
                    <a:pt x="15" y="6"/>
                  </a:cubicBezTo>
                  <a:cubicBezTo>
                    <a:pt x="11" y="4"/>
                    <a:pt x="7" y="2"/>
                    <a:pt x="1" y="0"/>
                  </a:cubicBezTo>
                  <a:cubicBezTo>
                    <a:pt x="0" y="6"/>
                    <a:pt x="0" y="11"/>
                    <a:pt x="0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16" name="Freeform 201"/>
            <p:cNvSpPr>
              <a:spLocks/>
            </p:cNvSpPr>
            <p:nvPr userDrawn="1"/>
          </p:nvSpPr>
          <p:spPr bwMode="auto">
            <a:xfrm>
              <a:off x="3744" y="2484"/>
              <a:ext cx="6" cy="7"/>
            </a:xfrm>
            <a:custGeom>
              <a:avLst/>
              <a:gdLst>
                <a:gd name="T0" fmla="*/ 14 w 15"/>
                <a:gd name="T1" fmla="*/ 14 h 14"/>
                <a:gd name="T2" fmla="*/ 15 w 15"/>
                <a:gd name="T3" fmla="*/ 0 h 14"/>
                <a:gd name="T4" fmla="*/ 0 w 15"/>
                <a:gd name="T5" fmla="*/ 8 h 14"/>
                <a:gd name="T6" fmla="*/ 14 w 15"/>
                <a:gd name="T7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4">
                  <a:moveTo>
                    <a:pt x="14" y="14"/>
                  </a:moveTo>
                  <a:cubicBezTo>
                    <a:pt x="15" y="8"/>
                    <a:pt x="15" y="4"/>
                    <a:pt x="15" y="0"/>
                  </a:cubicBezTo>
                  <a:cubicBezTo>
                    <a:pt x="10" y="2"/>
                    <a:pt x="5" y="5"/>
                    <a:pt x="0" y="8"/>
                  </a:cubicBezTo>
                  <a:cubicBezTo>
                    <a:pt x="4" y="10"/>
                    <a:pt x="8" y="12"/>
                    <a:pt x="14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17" name="Freeform 202"/>
            <p:cNvSpPr>
              <a:spLocks/>
            </p:cNvSpPr>
            <p:nvPr userDrawn="1"/>
          </p:nvSpPr>
          <p:spPr bwMode="auto">
            <a:xfrm>
              <a:off x="3781" y="2505"/>
              <a:ext cx="5" cy="7"/>
            </a:xfrm>
            <a:custGeom>
              <a:avLst/>
              <a:gdLst>
                <a:gd name="T0" fmla="*/ 0 w 13"/>
                <a:gd name="T1" fmla="*/ 9 h 17"/>
                <a:gd name="T2" fmla="*/ 12 w 13"/>
                <a:gd name="T3" fmla="*/ 17 h 17"/>
                <a:gd name="T4" fmla="*/ 13 w 13"/>
                <a:gd name="T5" fmla="*/ 9 h 17"/>
                <a:gd name="T6" fmla="*/ 12 w 13"/>
                <a:gd name="T7" fmla="*/ 0 h 17"/>
                <a:gd name="T8" fmla="*/ 0 w 13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7">
                  <a:moveTo>
                    <a:pt x="0" y="9"/>
                  </a:moveTo>
                  <a:cubicBezTo>
                    <a:pt x="5" y="12"/>
                    <a:pt x="9" y="15"/>
                    <a:pt x="12" y="17"/>
                  </a:cubicBezTo>
                  <a:cubicBezTo>
                    <a:pt x="12" y="15"/>
                    <a:pt x="13" y="12"/>
                    <a:pt x="13" y="9"/>
                  </a:cubicBezTo>
                  <a:cubicBezTo>
                    <a:pt x="13" y="6"/>
                    <a:pt x="12" y="3"/>
                    <a:pt x="12" y="0"/>
                  </a:cubicBezTo>
                  <a:cubicBezTo>
                    <a:pt x="9" y="2"/>
                    <a:pt x="5" y="5"/>
                    <a:pt x="0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18" name="Freeform 203"/>
            <p:cNvSpPr>
              <a:spLocks/>
            </p:cNvSpPr>
            <p:nvPr userDrawn="1"/>
          </p:nvSpPr>
          <p:spPr bwMode="auto">
            <a:xfrm>
              <a:off x="3734" y="2505"/>
              <a:ext cx="6" cy="7"/>
            </a:xfrm>
            <a:custGeom>
              <a:avLst/>
              <a:gdLst>
                <a:gd name="T0" fmla="*/ 1 w 13"/>
                <a:gd name="T1" fmla="*/ 0 h 17"/>
                <a:gd name="T2" fmla="*/ 0 w 13"/>
                <a:gd name="T3" fmla="*/ 9 h 17"/>
                <a:gd name="T4" fmla="*/ 1 w 13"/>
                <a:gd name="T5" fmla="*/ 17 h 17"/>
                <a:gd name="T6" fmla="*/ 13 w 13"/>
                <a:gd name="T7" fmla="*/ 9 h 17"/>
                <a:gd name="T8" fmla="*/ 1 w 13"/>
                <a:gd name="T9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7">
                  <a:moveTo>
                    <a:pt x="1" y="0"/>
                  </a:moveTo>
                  <a:cubicBezTo>
                    <a:pt x="0" y="3"/>
                    <a:pt x="0" y="6"/>
                    <a:pt x="0" y="9"/>
                  </a:cubicBezTo>
                  <a:cubicBezTo>
                    <a:pt x="0" y="12"/>
                    <a:pt x="0" y="15"/>
                    <a:pt x="1" y="17"/>
                  </a:cubicBezTo>
                  <a:cubicBezTo>
                    <a:pt x="4" y="15"/>
                    <a:pt x="8" y="12"/>
                    <a:pt x="13" y="9"/>
                  </a:cubicBezTo>
                  <a:cubicBezTo>
                    <a:pt x="8" y="5"/>
                    <a:pt x="4" y="2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19" name="Freeform 204"/>
            <p:cNvSpPr>
              <a:spLocks noEditPoints="1"/>
            </p:cNvSpPr>
            <p:nvPr userDrawn="1"/>
          </p:nvSpPr>
          <p:spPr bwMode="auto">
            <a:xfrm>
              <a:off x="3809" y="2470"/>
              <a:ext cx="77" cy="77"/>
            </a:xfrm>
            <a:custGeom>
              <a:avLst/>
              <a:gdLst>
                <a:gd name="T0" fmla="*/ 85 w 170"/>
                <a:gd name="T1" fmla="*/ 0 h 170"/>
                <a:gd name="T2" fmla="*/ 0 w 170"/>
                <a:gd name="T3" fmla="*/ 85 h 170"/>
                <a:gd name="T4" fmla="*/ 85 w 170"/>
                <a:gd name="T5" fmla="*/ 170 h 170"/>
                <a:gd name="T6" fmla="*/ 170 w 170"/>
                <a:gd name="T7" fmla="*/ 85 h 170"/>
                <a:gd name="T8" fmla="*/ 85 w 170"/>
                <a:gd name="T9" fmla="*/ 0 h 170"/>
                <a:gd name="T10" fmla="*/ 18 w 170"/>
                <a:gd name="T11" fmla="*/ 110 h 170"/>
                <a:gd name="T12" fmla="*/ 14 w 170"/>
                <a:gd name="T13" fmla="*/ 85 h 170"/>
                <a:gd name="T14" fmla="*/ 18 w 170"/>
                <a:gd name="T15" fmla="*/ 59 h 170"/>
                <a:gd name="T16" fmla="*/ 59 w 170"/>
                <a:gd name="T17" fmla="*/ 85 h 170"/>
                <a:gd name="T18" fmla="*/ 18 w 170"/>
                <a:gd name="T19" fmla="*/ 110 h 170"/>
                <a:gd name="T20" fmla="*/ 74 w 170"/>
                <a:gd name="T21" fmla="*/ 155 h 170"/>
                <a:gd name="T22" fmla="*/ 30 w 170"/>
                <a:gd name="T23" fmla="*/ 130 h 170"/>
                <a:gd name="T24" fmla="*/ 72 w 170"/>
                <a:gd name="T25" fmla="*/ 107 h 170"/>
                <a:gd name="T26" fmla="*/ 74 w 170"/>
                <a:gd name="T27" fmla="*/ 155 h 170"/>
                <a:gd name="T28" fmla="*/ 72 w 170"/>
                <a:gd name="T29" fmla="*/ 62 h 170"/>
                <a:gd name="T30" fmla="*/ 30 w 170"/>
                <a:gd name="T31" fmla="*/ 40 h 170"/>
                <a:gd name="T32" fmla="*/ 74 w 170"/>
                <a:gd name="T33" fmla="*/ 14 h 170"/>
                <a:gd name="T34" fmla="*/ 72 w 170"/>
                <a:gd name="T35" fmla="*/ 62 h 170"/>
                <a:gd name="T36" fmla="*/ 96 w 170"/>
                <a:gd name="T37" fmla="*/ 14 h 170"/>
                <a:gd name="T38" fmla="*/ 141 w 170"/>
                <a:gd name="T39" fmla="*/ 40 h 170"/>
                <a:gd name="T40" fmla="*/ 98 w 170"/>
                <a:gd name="T41" fmla="*/ 62 h 170"/>
                <a:gd name="T42" fmla="*/ 96 w 170"/>
                <a:gd name="T43" fmla="*/ 14 h 170"/>
                <a:gd name="T44" fmla="*/ 96 w 170"/>
                <a:gd name="T45" fmla="*/ 155 h 170"/>
                <a:gd name="T46" fmla="*/ 98 w 170"/>
                <a:gd name="T47" fmla="*/ 107 h 170"/>
                <a:gd name="T48" fmla="*/ 141 w 170"/>
                <a:gd name="T49" fmla="*/ 130 h 170"/>
                <a:gd name="T50" fmla="*/ 96 w 170"/>
                <a:gd name="T51" fmla="*/ 155 h 170"/>
                <a:gd name="T52" fmla="*/ 111 w 170"/>
                <a:gd name="T53" fmla="*/ 85 h 170"/>
                <a:gd name="T54" fmla="*/ 152 w 170"/>
                <a:gd name="T55" fmla="*/ 59 h 170"/>
                <a:gd name="T56" fmla="*/ 157 w 170"/>
                <a:gd name="T57" fmla="*/ 85 h 170"/>
                <a:gd name="T58" fmla="*/ 152 w 170"/>
                <a:gd name="T59" fmla="*/ 110 h 170"/>
                <a:gd name="T60" fmla="*/ 111 w 170"/>
                <a:gd name="T61" fmla="*/ 85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70" h="170">
                  <a:moveTo>
                    <a:pt x="85" y="0"/>
                  </a:moveTo>
                  <a:cubicBezTo>
                    <a:pt x="38" y="0"/>
                    <a:pt x="0" y="38"/>
                    <a:pt x="0" y="85"/>
                  </a:cubicBezTo>
                  <a:cubicBezTo>
                    <a:pt x="0" y="132"/>
                    <a:pt x="38" y="170"/>
                    <a:pt x="85" y="170"/>
                  </a:cubicBezTo>
                  <a:cubicBezTo>
                    <a:pt x="132" y="170"/>
                    <a:pt x="170" y="132"/>
                    <a:pt x="170" y="85"/>
                  </a:cubicBezTo>
                  <a:cubicBezTo>
                    <a:pt x="170" y="38"/>
                    <a:pt x="132" y="0"/>
                    <a:pt x="85" y="0"/>
                  </a:cubicBezTo>
                  <a:close/>
                  <a:moveTo>
                    <a:pt x="18" y="110"/>
                  </a:moveTo>
                  <a:cubicBezTo>
                    <a:pt x="15" y="102"/>
                    <a:pt x="14" y="94"/>
                    <a:pt x="14" y="85"/>
                  </a:cubicBezTo>
                  <a:cubicBezTo>
                    <a:pt x="14" y="76"/>
                    <a:pt x="15" y="67"/>
                    <a:pt x="18" y="59"/>
                  </a:cubicBezTo>
                  <a:cubicBezTo>
                    <a:pt x="32" y="59"/>
                    <a:pt x="52" y="77"/>
                    <a:pt x="59" y="85"/>
                  </a:cubicBezTo>
                  <a:cubicBezTo>
                    <a:pt x="52" y="92"/>
                    <a:pt x="32" y="110"/>
                    <a:pt x="18" y="110"/>
                  </a:cubicBezTo>
                  <a:close/>
                  <a:moveTo>
                    <a:pt x="74" y="155"/>
                  </a:moveTo>
                  <a:cubicBezTo>
                    <a:pt x="56" y="153"/>
                    <a:pt x="41" y="143"/>
                    <a:pt x="30" y="130"/>
                  </a:cubicBezTo>
                  <a:cubicBezTo>
                    <a:pt x="37" y="118"/>
                    <a:pt x="62" y="110"/>
                    <a:pt x="72" y="107"/>
                  </a:cubicBezTo>
                  <a:cubicBezTo>
                    <a:pt x="75" y="118"/>
                    <a:pt x="81" y="144"/>
                    <a:pt x="74" y="155"/>
                  </a:cubicBezTo>
                  <a:close/>
                  <a:moveTo>
                    <a:pt x="72" y="62"/>
                  </a:moveTo>
                  <a:cubicBezTo>
                    <a:pt x="62" y="60"/>
                    <a:pt x="37" y="52"/>
                    <a:pt x="30" y="40"/>
                  </a:cubicBezTo>
                  <a:cubicBezTo>
                    <a:pt x="41" y="26"/>
                    <a:pt x="56" y="17"/>
                    <a:pt x="74" y="14"/>
                  </a:cubicBezTo>
                  <a:cubicBezTo>
                    <a:pt x="81" y="26"/>
                    <a:pt x="75" y="52"/>
                    <a:pt x="72" y="62"/>
                  </a:cubicBezTo>
                  <a:close/>
                  <a:moveTo>
                    <a:pt x="96" y="14"/>
                  </a:moveTo>
                  <a:cubicBezTo>
                    <a:pt x="114" y="17"/>
                    <a:pt x="130" y="26"/>
                    <a:pt x="141" y="40"/>
                  </a:cubicBezTo>
                  <a:cubicBezTo>
                    <a:pt x="134" y="52"/>
                    <a:pt x="108" y="60"/>
                    <a:pt x="98" y="62"/>
                  </a:cubicBezTo>
                  <a:cubicBezTo>
                    <a:pt x="95" y="52"/>
                    <a:pt x="90" y="26"/>
                    <a:pt x="96" y="14"/>
                  </a:cubicBezTo>
                  <a:close/>
                  <a:moveTo>
                    <a:pt x="96" y="155"/>
                  </a:moveTo>
                  <a:cubicBezTo>
                    <a:pt x="90" y="144"/>
                    <a:pt x="95" y="118"/>
                    <a:pt x="98" y="107"/>
                  </a:cubicBezTo>
                  <a:cubicBezTo>
                    <a:pt x="108" y="110"/>
                    <a:pt x="134" y="118"/>
                    <a:pt x="141" y="130"/>
                  </a:cubicBezTo>
                  <a:cubicBezTo>
                    <a:pt x="130" y="143"/>
                    <a:pt x="114" y="153"/>
                    <a:pt x="96" y="155"/>
                  </a:cubicBezTo>
                  <a:close/>
                  <a:moveTo>
                    <a:pt x="111" y="85"/>
                  </a:moveTo>
                  <a:cubicBezTo>
                    <a:pt x="119" y="77"/>
                    <a:pt x="138" y="59"/>
                    <a:pt x="152" y="59"/>
                  </a:cubicBezTo>
                  <a:cubicBezTo>
                    <a:pt x="155" y="67"/>
                    <a:pt x="157" y="76"/>
                    <a:pt x="157" y="85"/>
                  </a:cubicBezTo>
                  <a:cubicBezTo>
                    <a:pt x="157" y="94"/>
                    <a:pt x="155" y="102"/>
                    <a:pt x="152" y="110"/>
                  </a:cubicBezTo>
                  <a:cubicBezTo>
                    <a:pt x="138" y="110"/>
                    <a:pt x="119" y="92"/>
                    <a:pt x="111" y="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20" name="Freeform 205"/>
            <p:cNvSpPr>
              <a:spLocks/>
            </p:cNvSpPr>
            <p:nvPr userDrawn="1"/>
          </p:nvSpPr>
          <p:spPr bwMode="auto">
            <a:xfrm>
              <a:off x="3917" y="2468"/>
              <a:ext cx="60" cy="23"/>
            </a:xfrm>
            <a:custGeom>
              <a:avLst/>
              <a:gdLst>
                <a:gd name="T0" fmla="*/ 107 w 133"/>
                <a:gd name="T1" fmla="*/ 0 h 53"/>
                <a:gd name="T2" fmla="*/ 26 w 133"/>
                <a:gd name="T3" fmla="*/ 0 h 53"/>
                <a:gd name="T4" fmla="*/ 0 w 133"/>
                <a:gd name="T5" fmla="*/ 26 h 53"/>
                <a:gd name="T6" fmla="*/ 26 w 133"/>
                <a:gd name="T7" fmla="*/ 53 h 53"/>
                <a:gd name="T8" fmla="*/ 107 w 133"/>
                <a:gd name="T9" fmla="*/ 53 h 53"/>
                <a:gd name="T10" fmla="*/ 133 w 133"/>
                <a:gd name="T11" fmla="*/ 26 h 53"/>
                <a:gd name="T12" fmla="*/ 107 w 133"/>
                <a:gd name="T13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3" h="53">
                  <a:moveTo>
                    <a:pt x="107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12" y="0"/>
                    <a:pt x="0" y="12"/>
                    <a:pt x="0" y="26"/>
                  </a:cubicBezTo>
                  <a:cubicBezTo>
                    <a:pt x="0" y="41"/>
                    <a:pt x="12" y="53"/>
                    <a:pt x="26" y="53"/>
                  </a:cubicBezTo>
                  <a:cubicBezTo>
                    <a:pt x="107" y="53"/>
                    <a:pt x="107" y="53"/>
                    <a:pt x="107" y="53"/>
                  </a:cubicBezTo>
                  <a:cubicBezTo>
                    <a:pt x="121" y="53"/>
                    <a:pt x="133" y="41"/>
                    <a:pt x="133" y="26"/>
                  </a:cubicBezTo>
                  <a:cubicBezTo>
                    <a:pt x="133" y="12"/>
                    <a:pt x="121" y="0"/>
                    <a:pt x="10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21" name="Freeform 206"/>
            <p:cNvSpPr>
              <a:spLocks noEditPoints="1"/>
            </p:cNvSpPr>
            <p:nvPr userDrawn="1"/>
          </p:nvSpPr>
          <p:spPr bwMode="auto">
            <a:xfrm>
              <a:off x="3325" y="2360"/>
              <a:ext cx="723" cy="173"/>
            </a:xfrm>
            <a:custGeom>
              <a:avLst/>
              <a:gdLst>
                <a:gd name="T0" fmla="*/ 235 w 1606"/>
                <a:gd name="T1" fmla="*/ 200 h 382"/>
                <a:gd name="T2" fmla="*/ 1371 w 1606"/>
                <a:gd name="T3" fmla="*/ 9 h 382"/>
                <a:gd name="T4" fmla="*/ 1172 w 1606"/>
                <a:gd name="T5" fmla="*/ 47 h 382"/>
                <a:gd name="T6" fmla="*/ 1160 w 1606"/>
                <a:gd name="T7" fmla="*/ 47 h 382"/>
                <a:gd name="T8" fmla="*/ 1005 w 1606"/>
                <a:gd name="T9" fmla="*/ 17 h 382"/>
                <a:gd name="T10" fmla="*/ 897 w 1606"/>
                <a:gd name="T11" fmla="*/ 43 h 382"/>
                <a:gd name="T12" fmla="*/ 792 w 1606"/>
                <a:gd name="T13" fmla="*/ 47 h 382"/>
                <a:gd name="T14" fmla="*/ 699 w 1606"/>
                <a:gd name="T15" fmla="*/ 29 h 382"/>
                <a:gd name="T16" fmla="*/ 469 w 1606"/>
                <a:gd name="T17" fmla="*/ 47 h 382"/>
                <a:gd name="T18" fmla="*/ 250 w 1606"/>
                <a:gd name="T19" fmla="*/ 115 h 382"/>
                <a:gd name="T20" fmla="*/ 233 w 1606"/>
                <a:gd name="T21" fmla="*/ 113 h 382"/>
                <a:gd name="T22" fmla="*/ 283 w 1606"/>
                <a:gd name="T23" fmla="*/ 29 h 382"/>
                <a:gd name="T24" fmla="*/ 59 w 1606"/>
                <a:gd name="T25" fmla="*/ 236 h 382"/>
                <a:gd name="T26" fmla="*/ 85 w 1606"/>
                <a:gd name="T27" fmla="*/ 280 h 382"/>
                <a:gd name="T28" fmla="*/ 125 w 1606"/>
                <a:gd name="T29" fmla="*/ 325 h 382"/>
                <a:gd name="T30" fmla="*/ 204 w 1606"/>
                <a:gd name="T31" fmla="*/ 382 h 382"/>
                <a:gd name="T32" fmla="*/ 318 w 1606"/>
                <a:gd name="T33" fmla="*/ 382 h 382"/>
                <a:gd name="T34" fmla="*/ 460 w 1606"/>
                <a:gd name="T35" fmla="*/ 367 h 382"/>
                <a:gd name="T36" fmla="*/ 576 w 1606"/>
                <a:gd name="T37" fmla="*/ 229 h 382"/>
                <a:gd name="T38" fmla="*/ 965 w 1606"/>
                <a:gd name="T39" fmla="*/ 229 h 382"/>
                <a:gd name="T40" fmla="*/ 1242 w 1606"/>
                <a:gd name="T41" fmla="*/ 382 h 382"/>
                <a:gd name="T42" fmla="*/ 1378 w 1606"/>
                <a:gd name="T43" fmla="*/ 367 h 382"/>
                <a:gd name="T44" fmla="*/ 1444 w 1606"/>
                <a:gd name="T45" fmla="*/ 309 h 382"/>
                <a:gd name="T46" fmla="*/ 1534 w 1606"/>
                <a:gd name="T47" fmla="*/ 279 h 382"/>
                <a:gd name="T48" fmla="*/ 1013 w 1606"/>
                <a:gd name="T49" fmla="*/ 94 h 382"/>
                <a:gd name="T50" fmla="*/ 1399 w 1606"/>
                <a:gd name="T51" fmla="*/ 80 h 382"/>
                <a:gd name="T52" fmla="*/ 287 w 1606"/>
                <a:gd name="T53" fmla="*/ 85 h 382"/>
                <a:gd name="T54" fmla="*/ 179 w 1606"/>
                <a:gd name="T55" fmla="*/ 144 h 382"/>
                <a:gd name="T56" fmla="*/ 179 w 1606"/>
                <a:gd name="T57" fmla="*/ 151 h 382"/>
                <a:gd name="T58" fmla="*/ 135 w 1606"/>
                <a:gd name="T59" fmla="*/ 113 h 382"/>
                <a:gd name="T60" fmla="*/ 135 w 1606"/>
                <a:gd name="T61" fmla="*/ 113 h 382"/>
                <a:gd name="T62" fmla="*/ 135 w 1606"/>
                <a:gd name="T63" fmla="*/ 175 h 382"/>
                <a:gd name="T64" fmla="*/ 118 w 1606"/>
                <a:gd name="T65" fmla="*/ 144 h 382"/>
                <a:gd name="T66" fmla="*/ 118 w 1606"/>
                <a:gd name="T67" fmla="*/ 151 h 382"/>
                <a:gd name="T68" fmla="*/ 75 w 1606"/>
                <a:gd name="T69" fmla="*/ 113 h 382"/>
                <a:gd name="T70" fmla="*/ 75 w 1606"/>
                <a:gd name="T71" fmla="*/ 113 h 382"/>
                <a:gd name="T72" fmla="*/ 75 w 1606"/>
                <a:gd name="T73" fmla="*/ 175 h 382"/>
                <a:gd name="T74" fmla="*/ 82 w 1606"/>
                <a:gd name="T75" fmla="*/ 226 h 382"/>
                <a:gd name="T76" fmla="*/ 1340 w 1606"/>
                <a:gd name="T77" fmla="*/ 298 h 382"/>
                <a:gd name="T78" fmla="*/ 1455 w 1606"/>
                <a:gd name="T79" fmla="*/ 263 h 382"/>
                <a:gd name="T80" fmla="*/ 1509 w 1606"/>
                <a:gd name="T81" fmla="*/ 346 h 382"/>
                <a:gd name="T82" fmla="*/ 1535 w 1606"/>
                <a:gd name="T83" fmla="*/ 376 h 382"/>
                <a:gd name="T84" fmla="*/ 1524 w 1606"/>
                <a:gd name="T85" fmla="*/ 341 h 382"/>
                <a:gd name="T86" fmla="*/ 1563 w 1606"/>
                <a:gd name="T87" fmla="*/ 376 h 382"/>
                <a:gd name="T88" fmla="*/ 1542 w 1606"/>
                <a:gd name="T89" fmla="*/ 342 h 382"/>
                <a:gd name="T90" fmla="*/ 1572 w 1606"/>
                <a:gd name="T91" fmla="*/ 375 h 382"/>
                <a:gd name="T92" fmla="*/ 1578 w 1606"/>
                <a:gd name="T93" fmla="*/ 371 h 382"/>
                <a:gd name="T94" fmla="*/ 1566 w 1606"/>
                <a:gd name="T95" fmla="*/ 341 h 382"/>
                <a:gd name="T96" fmla="*/ 1587 w 1606"/>
                <a:gd name="T97" fmla="*/ 375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06" h="382">
                  <a:moveTo>
                    <a:pt x="1534" y="279"/>
                  </a:moveTo>
                  <a:cubicBezTo>
                    <a:pt x="1531" y="226"/>
                    <a:pt x="1486" y="213"/>
                    <a:pt x="1477" y="211"/>
                  </a:cubicBezTo>
                  <a:cubicBezTo>
                    <a:pt x="235" y="211"/>
                    <a:pt x="235" y="211"/>
                    <a:pt x="235" y="211"/>
                  </a:cubicBezTo>
                  <a:cubicBezTo>
                    <a:pt x="235" y="200"/>
                    <a:pt x="235" y="200"/>
                    <a:pt x="235" y="200"/>
                  </a:cubicBezTo>
                  <a:cubicBezTo>
                    <a:pt x="1479" y="200"/>
                    <a:pt x="1479" y="200"/>
                    <a:pt x="1479" y="200"/>
                  </a:cubicBezTo>
                  <a:cubicBezTo>
                    <a:pt x="1509" y="73"/>
                    <a:pt x="1453" y="47"/>
                    <a:pt x="1453" y="47"/>
                  </a:cubicBezTo>
                  <a:cubicBezTo>
                    <a:pt x="1371" y="47"/>
                    <a:pt x="1371" y="47"/>
                    <a:pt x="1371" y="47"/>
                  </a:cubicBezTo>
                  <a:cubicBezTo>
                    <a:pt x="1371" y="9"/>
                    <a:pt x="1371" y="9"/>
                    <a:pt x="1371" y="9"/>
                  </a:cubicBezTo>
                  <a:cubicBezTo>
                    <a:pt x="1371" y="9"/>
                    <a:pt x="1356" y="0"/>
                    <a:pt x="1345" y="3"/>
                  </a:cubicBezTo>
                  <a:cubicBezTo>
                    <a:pt x="1334" y="0"/>
                    <a:pt x="1319" y="9"/>
                    <a:pt x="1319" y="9"/>
                  </a:cubicBezTo>
                  <a:cubicBezTo>
                    <a:pt x="1319" y="47"/>
                    <a:pt x="1319" y="47"/>
                    <a:pt x="1319" y="47"/>
                  </a:cubicBezTo>
                  <a:cubicBezTo>
                    <a:pt x="1172" y="47"/>
                    <a:pt x="1172" y="47"/>
                    <a:pt x="1172" y="47"/>
                  </a:cubicBezTo>
                  <a:cubicBezTo>
                    <a:pt x="1172" y="25"/>
                    <a:pt x="1172" y="25"/>
                    <a:pt x="1172" y="25"/>
                  </a:cubicBezTo>
                  <a:cubicBezTo>
                    <a:pt x="1172" y="22"/>
                    <a:pt x="1169" y="20"/>
                    <a:pt x="1166" y="20"/>
                  </a:cubicBezTo>
                  <a:cubicBezTo>
                    <a:pt x="1163" y="20"/>
                    <a:pt x="1160" y="22"/>
                    <a:pt x="1160" y="25"/>
                  </a:cubicBezTo>
                  <a:cubicBezTo>
                    <a:pt x="1160" y="47"/>
                    <a:pt x="1160" y="47"/>
                    <a:pt x="1160" y="47"/>
                  </a:cubicBezTo>
                  <a:cubicBezTo>
                    <a:pt x="1144" y="47"/>
                    <a:pt x="1144" y="47"/>
                    <a:pt x="1144" y="47"/>
                  </a:cubicBezTo>
                  <a:cubicBezTo>
                    <a:pt x="1144" y="46"/>
                    <a:pt x="1144" y="45"/>
                    <a:pt x="1144" y="43"/>
                  </a:cubicBezTo>
                  <a:cubicBezTo>
                    <a:pt x="1144" y="29"/>
                    <a:pt x="1134" y="17"/>
                    <a:pt x="1121" y="17"/>
                  </a:cubicBezTo>
                  <a:cubicBezTo>
                    <a:pt x="1005" y="17"/>
                    <a:pt x="1005" y="17"/>
                    <a:pt x="1005" y="17"/>
                  </a:cubicBezTo>
                  <a:cubicBezTo>
                    <a:pt x="992" y="17"/>
                    <a:pt x="982" y="29"/>
                    <a:pt x="982" y="43"/>
                  </a:cubicBezTo>
                  <a:cubicBezTo>
                    <a:pt x="982" y="45"/>
                    <a:pt x="982" y="46"/>
                    <a:pt x="982" y="47"/>
                  </a:cubicBezTo>
                  <a:cubicBezTo>
                    <a:pt x="897" y="47"/>
                    <a:pt x="897" y="47"/>
                    <a:pt x="897" y="47"/>
                  </a:cubicBezTo>
                  <a:cubicBezTo>
                    <a:pt x="897" y="46"/>
                    <a:pt x="897" y="45"/>
                    <a:pt x="897" y="43"/>
                  </a:cubicBezTo>
                  <a:cubicBezTo>
                    <a:pt x="897" y="30"/>
                    <a:pt x="887" y="20"/>
                    <a:pt x="874" y="20"/>
                  </a:cubicBezTo>
                  <a:cubicBezTo>
                    <a:pt x="816" y="20"/>
                    <a:pt x="816" y="20"/>
                    <a:pt x="816" y="20"/>
                  </a:cubicBezTo>
                  <a:cubicBezTo>
                    <a:pt x="803" y="20"/>
                    <a:pt x="792" y="30"/>
                    <a:pt x="792" y="43"/>
                  </a:cubicBezTo>
                  <a:cubicBezTo>
                    <a:pt x="792" y="45"/>
                    <a:pt x="792" y="46"/>
                    <a:pt x="792" y="47"/>
                  </a:cubicBezTo>
                  <a:cubicBezTo>
                    <a:pt x="712" y="47"/>
                    <a:pt x="712" y="47"/>
                    <a:pt x="712" y="47"/>
                  </a:cubicBezTo>
                  <a:cubicBezTo>
                    <a:pt x="712" y="46"/>
                    <a:pt x="712" y="45"/>
                    <a:pt x="712" y="44"/>
                  </a:cubicBezTo>
                  <a:cubicBezTo>
                    <a:pt x="712" y="42"/>
                    <a:pt x="712" y="42"/>
                    <a:pt x="712" y="42"/>
                  </a:cubicBezTo>
                  <a:cubicBezTo>
                    <a:pt x="712" y="34"/>
                    <a:pt x="706" y="29"/>
                    <a:pt x="699" y="29"/>
                  </a:cubicBezTo>
                  <a:cubicBezTo>
                    <a:pt x="692" y="29"/>
                    <a:pt x="686" y="34"/>
                    <a:pt x="686" y="42"/>
                  </a:cubicBezTo>
                  <a:cubicBezTo>
                    <a:pt x="686" y="44"/>
                    <a:pt x="686" y="44"/>
                    <a:pt x="686" y="44"/>
                  </a:cubicBezTo>
                  <a:cubicBezTo>
                    <a:pt x="686" y="45"/>
                    <a:pt x="686" y="46"/>
                    <a:pt x="686" y="47"/>
                  </a:cubicBezTo>
                  <a:cubicBezTo>
                    <a:pt x="469" y="47"/>
                    <a:pt x="469" y="47"/>
                    <a:pt x="469" y="47"/>
                  </a:cubicBezTo>
                  <a:cubicBezTo>
                    <a:pt x="467" y="34"/>
                    <a:pt x="443" y="29"/>
                    <a:pt x="443" y="29"/>
                  </a:cubicBezTo>
                  <a:cubicBezTo>
                    <a:pt x="294" y="29"/>
                    <a:pt x="294" y="29"/>
                    <a:pt x="294" y="29"/>
                  </a:cubicBezTo>
                  <a:cubicBezTo>
                    <a:pt x="262" y="43"/>
                    <a:pt x="260" y="91"/>
                    <a:pt x="260" y="92"/>
                  </a:cubicBezTo>
                  <a:cubicBezTo>
                    <a:pt x="259" y="103"/>
                    <a:pt x="256" y="111"/>
                    <a:pt x="250" y="115"/>
                  </a:cubicBezTo>
                  <a:cubicBezTo>
                    <a:pt x="246" y="118"/>
                    <a:pt x="241" y="119"/>
                    <a:pt x="238" y="119"/>
                  </a:cubicBezTo>
                  <a:cubicBezTo>
                    <a:pt x="238" y="191"/>
                    <a:pt x="238" y="191"/>
                    <a:pt x="238" y="191"/>
                  </a:cubicBezTo>
                  <a:cubicBezTo>
                    <a:pt x="233" y="191"/>
                    <a:pt x="233" y="191"/>
                    <a:pt x="233" y="191"/>
                  </a:cubicBezTo>
                  <a:cubicBezTo>
                    <a:pt x="233" y="113"/>
                    <a:pt x="233" y="113"/>
                    <a:pt x="233" y="113"/>
                  </a:cubicBezTo>
                  <a:cubicBezTo>
                    <a:pt x="236" y="113"/>
                    <a:pt x="236" y="113"/>
                    <a:pt x="236" y="113"/>
                  </a:cubicBezTo>
                  <a:cubicBezTo>
                    <a:pt x="236" y="113"/>
                    <a:pt x="242" y="114"/>
                    <a:pt x="247" y="111"/>
                  </a:cubicBezTo>
                  <a:cubicBezTo>
                    <a:pt x="251" y="107"/>
                    <a:pt x="254" y="101"/>
                    <a:pt x="255" y="92"/>
                  </a:cubicBezTo>
                  <a:cubicBezTo>
                    <a:pt x="255" y="91"/>
                    <a:pt x="257" y="48"/>
                    <a:pt x="283" y="29"/>
                  </a:cubicBezTo>
                  <a:cubicBezTo>
                    <a:pt x="30" y="29"/>
                    <a:pt x="30" y="29"/>
                    <a:pt x="30" y="29"/>
                  </a:cubicBezTo>
                  <a:cubicBezTo>
                    <a:pt x="0" y="44"/>
                    <a:pt x="15" y="70"/>
                    <a:pt x="15" y="70"/>
                  </a:cubicBezTo>
                  <a:cubicBezTo>
                    <a:pt x="55" y="79"/>
                    <a:pt x="61" y="109"/>
                    <a:pt x="61" y="109"/>
                  </a:cubicBezTo>
                  <a:cubicBezTo>
                    <a:pt x="59" y="236"/>
                    <a:pt x="59" y="236"/>
                    <a:pt x="59" y="236"/>
                  </a:cubicBezTo>
                  <a:cubicBezTo>
                    <a:pt x="126" y="275"/>
                    <a:pt x="126" y="275"/>
                    <a:pt x="126" y="275"/>
                  </a:cubicBezTo>
                  <a:cubicBezTo>
                    <a:pt x="126" y="297"/>
                    <a:pt x="126" y="297"/>
                    <a:pt x="126" y="297"/>
                  </a:cubicBezTo>
                  <a:cubicBezTo>
                    <a:pt x="101" y="297"/>
                    <a:pt x="101" y="297"/>
                    <a:pt x="101" y="297"/>
                  </a:cubicBezTo>
                  <a:cubicBezTo>
                    <a:pt x="98" y="287"/>
                    <a:pt x="92" y="280"/>
                    <a:pt x="85" y="280"/>
                  </a:cubicBezTo>
                  <a:cubicBezTo>
                    <a:pt x="75" y="280"/>
                    <a:pt x="66" y="294"/>
                    <a:pt x="66" y="311"/>
                  </a:cubicBezTo>
                  <a:cubicBezTo>
                    <a:pt x="66" y="329"/>
                    <a:pt x="75" y="343"/>
                    <a:pt x="85" y="343"/>
                  </a:cubicBezTo>
                  <a:cubicBezTo>
                    <a:pt x="92" y="343"/>
                    <a:pt x="98" y="336"/>
                    <a:pt x="101" y="325"/>
                  </a:cubicBezTo>
                  <a:cubicBezTo>
                    <a:pt x="125" y="325"/>
                    <a:pt x="125" y="325"/>
                    <a:pt x="125" y="325"/>
                  </a:cubicBezTo>
                  <a:cubicBezTo>
                    <a:pt x="125" y="352"/>
                    <a:pt x="125" y="352"/>
                    <a:pt x="125" y="352"/>
                  </a:cubicBezTo>
                  <a:cubicBezTo>
                    <a:pt x="166" y="356"/>
                    <a:pt x="166" y="356"/>
                    <a:pt x="166" y="356"/>
                  </a:cubicBezTo>
                  <a:cubicBezTo>
                    <a:pt x="185" y="382"/>
                    <a:pt x="185" y="382"/>
                    <a:pt x="185" y="382"/>
                  </a:cubicBezTo>
                  <a:cubicBezTo>
                    <a:pt x="204" y="382"/>
                    <a:pt x="204" y="382"/>
                    <a:pt x="204" y="382"/>
                  </a:cubicBezTo>
                  <a:cubicBezTo>
                    <a:pt x="203" y="378"/>
                    <a:pt x="203" y="373"/>
                    <a:pt x="203" y="367"/>
                  </a:cubicBezTo>
                  <a:cubicBezTo>
                    <a:pt x="203" y="335"/>
                    <a:pt x="229" y="309"/>
                    <a:pt x="261" y="309"/>
                  </a:cubicBezTo>
                  <a:cubicBezTo>
                    <a:pt x="294" y="309"/>
                    <a:pt x="320" y="335"/>
                    <a:pt x="320" y="367"/>
                  </a:cubicBezTo>
                  <a:cubicBezTo>
                    <a:pt x="320" y="373"/>
                    <a:pt x="319" y="378"/>
                    <a:pt x="318" y="382"/>
                  </a:cubicBezTo>
                  <a:cubicBezTo>
                    <a:pt x="345" y="382"/>
                    <a:pt x="345" y="382"/>
                    <a:pt x="345" y="382"/>
                  </a:cubicBezTo>
                  <a:cubicBezTo>
                    <a:pt x="343" y="378"/>
                    <a:pt x="343" y="373"/>
                    <a:pt x="343" y="367"/>
                  </a:cubicBezTo>
                  <a:cubicBezTo>
                    <a:pt x="343" y="335"/>
                    <a:pt x="369" y="309"/>
                    <a:pt x="401" y="309"/>
                  </a:cubicBezTo>
                  <a:cubicBezTo>
                    <a:pt x="434" y="309"/>
                    <a:pt x="460" y="335"/>
                    <a:pt x="460" y="367"/>
                  </a:cubicBezTo>
                  <a:cubicBezTo>
                    <a:pt x="460" y="373"/>
                    <a:pt x="459" y="378"/>
                    <a:pt x="458" y="382"/>
                  </a:cubicBezTo>
                  <a:cubicBezTo>
                    <a:pt x="494" y="382"/>
                    <a:pt x="494" y="382"/>
                    <a:pt x="494" y="382"/>
                  </a:cubicBezTo>
                  <a:cubicBezTo>
                    <a:pt x="484" y="367"/>
                    <a:pt x="477" y="348"/>
                    <a:pt x="477" y="328"/>
                  </a:cubicBezTo>
                  <a:cubicBezTo>
                    <a:pt x="477" y="274"/>
                    <a:pt x="522" y="229"/>
                    <a:pt x="576" y="229"/>
                  </a:cubicBezTo>
                  <a:cubicBezTo>
                    <a:pt x="626" y="229"/>
                    <a:pt x="667" y="267"/>
                    <a:pt x="673" y="315"/>
                  </a:cubicBezTo>
                  <a:cubicBezTo>
                    <a:pt x="680" y="267"/>
                    <a:pt x="721" y="229"/>
                    <a:pt x="771" y="229"/>
                  </a:cubicBezTo>
                  <a:cubicBezTo>
                    <a:pt x="820" y="229"/>
                    <a:pt x="862" y="267"/>
                    <a:pt x="868" y="315"/>
                  </a:cubicBezTo>
                  <a:cubicBezTo>
                    <a:pt x="874" y="267"/>
                    <a:pt x="916" y="229"/>
                    <a:pt x="965" y="229"/>
                  </a:cubicBezTo>
                  <a:cubicBezTo>
                    <a:pt x="1015" y="229"/>
                    <a:pt x="1056" y="267"/>
                    <a:pt x="1063" y="315"/>
                  </a:cubicBezTo>
                  <a:cubicBezTo>
                    <a:pt x="1069" y="267"/>
                    <a:pt x="1110" y="229"/>
                    <a:pt x="1160" y="229"/>
                  </a:cubicBezTo>
                  <a:cubicBezTo>
                    <a:pt x="1214" y="229"/>
                    <a:pt x="1259" y="274"/>
                    <a:pt x="1259" y="328"/>
                  </a:cubicBezTo>
                  <a:cubicBezTo>
                    <a:pt x="1259" y="348"/>
                    <a:pt x="1252" y="367"/>
                    <a:pt x="1242" y="382"/>
                  </a:cubicBezTo>
                  <a:cubicBezTo>
                    <a:pt x="1262" y="382"/>
                    <a:pt x="1262" y="382"/>
                    <a:pt x="1262" y="382"/>
                  </a:cubicBezTo>
                  <a:cubicBezTo>
                    <a:pt x="1261" y="378"/>
                    <a:pt x="1260" y="373"/>
                    <a:pt x="1260" y="367"/>
                  </a:cubicBezTo>
                  <a:cubicBezTo>
                    <a:pt x="1260" y="335"/>
                    <a:pt x="1287" y="309"/>
                    <a:pt x="1319" y="309"/>
                  </a:cubicBezTo>
                  <a:cubicBezTo>
                    <a:pt x="1351" y="309"/>
                    <a:pt x="1378" y="335"/>
                    <a:pt x="1378" y="367"/>
                  </a:cubicBezTo>
                  <a:cubicBezTo>
                    <a:pt x="1378" y="373"/>
                    <a:pt x="1377" y="378"/>
                    <a:pt x="1376" y="382"/>
                  </a:cubicBezTo>
                  <a:cubicBezTo>
                    <a:pt x="1387" y="382"/>
                    <a:pt x="1387" y="382"/>
                    <a:pt x="1387" y="382"/>
                  </a:cubicBezTo>
                  <a:cubicBezTo>
                    <a:pt x="1385" y="378"/>
                    <a:pt x="1385" y="373"/>
                    <a:pt x="1385" y="367"/>
                  </a:cubicBezTo>
                  <a:cubicBezTo>
                    <a:pt x="1385" y="335"/>
                    <a:pt x="1411" y="309"/>
                    <a:pt x="1444" y="309"/>
                  </a:cubicBezTo>
                  <a:cubicBezTo>
                    <a:pt x="1475" y="309"/>
                    <a:pt x="1500" y="333"/>
                    <a:pt x="1502" y="364"/>
                  </a:cubicBezTo>
                  <a:cubicBezTo>
                    <a:pt x="1516" y="382"/>
                    <a:pt x="1516" y="382"/>
                    <a:pt x="1516" y="382"/>
                  </a:cubicBezTo>
                  <a:cubicBezTo>
                    <a:pt x="1606" y="382"/>
                    <a:pt x="1606" y="382"/>
                    <a:pt x="1606" y="382"/>
                  </a:cubicBezTo>
                  <a:lnTo>
                    <a:pt x="1534" y="279"/>
                  </a:lnTo>
                  <a:close/>
                  <a:moveTo>
                    <a:pt x="846" y="195"/>
                  </a:moveTo>
                  <a:cubicBezTo>
                    <a:pt x="843" y="191"/>
                    <a:pt x="843" y="191"/>
                    <a:pt x="843" y="191"/>
                  </a:cubicBezTo>
                  <a:cubicBezTo>
                    <a:pt x="1010" y="90"/>
                    <a:pt x="1010" y="90"/>
                    <a:pt x="1010" y="90"/>
                  </a:cubicBezTo>
                  <a:cubicBezTo>
                    <a:pt x="1013" y="94"/>
                    <a:pt x="1013" y="94"/>
                    <a:pt x="1013" y="94"/>
                  </a:cubicBezTo>
                  <a:lnTo>
                    <a:pt x="846" y="195"/>
                  </a:lnTo>
                  <a:close/>
                  <a:moveTo>
                    <a:pt x="287" y="80"/>
                  </a:moveTo>
                  <a:cubicBezTo>
                    <a:pt x="1398" y="80"/>
                    <a:pt x="1398" y="80"/>
                    <a:pt x="1398" y="80"/>
                  </a:cubicBezTo>
                  <a:cubicBezTo>
                    <a:pt x="1399" y="80"/>
                    <a:pt x="1399" y="80"/>
                    <a:pt x="1399" y="80"/>
                  </a:cubicBezTo>
                  <a:cubicBezTo>
                    <a:pt x="1400" y="80"/>
                    <a:pt x="1436" y="88"/>
                    <a:pt x="1472" y="148"/>
                  </a:cubicBezTo>
                  <a:cubicBezTo>
                    <a:pt x="1467" y="150"/>
                    <a:pt x="1467" y="150"/>
                    <a:pt x="1467" y="150"/>
                  </a:cubicBezTo>
                  <a:cubicBezTo>
                    <a:pt x="1434" y="95"/>
                    <a:pt x="1401" y="86"/>
                    <a:pt x="1398" y="85"/>
                  </a:cubicBezTo>
                  <a:cubicBezTo>
                    <a:pt x="287" y="85"/>
                    <a:pt x="287" y="85"/>
                    <a:pt x="287" y="85"/>
                  </a:cubicBezTo>
                  <a:lnTo>
                    <a:pt x="287" y="80"/>
                  </a:lnTo>
                  <a:close/>
                  <a:moveTo>
                    <a:pt x="161" y="113"/>
                  </a:moveTo>
                  <a:cubicBezTo>
                    <a:pt x="179" y="113"/>
                    <a:pt x="179" y="113"/>
                    <a:pt x="179" y="113"/>
                  </a:cubicBezTo>
                  <a:cubicBezTo>
                    <a:pt x="179" y="144"/>
                    <a:pt x="179" y="144"/>
                    <a:pt x="179" y="144"/>
                  </a:cubicBezTo>
                  <a:cubicBezTo>
                    <a:pt x="161" y="144"/>
                    <a:pt x="161" y="144"/>
                    <a:pt x="161" y="144"/>
                  </a:cubicBezTo>
                  <a:lnTo>
                    <a:pt x="161" y="113"/>
                  </a:lnTo>
                  <a:close/>
                  <a:moveTo>
                    <a:pt x="161" y="151"/>
                  </a:moveTo>
                  <a:cubicBezTo>
                    <a:pt x="179" y="151"/>
                    <a:pt x="179" y="151"/>
                    <a:pt x="179" y="151"/>
                  </a:cubicBezTo>
                  <a:cubicBezTo>
                    <a:pt x="179" y="175"/>
                    <a:pt x="179" y="175"/>
                    <a:pt x="179" y="175"/>
                  </a:cubicBezTo>
                  <a:cubicBezTo>
                    <a:pt x="161" y="175"/>
                    <a:pt x="161" y="175"/>
                    <a:pt x="161" y="175"/>
                  </a:cubicBezTo>
                  <a:lnTo>
                    <a:pt x="161" y="151"/>
                  </a:lnTo>
                  <a:close/>
                  <a:moveTo>
                    <a:pt x="135" y="113"/>
                  </a:moveTo>
                  <a:cubicBezTo>
                    <a:pt x="156" y="113"/>
                    <a:pt x="156" y="113"/>
                    <a:pt x="156" y="113"/>
                  </a:cubicBezTo>
                  <a:cubicBezTo>
                    <a:pt x="156" y="144"/>
                    <a:pt x="156" y="144"/>
                    <a:pt x="156" y="144"/>
                  </a:cubicBezTo>
                  <a:cubicBezTo>
                    <a:pt x="135" y="144"/>
                    <a:pt x="135" y="144"/>
                    <a:pt x="135" y="144"/>
                  </a:cubicBezTo>
                  <a:lnTo>
                    <a:pt x="135" y="113"/>
                  </a:lnTo>
                  <a:close/>
                  <a:moveTo>
                    <a:pt x="135" y="151"/>
                  </a:moveTo>
                  <a:cubicBezTo>
                    <a:pt x="156" y="151"/>
                    <a:pt x="156" y="151"/>
                    <a:pt x="156" y="151"/>
                  </a:cubicBezTo>
                  <a:cubicBezTo>
                    <a:pt x="156" y="175"/>
                    <a:pt x="156" y="175"/>
                    <a:pt x="156" y="175"/>
                  </a:cubicBezTo>
                  <a:cubicBezTo>
                    <a:pt x="135" y="175"/>
                    <a:pt x="135" y="175"/>
                    <a:pt x="135" y="175"/>
                  </a:cubicBezTo>
                  <a:lnTo>
                    <a:pt x="135" y="151"/>
                  </a:lnTo>
                  <a:close/>
                  <a:moveTo>
                    <a:pt x="97" y="113"/>
                  </a:moveTo>
                  <a:cubicBezTo>
                    <a:pt x="118" y="113"/>
                    <a:pt x="118" y="113"/>
                    <a:pt x="118" y="113"/>
                  </a:cubicBezTo>
                  <a:cubicBezTo>
                    <a:pt x="118" y="144"/>
                    <a:pt x="118" y="144"/>
                    <a:pt x="118" y="144"/>
                  </a:cubicBezTo>
                  <a:cubicBezTo>
                    <a:pt x="97" y="144"/>
                    <a:pt x="97" y="144"/>
                    <a:pt x="97" y="144"/>
                  </a:cubicBezTo>
                  <a:lnTo>
                    <a:pt x="97" y="113"/>
                  </a:lnTo>
                  <a:close/>
                  <a:moveTo>
                    <a:pt x="97" y="151"/>
                  </a:moveTo>
                  <a:cubicBezTo>
                    <a:pt x="118" y="151"/>
                    <a:pt x="118" y="151"/>
                    <a:pt x="118" y="151"/>
                  </a:cubicBezTo>
                  <a:cubicBezTo>
                    <a:pt x="118" y="175"/>
                    <a:pt x="118" y="175"/>
                    <a:pt x="118" y="175"/>
                  </a:cubicBezTo>
                  <a:cubicBezTo>
                    <a:pt x="97" y="175"/>
                    <a:pt x="97" y="175"/>
                    <a:pt x="97" y="175"/>
                  </a:cubicBezTo>
                  <a:lnTo>
                    <a:pt x="97" y="151"/>
                  </a:lnTo>
                  <a:close/>
                  <a:moveTo>
                    <a:pt x="75" y="113"/>
                  </a:moveTo>
                  <a:cubicBezTo>
                    <a:pt x="92" y="113"/>
                    <a:pt x="92" y="113"/>
                    <a:pt x="92" y="113"/>
                  </a:cubicBezTo>
                  <a:cubicBezTo>
                    <a:pt x="92" y="144"/>
                    <a:pt x="92" y="144"/>
                    <a:pt x="92" y="144"/>
                  </a:cubicBezTo>
                  <a:cubicBezTo>
                    <a:pt x="75" y="144"/>
                    <a:pt x="75" y="144"/>
                    <a:pt x="75" y="144"/>
                  </a:cubicBezTo>
                  <a:lnTo>
                    <a:pt x="75" y="113"/>
                  </a:lnTo>
                  <a:close/>
                  <a:moveTo>
                    <a:pt x="75" y="151"/>
                  </a:moveTo>
                  <a:cubicBezTo>
                    <a:pt x="92" y="151"/>
                    <a:pt x="92" y="151"/>
                    <a:pt x="92" y="151"/>
                  </a:cubicBezTo>
                  <a:cubicBezTo>
                    <a:pt x="92" y="175"/>
                    <a:pt x="92" y="175"/>
                    <a:pt x="92" y="175"/>
                  </a:cubicBezTo>
                  <a:cubicBezTo>
                    <a:pt x="75" y="175"/>
                    <a:pt x="75" y="175"/>
                    <a:pt x="75" y="175"/>
                  </a:cubicBezTo>
                  <a:lnTo>
                    <a:pt x="75" y="151"/>
                  </a:lnTo>
                  <a:close/>
                  <a:moveTo>
                    <a:pt x="261" y="236"/>
                  </a:moveTo>
                  <a:cubicBezTo>
                    <a:pt x="82" y="236"/>
                    <a:pt x="82" y="236"/>
                    <a:pt x="82" y="236"/>
                  </a:cubicBezTo>
                  <a:cubicBezTo>
                    <a:pt x="82" y="226"/>
                    <a:pt x="82" y="226"/>
                    <a:pt x="82" y="226"/>
                  </a:cubicBezTo>
                  <a:cubicBezTo>
                    <a:pt x="261" y="226"/>
                    <a:pt x="261" y="226"/>
                    <a:pt x="261" y="226"/>
                  </a:cubicBezTo>
                  <a:lnTo>
                    <a:pt x="261" y="236"/>
                  </a:lnTo>
                  <a:close/>
                  <a:moveTo>
                    <a:pt x="1421" y="298"/>
                  </a:moveTo>
                  <a:cubicBezTo>
                    <a:pt x="1340" y="298"/>
                    <a:pt x="1340" y="298"/>
                    <a:pt x="1340" y="298"/>
                  </a:cubicBezTo>
                  <a:cubicBezTo>
                    <a:pt x="1321" y="298"/>
                    <a:pt x="1306" y="282"/>
                    <a:pt x="1306" y="263"/>
                  </a:cubicBezTo>
                  <a:cubicBezTo>
                    <a:pt x="1306" y="244"/>
                    <a:pt x="1321" y="229"/>
                    <a:pt x="1340" y="229"/>
                  </a:cubicBezTo>
                  <a:cubicBezTo>
                    <a:pt x="1421" y="229"/>
                    <a:pt x="1421" y="229"/>
                    <a:pt x="1421" y="229"/>
                  </a:cubicBezTo>
                  <a:cubicBezTo>
                    <a:pt x="1440" y="229"/>
                    <a:pt x="1455" y="244"/>
                    <a:pt x="1455" y="263"/>
                  </a:cubicBezTo>
                  <a:cubicBezTo>
                    <a:pt x="1455" y="282"/>
                    <a:pt x="1440" y="298"/>
                    <a:pt x="1421" y="298"/>
                  </a:cubicBezTo>
                  <a:close/>
                  <a:moveTo>
                    <a:pt x="1535" y="376"/>
                  </a:moveTo>
                  <a:cubicBezTo>
                    <a:pt x="1533" y="377"/>
                    <a:pt x="1531" y="377"/>
                    <a:pt x="1530" y="375"/>
                  </a:cubicBezTo>
                  <a:cubicBezTo>
                    <a:pt x="1509" y="346"/>
                    <a:pt x="1509" y="346"/>
                    <a:pt x="1509" y="346"/>
                  </a:cubicBezTo>
                  <a:cubicBezTo>
                    <a:pt x="1508" y="345"/>
                    <a:pt x="1508" y="342"/>
                    <a:pt x="1510" y="341"/>
                  </a:cubicBezTo>
                  <a:cubicBezTo>
                    <a:pt x="1511" y="340"/>
                    <a:pt x="1513" y="341"/>
                    <a:pt x="1514" y="342"/>
                  </a:cubicBezTo>
                  <a:cubicBezTo>
                    <a:pt x="1536" y="371"/>
                    <a:pt x="1536" y="371"/>
                    <a:pt x="1536" y="371"/>
                  </a:cubicBezTo>
                  <a:cubicBezTo>
                    <a:pt x="1537" y="373"/>
                    <a:pt x="1536" y="375"/>
                    <a:pt x="1535" y="376"/>
                  </a:cubicBezTo>
                  <a:close/>
                  <a:moveTo>
                    <a:pt x="1549" y="376"/>
                  </a:moveTo>
                  <a:cubicBezTo>
                    <a:pt x="1548" y="377"/>
                    <a:pt x="1545" y="377"/>
                    <a:pt x="1544" y="375"/>
                  </a:cubicBezTo>
                  <a:cubicBezTo>
                    <a:pt x="1523" y="346"/>
                    <a:pt x="1523" y="346"/>
                    <a:pt x="1523" y="346"/>
                  </a:cubicBezTo>
                  <a:cubicBezTo>
                    <a:pt x="1522" y="345"/>
                    <a:pt x="1522" y="342"/>
                    <a:pt x="1524" y="341"/>
                  </a:cubicBezTo>
                  <a:cubicBezTo>
                    <a:pt x="1525" y="340"/>
                    <a:pt x="1527" y="341"/>
                    <a:pt x="1528" y="342"/>
                  </a:cubicBezTo>
                  <a:cubicBezTo>
                    <a:pt x="1550" y="371"/>
                    <a:pt x="1550" y="371"/>
                    <a:pt x="1550" y="371"/>
                  </a:cubicBezTo>
                  <a:cubicBezTo>
                    <a:pt x="1551" y="373"/>
                    <a:pt x="1551" y="375"/>
                    <a:pt x="1549" y="376"/>
                  </a:cubicBezTo>
                  <a:close/>
                  <a:moveTo>
                    <a:pt x="1563" y="376"/>
                  </a:moveTo>
                  <a:cubicBezTo>
                    <a:pt x="1562" y="377"/>
                    <a:pt x="1560" y="377"/>
                    <a:pt x="1558" y="375"/>
                  </a:cubicBezTo>
                  <a:cubicBezTo>
                    <a:pt x="1537" y="346"/>
                    <a:pt x="1537" y="346"/>
                    <a:pt x="1537" y="346"/>
                  </a:cubicBezTo>
                  <a:cubicBezTo>
                    <a:pt x="1536" y="345"/>
                    <a:pt x="1536" y="342"/>
                    <a:pt x="1538" y="341"/>
                  </a:cubicBezTo>
                  <a:cubicBezTo>
                    <a:pt x="1539" y="340"/>
                    <a:pt x="1541" y="341"/>
                    <a:pt x="1542" y="342"/>
                  </a:cubicBezTo>
                  <a:cubicBezTo>
                    <a:pt x="1564" y="371"/>
                    <a:pt x="1564" y="371"/>
                    <a:pt x="1564" y="371"/>
                  </a:cubicBezTo>
                  <a:cubicBezTo>
                    <a:pt x="1565" y="373"/>
                    <a:pt x="1565" y="375"/>
                    <a:pt x="1563" y="376"/>
                  </a:cubicBezTo>
                  <a:close/>
                  <a:moveTo>
                    <a:pt x="1577" y="376"/>
                  </a:moveTo>
                  <a:cubicBezTo>
                    <a:pt x="1576" y="377"/>
                    <a:pt x="1574" y="377"/>
                    <a:pt x="1572" y="375"/>
                  </a:cubicBezTo>
                  <a:cubicBezTo>
                    <a:pt x="1551" y="346"/>
                    <a:pt x="1551" y="346"/>
                    <a:pt x="1551" y="346"/>
                  </a:cubicBezTo>
                  <a:cubicBezTo>
                    <a:pt x="1550" y="345"/>
                    <a:pt x="1550" y="342"/>
                    <a:pt x="1552" y="341"/>
                  </a:cubicBezTo>
                  <a:cubicBezTo>
                    <a:pt x="1553" y="340"/>
                    <a:pt x="1555" y="341"/>
                    <a:pt x="1556" y="342"/>
                  </a:cubicBezTo>
                  <a:cubicBezTo>
                    <a:pt x="1578" y="371"/>
                    <a:pt x="1578" y="371"/>
                    <a:pt x="1578" y="371"/>
                  </a:cubicBezTo>
                  <a:cubicBezTo>
                    <a:pt x="1579" y="373"/>
                    <a:pt x="1579" y="375"/>
                    <a:pt x="1577" y="376"/>
                  </a:cubicBezTo>
                  <a:close/>
                  <a:moveTo>
                    <a:pt x="1587" y="375"/>
                  </a:moveTo>
                  <a:cubicBezTo>
                    <a:pt x="1565" y="346"/>
                    <a:pt x="1565" y="346"/>
                    <a:pt x="1565" y="346"/>
                  </a:cubicBezTo>
                  <a:cubicBezTo>
                    <a:pt x="1564" y="345"/>
                    <a:pt x="1564" y="342"/>
                    <a:pt x="1566" y="341"/>
                  </a:cubicBezTo>
                  <a:cubicBezTo>
                    <a:pt x="1567" y="340"/>
                    <a:pt x="1569" y="341"/>
                    <a:pt x="1571" y="342"/>
                  </a:cubicBezTo>
                  <a:cubicBezTo>
                    <a:pt x="1592" y="371"/>
                    <a:pt x="1592" y="371"/>
                    <a:pt x="1592" y="371"/>
                  </a:cubicBezTo>
                  <a:cubicBezTo>
                    <a:pt x="1593" y="373"/>
                    <a:pt x="1593" y="375"/>
                    <a:pt x="1591" y="376"/>
                  </a:cubicBezTo>
                  <a:cubicBezTo>
                    <a:pt x="1590" y="377"/>
                    <a:pt x="1588" y="377"/>
                    <a:pt x="1587" y="3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22" name="Freeform 207"/>
            <p:cNvSpPr>
              <a:spLocks noEditPoints="1"/>
            </p:cNvSpPr>
            <p:nvPr userDrawn="1"/>
          </p:nvSpPr>
          <p:spPr bwMode="auto">
            <a:xfrm>
              <a:off x="3247" y="2509"/>
              <a:ext cx="38" cy="38"/>
            </a:xfrm>
            <a:custGeom>
              <a:avLst/>
              <a:gdLst>
                <a:gd name="T0" fmla="*/ 42 w 84"/>
                <a:gd name="T1" fmla="*/ 0 h 84"/>
                <a:gd name="T2" fmla="*/ 0 w 84"/>
                <a:gd name="T3" fmla="*/ 42 h 84"/>
                <a:gd name="T4" fmla="*/ 42 w 84"/>
                <a:gd name="T5" fmla="*/ 84 h 84"/>
                <a:gd name="T6" fmla="*/ 84 w 84"/>
                <a:gd name="T7" fmla="*/ 42 h 84"/>
                <a:gd name="T8" fmla="*/ 42 w 84"/>
                <a:gd name="T9" fmla="*/ 0 h 84"/>
                <a:gd name="T10" fmla="*/ 42 w 84"/>
                <a:gd name="T11" fmla="*/ 71 h 84"/>
                <a:gd name="T12" fmla="*/ 13 w 84"/>
                <a:gd name="T13" fmla="*/ 42 h 84"/>
                <a:gd name="T14" fmla="*/ 42 w 84"/>
                <a:gd name="T15" fmla="*/ 12 h 84"/>
                <a:gd name="T16" fmla="*/ 72 w 84"/>
                <a:gd name="T17" fmla="*/ 42 h 84"/>
                <a:gd name="T18" fmla="*/ 42 w 84"/>
                <a:gd name="T19" fmla="*/ 71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65"/>
                    <a:pt x="19" y="84"/>
                    <a:pt x="42" y="84"/>
                  </a:cubicBezTo>
                  <a:cubicBezTo>
                    <a:pt x="65" y="84"/>
                    <a:pt x="84" y="65"/>
                    <a:pt x="84" y="42"/>
                  </a:cubicBezTo>
                  <a:cubicBezTo>
                    <a:pt x="84" y="19"/>
                    <a:pt x="65" y="0"/>
                    <a:pt x="42" y="0"/>
                  </a:cubicBezTo>
                  <a:close/>
                  <a:moveTo>
                    <a:pt x="42" y="71"/>
                  </a:moveTo>
                  <a:cubicBezTo>
                    <a:pt x="26" y="71"/>
                    <a:pt x="13" y="58"/>
                    <a:pt x="13" y="42"/>
                  </a:cubicBezTo>
                  <a:cubicBezTo>
                    <a:pt x="13" y="26"/>
                    <a:pt x="26" y="12"/>
                    <a:pt x="42" y="12"/>
                  </a:cubicBezTo>
                  <a:cubicBezTo>
                    <a:pt x="59" y="12"/>
                    <a:pt x="72" y="26"/>
                    <a:pt x="72" y="42"/>
                  </a:cubicBezTo>
                  <a:cubicBezTo>
                    <a:pt x="72" y="58"/>
                    <a:pt x="59" y="71"/>
                    <a:pt x="42" y="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23" name="Oval 208"/>
            <p:cNvSpPr>
              <a:spLocks noChangeArrowheads="1"/>
            </p:cNvSpPr>
            <p:nvPr userDrawn="1"/>
          </p:nvSpPr>
          <p:spPr bwMode="auto">
            <a:xfrm>
              <a:off x="3256" y="2517"/>
              <a:ext cx="21" cy="2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24" name="Freeform 209"/>
            <p:cNvSpPr>
              <a:spLocks noEditPoints="1"/>
            </p:cNvSpPr>
            <p:nvPr userDrawn="1"/>
          </p:nvSpPr>
          <p:spPr bwMode="auto">
            <a:xfrm>
              <a:off x="3201" y="2509"/>
              <a:ext cx="38" cy="38"/>
            </a:xfrm>
            <a:custGeom>
              <a:avLst/>
              <a:gdLst>
                <a:gd name="T0" fmla="*/ 42 w 83"/>
                <a:gd name="T1" fmla="*/ 0 h 84"/>
                <a:gd name="T2" fmla="*/ 0 w 83"/>
                <a:gd name="T3" fmla="*/ 42 h 84"/>
                <a:gd name="T4" fmla="*/ 42 w 83"/>
                <a:gd name="T5" fmla="*/ 84 h 84"/>
                <a:gd name="T6" fmla="*/ 83 w 83"/>
                <a:gd name="T7" fmla="*/ 42 h 84"/>
                <a:gd name="T8" fmla="*/ 42 w 83"/>
                <a:gd name="T9" fmla="*/ 0 h 84"/>
                <a:gd name="T10" fmla="*/ 42 w 83"/>
                <a:gd name="T11" fmla="*/ 71 h 84"/>
                <a:gd name="T12" fmla="*/ 12 w 83"/>
                <a:gd name="T13" fmla="*/ 42 h 84"/>
                <a:gd name="T14" fmla="*/ 42 w 83"/>
                <a:gd name="T15" fmla="*/ 12 h 84"/>
                <a:gd name="T16" fmla="*/ 71 w 83"/>
                <a:gd name="T17" fmla="*/ 42 h 84"/>
                <a:gd name="T18" fmla="*/ 42 w 83"/>
                <a:gd name="T19" fmla="*/ 71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3" h="84">
                  <a:moveTo>
                    <a:pt x="42" y="0"/>
                  </a:moveTo>
                  <a:cubicBezTo>
                    <a:pt x="18" y="0"/>
                    <a:pt x="0" y="19"/>
                    <a:pt x="0" y="42"/>
                  </a:cubicBezTo>
                  <a:cubicBezTo>
                    <a:pt x="0" y="65"/>
                    <a:pt x="18" y="84"/>
                    <a:pt x="42" y="84"/>
                  </a:cubicBezTo>
                  <a:cubicBezTo>
                    <a:pt x="65" y="84"/>
                    <a:pt x="83" y="65"/>
                    <a:pt x="83" y="42"/>
                  </a:cubicBezTo>
                  <a:cubicBezTo>
                    <a:pt x="83" y="19"/>
                    <a:pt x="65" y="0"/>
                    <a:pt x="42" y="0"/>
                  </a:cubicBezTo>
                  <a:close/>
                  <a:moveTo>
                    <a:pt x="42" y="71"/>
                  </a:moveTo>
                  <a:cubicBezTo>
                    <a:pt x="25" y="71"/>
                    <a:pt x="12" y="58"/>
                    <a:pt x="12" y="42"/>
                  </a:cubicBezTo>
                  <a:cubicBezTo>
                    <a:pt x="12" y="26"/>
                    <a:pt x="25" y="12"/>
                    <a:pt x="42" y="12"/>
                  </a:cubicBezTo>
                  <a:cubicBezTo>
                    <a:pt x="58" y="12"/>
                    <a:pt x="71" y="26"/>
                    <a:pt x="71" y="42"/>
                  </a:cubicBezTo>
                  <a:cubicBezTo>
                    <a:pt x="71" y="58"/>
                    <a:pt x="58" y="71"/>
                    <a:pt x="42" y="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25" name="Oval 210"/>
            <p:cNvSpPr>
              <a:spLocks noChangeArrowheads="1"/>
            </p:cNvSpPr>
            <p:nvPr userDrawn="1"/>
          </p:nvSpPr>
          <p:spPr bwMode="auto">
            <a:xfrm>
              <a:off x="3210" y="2517"/>
              <a:ext cx="21" cy="2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26" name="Freeform 211"/>
            <p:cNvSpPr>
              <a:spLocks noEditPoints="1"/>
            </p:cNvSpPr>
            <p:nvPr userDrawn="1"/>
          </p:nvSpPr>
          <p:spPr bwMode="auto">
            <a:xfrm>
              <a:off x="3155" y="2509"/>
              <a:ext cx="38" cy="38"/>
            </a:xfrm>
            <a:custGeom>
              <a:avLst/>
              <a:gdLst>
                <a:gd name="T0" fmla="*/ 42 w 84"/>
                <a:gd name="T1" fmla="*/ 0 h 84"/>
                <a:gd name="T2" fmla="*/ 0 w 84"/>
                <a:gd name="T3" fmla="*/ 42 h 84"/>
                <a:gd name="T4" fmla="*/ 42 w 84"/>
                <a:gd name="T5" fmla="*/ 84 h 84"/>
                <a:gd name="T6" fmla="*/ 84 w 84"/>
                <a:gd name="T7" fmla="*/ 42 h 84"/>
                <a:gd name="T8" fmla="*/ 42 w 84"/>
                <a:gd name="T9" fmla="*/ 0 h 84"/>
                <a:gd name="T10" fmla="*/ 42 w 84"/>
                <a:gd name="T11" fmla="*/ 71 h 84"/>
                <a:gd name="T12" fmla="*/ 12 w 84"/>
                <a:gd name="T13" fmla="*/ 42 h 84"/>
                <a:gd name="T14" fmla="*/ 42 w 84"/>
                <a:gd name="T15" fmla="*/ 12 h 84"/>
                <a:gd name="T16" fmla="*/ 71 w 84"/>
                <a:gd name="T17" fmla="*/ 42 h 84"/>
                <a:gd name="T18" fmla="*/ 42 w 84"/>
                <a:gd name="T19" fmla="*/ 71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65"/>
                    <a:pt x="19" y="84"/>
                    <a:pt x="42" y="84"/>
                  </a:cubicBezTo>
                  <a:cubicBezTo>
                    <a:pt x="65" y="84"/>
                    <a:pt x="84" y="65"/>
                    <a:pt x="84" y="42"/>
                  </a:cubicBezTo>
                  <a:cubicBezTo>
                    <a:pt x="84" y="19"/>
                    <a:pt x="65" y="0"/>
                    <a:pt x="42" y="0"/>
                  </a:cubicBezTo>
                  <a:close/>
                  <a:moveTo>
                    <a:pt x="42" y="71"/>
                  </a:moveTo>
                  <a:cubicBezTo>
                    <a:pt x="26" y="71"/>
                    <a:pt x="12" y="58"/>
                    <a:pt x="12" y="42"/>
                  </a:cubicBezTo>
                  <a:cubicBezTo>
                    <a:pt x="12" y="26"/>
                    <a:pt x="26" y="12"/>
                    <a:pt x="42" y="12"/>
                  </a:cubicBezTo>
                  <a:cubicBezTo>
                    <a:pt x="58" y="12"/>
                    <a:pt x="71" y="26"/>
                    <a:pt x="71" y="42"/>
                  </a:cubicBezTo>
                  <a:cubicBezTo>
                    <a:pt x="71" y="58"/>
                    <a:pt x="58" y="71"/>
                    <a:pt x="42" y="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27" name="Oval 212"/>
            <p:cNvSpPr>
              <a:spLocks noChangeArrowheads="1"/>
            </p:cNvSpPr>
            <p:nvPr userDrawn="1"/>
          </p:nvSpPr>
          <p:spPr bwMode="auto">
            <a:xfrm>
              <a:off x="3163" y="2517"/>
              <a:ext cx="22" cy="2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28" name="Freeform 213"/>
            <p:cNvSpPr>
              <a:spLocks noEditPoints="1"/>
            </p:cNvSpPr>
            <p:nvPr userDrawn="1"/>
          </p:nvSpPr>
          <p:spPr bwMode="auto">
            <a:xfrm>
              <a:off x="3029" y="2509"/>
              <a:ext cx="38" cy="38"/>
            </a:xfrm>
            <a:custGeom>
              <a:avLst/>
              <a:gdLst>
                <a:gd name="T0" fmla="*/ 42 w 84"/>
                <a:gd name="T1" fmla="*/ 0 h 84"/>
                <a:gd name="T2" fmla="*/ 0 w 84"/>
                <a:gd name="T3" fmla="*/ 42 h 84"/>
                <a:gd name="T4" fmla="*/ 42 w 84"/>
                <a:gd name="T5" fmla="*/ 84 h 84"/>
                <a:gd name="T6" fmla="*/ 84 w 84"/>
                <a:gd name="T7" fmla="*/ 42 h 84"/>
                <a:gd name="T8" fmla="*/ 42 w 84"/>
                <a:gd name="T9" fmla="*/ 0 h 84"/>
                <a:gd name="T10" fmla="*/ 42 w 84"/>
                <a:gd name="T11" fmla="*/ 71 h 84"/>
                <a:gd name="T12" fmla="*/ 12 w 84"/>
                <a:gd name="T13" fmla="*/ 42 h 84"/>
                <a:gd name="T14" fmla="*/ 42 w 84"/>
                <a:gd name="T15" fmla="*/ 12 h 84"/>
                <a:gd name="T16" fmla="*/ 71 w 84"/>
                <a:gd name="T17" fmla="*/ 42 h 84"/>
                <a:gd name="T18" fmla="*/ 42 w 84"/>
                <a:gd name="T19" fmla="*/ 71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65"/>
                    <a:pt x="19" y="84"/>
                    <a:pt x="42" y="84"/>
                  </a:cubicBezTo>
                  <a:cubicBezTo>
                    <a:pt x="65" y="84"/>
                    <a:pt x="84" y="65"/>
                    <a:pt x="84" y="42"/>
                  </a:cubicBezTo>
                  <a:cubicBezTo>
                    <a:pt x="84" y="19"/>
                    <a:pt x="65" y="0"/>
                    <a:pt x="42" y="0"/>
                  </a:cubicBezTo>
                  <a:close/>
                  <a:moveTo>
                    <a:pt x="42" y="71"/>
                  </a:moveTo>
                  <a:cubicBezTo>
                    <a:pt x="25" y="71"/>
                    <a:pt x="12" y="58"/>
                    <a:pt x="12" y="42"/>
                  </a:cubicBezTo>
                  <a:cubicBezTo>
                    <a:pt x="12" y="26"/>
                    <a:pt x="25" y="12"/>
                    <a:pt x="42" y="12"/>
                  </a:cubicBezTo>
                  <a:cubicBezTo>
                    <a:pt x="58" y="12"/>
                    <a:pt x="71" y="26"/>
                    <a:pt x="71" y="42"/>
                  </a:cubicBezTo>
                  <a:cubicBezTo>
                    <a:pt x="71" y="58"/>
                    <a:pt x="58" y="71"/>
                    <a:pt x="42" y="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29" name="Oval 214"/>
            <p:cNvSpPr>
              <a:spLocks noChangeArrowheads="1"/>
            </p:cNvSpPr>
            <p:nvPr userDrawn="1"/>
          </p:nvSpPr>
          <p:spPr bwMode="auto">
            <a:xfrm>
              <a:off x="3037" y="2517"/>
              <a:ext cx="22" cy="2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30" name="Freeform 215"/>
            <p:cNvSpPr>
              <a:spLocks noEditPoints="1"/>
            </p:cNvSpPr>
            <p:nvPr userDrawn="1"/>
          </p:nvSpPr>
          <p:spPr bwMode="auto">
            <a:xfrm>
              <a:off x="2983" y="2509"/>
              <a:ext cx="37" cy="38"/>
            </a:xfrm>
            <a:custGeom>
              <a:avLst/>
              <a:gdLst>
                <a:gd name="T0" fmla="*/ 42 w 84"/>
                <a:gd name="T1" fmla="*/ 0 h 84"/>
                <a:gd name="T2" fmla="*/ 0 w 84"/>
                <a:gd name="T3" fmla="*/ 42 h 84"/>
                <a:gd name="T4" fmla="*/ 42 w 84"/>
                <a:gd name="T5" fmla="*/ 84 h 84"/>
                <a:gd name="T6" fmla="*/ 84 w 84"/>
                <a:gd name="T7" fmla="*/ 42 h 84"/>
                <a:gd name="T8" fmla="*/ 42 w 84"/>
                <a:gd name="T9" fmla="*/ 0 h 84"/>
                <a:gd name="T10" fmla="*/ 42 w 84"/>
                <a:gd name="T11" fmla="*/ 71 h 84"/>
                <a:gd name="T12" fmla="*/ 12 w 84"/>
                <a:gd name="T13" fmla="*/ 42 h 84"/>
                <a:gd name="T14" fmla="*/ 42 w 84"/>
                <a:gd name="T15" fmla="*/ 12 h 84"/>
                <a:gd name="T16" fmla="*/ 71 w 84"/>
                <a:gd name="T17" fmla="*/ 42 h 84"/>
                <a:gd name="T18" fmla="*/ 42 w 84"/>
                <a:gd name="T19" fmla="*/ 71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65"/>
                    <a:pt x="19" y="84"/>
                    <a:pt x="42" y="84"/>
                  </a:cubicBezTo>
                  <a:cubicBezTo>
                    <a:pt x="65" y="84"/>
                    <a:pt x="84" y="65"/>
                    <a:pt x="84" y="42"/>
                  </a:cubicBezTo>
                  <a:cubicBezTo>
                    <a:pt x="84" y="19"/>
                    <a:pt x="65" y="0"/>
                    <a:pt x="42" y="0"/>
                  </a:cubicBezTo>
                  <a:close/>
                  <a:moveTo>
                    <a:pt x="42" y="71"/>
                  </a:moveTo>
                  <a:cubicBezTo>
                    <a:pt x="26" y="71"/>
                    <a:pt x="12" y="58"/>
                    <a:pt x="12" y="42"/>
                  </a:cubicBezTo>
                  <a:cubicBezTo>
                    <a:pt x="12" y="26"/>
                    <a:pt x="26" y="12"/>
                    <a:pt x="42" y="12"/>
                  </a:cubicBezTo>
                  <a:cubicBezTo>
                    <a:pt x="58" y="12"/>
                    <a:pt x="71" y="26"/>
                    <a:pt x="71" y="42"/>
                  </a:cubicBezTo>
                  <a:cubicBezTo>
                    <a:pt x="71" y="58"/>
                    <a:pt x="58" y="71"/>
                    <a:pt x="42" y="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31" name="Oval 216"/>
            <p:cNvSpPr>
              <a:spLocks noChangeArrowheads="1"/>
            </p:cNvSpPr>
            <p:nvPr userDrawn="1"/>
          </p:nvSpPr>
          <p:spPr bwMode="auto">
            <a:xfrm>
              <a:off x="2991" y="2517"/>
              <a:ext cx="21" cy="2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32" name="Freeform 217"/>
            <p:cNvSpPr>
              <a:spLocks noEditPoints="1"/>
            </p:cNvSpPr>
            <p:nvPr userDrawn="1"/>
          </p:nvSpPr>
          <p:spPr bwMode="auto">
            <a:xfrm>
              <a:off x="2936" y="2509"/>
              <a:ext cx="38" cy="38"/>
            </a:xfrm>
            <a:custGeom>
              <a:avLst/>
              <a:gdLst>
                <a:gd name="T0" fmla="*/ 42 w 84"/>
                <a:gd name="T1" fmla="*/ 0 h 84"/>
                <a:gd name="T2" fmla="*/ 0 w 84"/>
                <a:gd name="T3" fmla="*/ 42 h 84"/>
                <a:gd name="T4" fmla="*/ 42 w 84"/>
                <a:gd name="T5" fmla="*/ 84 h 84"/>
                <a:gd name="T6" fmla="*/ 84 w 84"/>
                <a:gd name="T7" fmla="*/ 42 h 84"/>
                <a:gd name="T8" fmla="*/ 42 w 84"/>
                <a:gd name="T9" fmla="*/ 0 h 84"/>
                <a:gd name="T10" fmla="*/ 42 w 84"/>
                <a:gd name="T11" fmla="*/ 71 h 84"/>
                <a:gd name="T12" fmla="*/ 13 w 84"/>
                <a:gd name="T13" fmla="*/ 42 h 84"/>
                <a:gd name="T14" fmla="*/ 42 w 84"/>
                <a:gd name="T15" fmla="*/ 12 h 84"/>
                <a:gd name="T16" fmla="*/ 72 w 84"/>
                <a:gd name="T17" fmla="*/ 42 h 84"/>
                <a:gd name="T18" fmla="*/ 42 w 84"/>
                <a:gd name="T19" fmla="*/ 71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65"/>
                    <a:pt x="19" y="84"/>
                    <a:pt x="42" y="84"/>
                  </a:cubicBezTo>
                  <a:cubicBezTo>
                    <a:pt x="65" y="84"/>
                    <a:pt x="84" y="65"/>
                    <a:pt x="84" y="42"/>
                  </a:cubicBezTo>
                  <a:cubicBezTo>
                    <a:pt x="84" y="19"/>
                    <a:pt x="65" y="0"/>
                    <a:pt x="42" y="0"/>
                  </a:cubicBezTo>
                  <a:close/>
                  <a:moveTo>
                    <a:pt x="42" y="71"/>
                  </a:moveTo>
                  <a:cubicBezTo>
                    <a:pt x="26" y="71"/>
                    <a:pt x="13" y="58"/>
                    <a:pt x="13" y="42"/>
                  </a:cubicBezTo>
                  <a:cubicBezTo>
                    <a:pt x="13" y="26"/>
                    <a:pt x="26" y="12"/>
                    <a:pt x="42" y="12"/>
                  </a:cubicBezTo>
                  <a:cubicBezTo>
                    <a:pt x="58" y="12"/>
                    <a:pt x="72" y="26"/>
                    <a:pt x="72" y="42"/>
                  </a:cubicBezTo>
                  <a:cubicBezTo>
                    <a:pt x="72" y="58"/>
                    <a:pt x="58" y="71"/>
                    <a:pt x="42" y="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33" name="Oval 218"/>
            <p:cNvSpPr>
              <a:spLocks noChangeArrowheads="1"/>
            </p:cNvSpPr>
            <p:nvPr userDrawn="1"/>
          </p:nvSpPr>
          <p:spPr bwMode="auto">
            <a:xfrm>
              <a:off x="2944" y="2517"/>
              <a:ext cx="22" cy="2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34" name="Freeform 219"/>
            <p:cNvSpPr>
              <a:spLocks/>
            </p:cNvSpPr>
            <p:nvPr userDrawn="1"/>
          </p:nvSpPr>
          <p:spPr bwMode="auto">
            <a:xfrm>
              <a:off x="2894" y="2394"/>
              <a:ext cx="457" cy="127"/>
            </a:xfrm>
            <a:custGeom>
              <a:avLst/>
              <a:gdLst>
                <a:gd name="T0" fmla="*/ 996 w 1014"/>
                <a:gd name="T1" fmla="*/ 209 h 280"/>
                <a:gd name="T2" fmla="*/ 979 w 1014"/>
                <a:gd name="T3" fmla="*/ 226 h 280"/>
                <a:gd name="T4" fmla="*/ 951 w 1014"/>
                <a:gd name="T5" fmla="*/ 226 h 280"/>
                <a:gd name="T6" fmla="*/ 933 w 1014"/>
                <a:gd name="T7" fmla="*/ 0 h 280"/>
                <a:gd name="T8" fmla="*/ 503 w 1014"/>
                <a:gd name="T9" fmla="*/ 0 h 280"/>
                <a:gd name="T10" fmla="*/ 74 w 1014"/>
                <a:gd name="T11" fmla="*/ 0 h 280"/>
                <a:gd name="T12" fmla="*/ 53 w 1014"/>
                <a:gd name="T13" fmla="*/ 216 h 280"/>
                <a:gd name="T14" fmla="*/ 36 w 1014"/>
                <a:gd name="T15" fmla="*/ 216 h 280"/>
                <a:gd name="T16" fmla="*/ 19 w 1014"/>
                <a:gd name="T17" fmla="*/ 197 h 280"/>
                <a:gd name="T18" fmla="*/ 0 w 1014"/>
                <a:gd name="T19" fmla="*/ 230 h 280"/>
                <a:gd name="T20" fmla="*/ 19 w 1014"/>
                <a:gd name="T21" fmla="*/ 264 h 280"/>
                <a:gd name="T22" fmla="*/ 36 w 1014"/>
                <a:gd name="T23" fmla="*/ 244 h 280"/>
                <a:gd name="T24" fmla="*/ 64 w 1014"/>
                <a:gd name="T25" fmla="*/ 244 h 280"/>
                <a:gd name="T26" fmla="*/ 87 w 1014"/>
                <a:gd name="T27" fmla="*/ 269 h 280"/>
                <a:gd name="T28" fmla="*/ 135 w 1014"/>
                <a:gd name="T29" fmla="*/ 241 h 280"/>
                <a:gd name="T30" fmla="*/ 187 w 1014"/>
                <a:gd name="T31" fmla="*/ 276 h 280"/>
                <a:gd name="T32" fmla="*/ 238 w 1014"/>
                <a:gd name="T33" fmla="*/ 241 h 280"/>
                <a:gd name="T34" fmla="*/ 289 w 1014"/>
                <a:gd name="T35" fmla="*/ 276 h 280"/>
                <a:gd name="T36" fmla="*/ 341 w 1014"/>
                <a:gd name="T37" fmla="*/ 241 h 280"/>
                <a:gd name="T38" fmla="*/ 391 w 1014"/>
                <a:gd name="T39" fmla="*/ 273 h 280"/>
                <a:gd name="T40" fmla="*/ 435 w 1014"/>
                <a:gd name="T41" fmla="*/ 240 h 280"/>
                <a:gd name="T42" fmla="*/ 503 w 1014"/>
                <a:gd name="T43" fmla="*/ 240 h 280"/>
                <a:gd name="T44" fmla="*/ 572 w 1014"/>
                <a:gd name="T45" fmla="*/ 240 h 280"/>
                <a:gd name="T46" fmla="*/ 587 w 1014"/>
                <a:gd name="T47" fmla="*/ 252 h 280"/>
                <a:gd name="T48" fmla="*/ 621 w 1014"/>
                <a:gd name="T49" fmla="*/ 241 h 280"/>
                <a:gd name="T50" fmla="*/ 672 w 1014"/>
                <a:gd name="T51" fmla="*/ 276 h 280"/>
                <a:gd name="T52" fmla="*/ 724 w 1014"/>
                <a:gd name="T53" fmla="*/ 241 h 280"/>
                <a:gd name="T54" fmla="*/ 775 w 1014"/>
                <a:gd name="T55" fmla="*/ 276 h 280"/>
                <a:gd name="T56" fmla="*/ 826 w 1014"/>
                <a:gd name="T57" fmla="*/ 241 h 280"/>
                <a:gd name="T58" fmla="*/ 879 w 1014"/>
                <a:gd name="T59" fmla="*/ 280 h 280"/>
                <a:gd name="T60" fmla="*/ 910 w 1014"/>
                <a:gd name="T61" fmla="*/ 280 h 280"/>
                <a:gd name="T62" fmla="*/ 934 w 1014"/>
                <a:gd name="T63" fmla="*/ 254 h 280"/>
                <a:gd name="T64" fmla="*/ 979 w 1014"/>
                <a:gd name="T65" fmla="*/ 254 h 280"/>
                <a:gd name="T66" fmla="*/ 996 w 1014"/>
                <a:gd name="T67" fmla="*/ 271 h 280"/>
                <a:gd name="T68" fmla="*/ 1014 w 1014"/>
                <a:gd name="T69" fmla="*/ 240 h 280"/>
                <a:gd name="T70" fmla="*/ 996 w 1014"/>
                <a:gd name="T71" fmla="*/ 209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14" h="280">
                  <a:moveTo>
                    <a:pt x="996" y="209"/>
                  </a:moveTo>
                  <a:cubicBezTo>
                    <a:pt x="989" y="209"/>
                    <a:pt x="982" y="216"/>
                    <a:pt x="979" y="226"/>
                  </a:cubicBezTo>
                  <a:cubicBezTo>
                    <a:pt x="951" y="226"/>
                    <a:pt x="951" y="226"/>
                    <a:pt x="951" y="226"/>
                  </a:cubicBezTo>
                  <a:cubicBezTo>
                    <a:pt x="999" y="51"/>
                    <a:pt x="933" y="0"/>
                    <a:pt x="933" y="0"/>
                  </a:cubicBezTo>
                  <a:cubicBezTo>
                    <a:pt x="503" y="0"/>
                    <a:pt x="503" y="0"/>
                    <a:pt x="503" y="0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74" y="0"/>
                    <a:pt x="10" y="49"/>
                    <a:pt x="53" y="216"/>
                  </a:cubicBezTo>
                  <a:cubicBezTo>
                    <a:pt x="36" y="216"/>
                    <a:pt x="36" y="216"/>
                    <a:pt x="36" y="216"/>
                  </a:cubicBezTo>
                  <a:cubicBezTo>
                    <a:pt x="33" y="205"/>
                    <a:pt x="26" y="197"/>
                    <a:pt x="19" y="197"/>
                  </a:cubicBezTo>
                  <a:cubicBezTo>
                    <a:pt x="8" y="197"/>
                    <a:pt x="0" y="212"/>
                    <a:pt x="0" y="230"/>
                  </a:cubicBezTo>
                  <a:cubicBezTo>
                    <a:pt x="0" y="249"/>
                    <a:pt x="8" y="264"/>
                    <a:pt x="19" y="264"/>
                  </a:cubicBezTo>
                  <a:cubicBezTo>
                    <a:pt x="26" y="264"/>
                    <a:pt x="33" y="256"/>
                    <a:pt x="36" y="244"/>
                  </a:cubicBezTo>
                  <a:cubicBezTo>
                    <a:pt x="64" y="244"/>
                    <a:pt x="64" y="244"/>
                    <a:pt x="64" y="244"/>
                  </a:cubicBezTo>
                  <a:cubicBezTo>
                    <a:pt x="87" y="269"/>
                    <a:pt x="87" y="269"/>
                    <a:pt x="87" y="269"/>
                  </a:cubicBezTo>
                  <a:cubicBezTo>
                    <a:pt x="96" y="252"/>
                    <a:pt x="114" y="241"/>
                    <a:pt x="135" y="241"/>
                  </a:cubicBezTo>
                  <a:cubicBezTo>
                    <a:pt x="159" y="241"/>
                    <a:pt x="178" y="255"/>
                    <a:pt x="187" y="276"/>
                  </a:cubicBezTo>
                  <a:cubicBezTo>
                    <a:pt x="195" y="255"/>
                    <a:pt x="215" y="241"/>
                    <a:pt x="238" y="241"/>
                  </a:cubicBezTo>
                  <a:cubicBezTo>
                    <a:pt x="261" y="241"/>
                    <a:pt x="281" y="255"/>
                    <a:pt x="289" y="276"/>
                  </a:cubicBezTo>
                  <a:cubicBezTo>
                    <a:pt x="297" y="255"/>
                    <a:pt x="317" y="241"/>
                    <a:pt x="341" y="241"/>
                  </a:cubicBezTo>
                  <a:cubicBezTo>
                    <a:pt x="363" y="241"/>
                    <a:pt x="382" y="254"/>
                    <a:pt x="391" y="273"/>
                  </a:cubicBezTo>
                  <a:cubicBezTo>
                    <a:pt x="435" y="240"/>
                    <a:pt x="435" y="240"/>
                    <a:pt x="435" y="240"/>
                  </a:cubicBezTo>
                  <a:cubicBezTo>
                    <a:pt x="503" y="240"/>
                    <a:pt x="503" y="240"/>
                    <a:pt x="503" y="240"/>
                  </a:cubicBezTo>
                  <a:cubicBezTo>
                    <a:pt x="572" y="240"/>
                    <a:pt x="572" y="240"/>
                    <a:pt x="572" y="240"/>
                  </a:cubicBezTo>
                  <a:cubicBezTo>
                    <a:pt x="587" y="252"/>
                    <a:pt x="587" y="252"/>
                    <a:pt x="587" y="252"/>
                  </a:cubicBezTo>
                  <a:cubicBezTo>
                    <a:pt x="597" y="245"/>
                    <a:pt x="608" y="241"/>
                    <a:pt x="621" y="241"/>
                  </a:cubicBezTo>
                  <a:cubicBezTo>
                    <a:pt x="644" y="241"/>
                    <a:pt x="664" y="255"/>
                    <a:pt x="672" y="276"/>
                  </a:cubicBezTo>
                  <a:cubicBezTo>
                    <a:pt x="680" y="255"/>
                    <a:pt x="700" y="241"/>
                    <a:pt x="724" y="241"/>
                  </a:cubicBezTo>
                  <a:cubicBezTo>
                    <a:pt x="747" y="241"/>
                    <a:pt x="767" y="255"/>
                    <a:pt x="775" y="276"/>
                  </a:cubicBezTo>
                  <a:cubicBezTo>
                    <a:pt x="783" y="255"/>
                    <a:pt x="803" y="241"/>
                    <a:pt x="826" y="241"/>
                  </a:cubicBezTo>
                  <a:cubicBezTo>
                    <a:pt x="851" y="241"/>
                    <a:pt x="872" y="257"/>
                    <a:pt x="879" y="280"/>
                  </a:cubicBezTo>
                  <a:cubicBezTo>
                    <a:pt x="910" y="280"/>
                    <a:pt x="910" y="280"/>
                    <a:pt x="910" y="280"/>
                  </a:cubicBezTo>
                  <a:cubicBezTo>
                    <a:pt x="934" y="254"/>
                    <a:pt x="934" y="254"/>
                    <a:pt x="934" y="254"/>
                  </a:cubicBezTo>
                  <a:cubicBezTo>
                    <a:pt x="979" y="254"/>
                    <a:pt x="979" y="254"/>
                    <a:pt x="979" y="254"/>
                  </a:cubicBezTo>
                  <a:cubicBezTo>
                    <a:pt x="982" y="264"/>
                    <a:pt x="989" y="271"/>
                    <a:pt x="996" y="271"/>
                  </a:cubicBezTo>
                  <a:cubicBezTo>
                    <a:pt x="1006" y="271"/>
                    <a:pt x="1014" y="257"/>
                    <a:pt x="1014" y="240"/>
                  </a:cubicBezTo>
                  <a:cubicBezTo>
                    <a:pt x="1014" y="223"/>
                    <a:pt x="1006" y="209"/>
                    <a:pt x="996" y="20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35" name="Freeform 220"/>
            <p:cNvSpPr>
              <a:spLocks/>
            </p:cNvSpPr>
            <p:nvPr userDrawn="1"/>
          </p:nvSpPr>
          <p:spPr bwMode="auto">
            <a:xfrm>
              <a:off x="2960" y="2364"/>
              <a:ext cx="339" cy="27"/>
            </a:xfrm>
            <a:custGeom>
              <a:avLst/>
              <a:gdLst>
                <a:gd name="T0" fmla="*/ 733 w 752"/>
                <a:gd name="T1" fmla="*/ 44 h 59"/>
                <a:gd name="T2" fmla="*/ 710 w 752"/>
                <a:gd name="T3" fmla="*/ 23 h 59"/>
                <a:gd name="T4" fmla="*/ 698 w 752"/>
                <a:gd name="T5" fmla="*/ 26 h 59"/>
                <a:gd name="T6" fmla="*/ 699 w 752"/>
                <a:gd name="T7" fmla="*/ 23 h 59"/>
                <a:gd name="T8" fmla="*/ 676 w 752"/>
                <a:gd name="T9" fmla="*/ 0 h 59"/>
                <a:gd name="T10" fmla="*/ 660 w 752"/>
                <a:gd name="T11" fmla="*/ 7 h 59"/>
                <a:gd name="T12" fmla="*/ 644 w 752"/>
                <a:gd name="T13" fmla="*/ 0 h 59"/>
                <a:gd name="T14" fmla="*/ 628 w 752"/>
                <a:gd name="T15" fmla="*/ 7 h 59"/>
                <a:gd name="T16" fmla="*/ 611 w 752"/>
                <a:gd name="T17" fmla="*/ 0 h 59"/>
                <a:gd name="T18" fmla="*/ 595 w 752"/>
                <a:gd name="T19" fmla="*/ 7 h 59"/>
                <a:gd name="T20" fmla="*/ 579 w 752"/>
                <a:gd name="T21" fmla="*/ 0 h 59"/>
                <a:gd name="T22" fmla="*/ 563 w 752"/>
                <a:gd name="T23" fmla="*/ 7 h 59"/>
                <a:gd name="T24" fmla="*/ 547 w 752"/>
                <a:gd name="T25" fmla="*/ 0 h 59"/>
                <a:gd name="T26" fmla="*/ 531 w 752"/>
                <a:gd name="T27" fmla="*/ 7 h 59"/>
                <a:gd name="T28" fmla="*/ 515 w 752"/>
                <a:gd name="T29" fmla="*/ 0 h 59"/>
                <a:gd name="T30" fmla="*/ 499 w 752"/>
                <a:gd name="T31" fmla="*/ 7 h 59"/>
                <a:gd name="T32" fmla="*/ 482 w 752"/>
                <a:gd name="T33" fmla="*/ 0 h 59"/>
                <a:gd name="T34" fmla="*/ 466 w 752"/>
                <a:gd name="T35" fmla="*/ 7 h 59"/>
                <a:gd name="T36" fmla="*/ 450 w 752"/>
                <a:gd name="T37" fmla="*/ 0 h 59"/>
                <a:gd name="T38" fmla="*/ 434 w 752"/>
                <a:gd name="T39" fmla="*/ 7 h 59"/>
                <a:gd name="T40" fmla="*/ 418 w 752"/>
                <a:gd name="T41" fmla="*/ 0 h 59"/>
                <a:gd name="T42" fmla="*/ 402 w 752"/>
                <a:gd name="T43" fmla="*/ 7 h 59"/>
                <a:gd name="T44" fmla="*/ 386 w 752"/>
                <a:gd name="T45" fmla="*/ 0 h 59"/>
                <a:gd name="T46" fmla="*/ 370 w 752"/>
                <a:gd name="T47" fmla="*/ 7 h 59"/>
                <a:gd name="T48" fmla="*/ 353 w 752"/>
                <a:gd name="T49" fmla="*/ 0 h 59"/>
                <a:gd name="T50" fmla="*/ 337 w 752"/>
                <a:gd name="T51" fmla="*/ 7 h 59"/>
                <a:gd name="T52" fmla="*/ 321 w 752"/>
                <a:gd name="T53" fmla="*/ 0 h 59"/>
                <a:gd name="T54" fmla="*/ 305 w 752"/>
                <a:gd name="T55" fmla="*/ 7 h 59"/>
                <a:gd name="T56" fmla="*/ 289 w 752"/>
                <a:gd name="T57" fmla="*/ 0 h 59"/>
                <a:gd name="T58" fmla="*/ 273 w 752"/>
                <a:gd name="T59" fmla="*/ 7 h 59"/>
                <a:gd name="T60" fmla="*/ 257 w 752"/>
                <a:gd name="T61" fmla="*/ 0 h 59"/>
                <a:gd name="T62" fmla="*/ 241 w 752"/>
                <a:gd name="T63" fmla="*/ 7 h 59"/>
                <a:gd name="T64" fmla="*/ 224 w 752"/>
                <a:gd name="T65" fmla="*/ 0 h 59"/>
                <a:gd name="T66" fmla="*/ 208 w 752"/>
                <a:gd name="T67" fmla="*/ 7 h 59"/>
                <a:gd name="T68" fmla="*/ 192 w 752"/>
                <a:gd name="T69" fmla="*/ 0 h 59"/>
                <a:gd name="T70" fmla="*/ 176 w 752"/>
                <a:gd name="T71" fmla="*/ 7 h 59"/>
                <a:gd name="T72" fmla="*/ 160 w 752"/>
                <a:gd name="T73" fmla="*/ 0 h 59"/>
                <a:gd name="T74" fmla="*/ 144 w 752"/>
                <a:gd name="T75" fmla="*/ 7 h 59"/>
                <a:gd name="T76" fmla="*/ 128 w 752"/>
                <a:gd name="T77" fmla="*/ 0 h 59"/>
                <a:gd name="T78" fmla="*/ 112 w 752"/>
                <a:gd name="T79" fmla="*/ 7 h 59"/>
                <a:gd name="T80" fmla="*/ 96 w 752"/>
                <a:gd name="T81" fmla="*/ 0 h 59"/>
                <a:gd name="T82" fmla="*/ 79 w 752"/>
                <a:gd name="T83" fmla="*/ 7 h 59"/>
                <a:gd name="T84" fmla="*/ 63 w 752"/>
                <a:gd name="T85" fmla="*/ 0 h 59"/>
                <a:gd name="T86" fmla="*/ 41 w 752"/>
                <a:gd name="T87" fmla="*/ 23 h 59"/>
                <a:gd name="T88" fmla="*/ 41 w 752"/>
                <a:gd name="T89" fmla="*/ 24 h 59"/>
                <a:gd name="T90" fmla="*/ 33 w 752"/>
                <a:gd name="T91" fmla="*/ 23 h 59"/>
                <a:gd name="T92" fmla="*/ 10 w 752"/>
                <a:gd name="T93" fmla="*/ 46 h 59"/>
                <a:gd name="T94" fmla="*/ 10 w 752"/>
                <a:gd name="T95" fmla="*/ 47 h 59"/>
                <a:gd name="T96" fmla="*/ 0 w 752"/>
                <a:gd name="T97" fmla="*/ 59 h 59"/>
                <a:gd name="T98" fmla="*/ 752 w 752"/>
                <a:gd name="T99" fmla="*/ 59 h 59"/>
                <a:gd name="T100" fmla="*/ 733 w 752"/>
                <a:gd name="T101" fmla="*/ 44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752" h="59">
                  <a:moveTo>
                    <a:pt x="733" y="44"/>
                  </a:moveTo>
                  <a:cubicBezTo>
                    <a:pt x="732" y="32"/>
                    <a:pt x="722" y="23"/>
                    <a:pt x="710" y="23"/>
                  </a:cubicBezTo>
                  <a:cubicBezTo>
                    <a:pt x="706" y="23"/>
                    <a:pt x="702" y="24"/>
                    <a:pt x="698" y="26"/>
                  </a:cubicBezTo>
                  <a:cubicBezTo>
                    <a:pt x="699" y="25"/>
                    <a:pt x="699" y="24"/>
                    <a:pt x="699" y="23"/>
                  </a:cubicBezTo>
                  <a:cubicBezTo>
                    <a:pt x="699" y="11"/>
                    <a:pt x="688" y="0"/>
                    <a:pt x="676" y="0"/>
                  </a:cubicBezTo>
                  <a:cubicBezTo>
                    <a:pt x="670" y="0"/>
                    <a:pt x="664" y="3"/>
                    <a:pt x="660" y="7"/>
                  </a:cubicBezTo>
                  <a:cubicBezTo>
                    <a:pt x="656" y="3"/>
                    <a:pt x="650" y="0"/>
                    <a:pt x="644" y="0"/>
                  </a:cubicBezTo>
                  <a:cubicBezTo>
                    <a:pt x="637" y="0"/>
                    <a:pt x="632" y="3"/>
                    <a:pt x="628" y="7"/>
                  </a:cubicBezTo>
                  <a:cubicBezTo>
                    <a:pt x="623" y="3"/>
                    <a:pt x="618" y="0"/>
                    <a:pt x="611" y="0"/>
                  </a:cubicBezTo>
                  <a:cubicBezTo>
                    <a:pt x="605" y="0"/>
                    <a:pt x="599" y="3"/>
                    <a:pt x="595" y="7"/>
                  </a:cubicBezTo>
                  <a:cubicBezTo>
                    <a:pt x="591" y="3"/>
                    <a:pt x="585" y="0"/>
                    <a:pt x="579" y="0"/>
                  </a:cubicBezTo>
                  <a:cubicBezTo>
                    <a:pt x="573" y="0"/>
                    <a:pt x="567" y="3"/>
                    <a:pt x="563" y="7"/>
                  </a:cubicBezTo>
                  <a:cubicBezTo>
                    <a:pt x="559" y="3"/>
                    <a:pt x="553" y="0"/>
                    <a:pt x="547" y="0"/>
                  </a:cubicBezTo>
                  <a:cubicBezTo>
                    <a:pt x="541" y="0"/>
                    <a:pt x="535" y="3"/>
                    <a:pt x="531" y="7"/>
                  </a:cubicBezTo>
                  <a:cubicBezTo>
                    <a:pt x="527" y="3"/>
                    <a:pt x="521" y="0"/>
                    <a:pt x="515" y="0"/>
                  </a:cubicBezTo>
                  <a:cubicBezTo>
                    <a:pt x="508" y="0"/>
                    <a:pt x="503" y="3"/>
                    <a:pt x="499" y="7"/>
                  </a:cubicBezTo>
                  <a:cubicBezTo>
                    <a:pt x="494" y="3"/>
                    <a:pt x="489" y="0"/>
                    <a:pt x="482" y="0"/>
                  </a:cubicBezTo>
                  <a:cubicBezTo>
                    <a:pt x="476" y="0"/>
                    <a:pt x="470" y="3"/>
                    <a:pt x="466" y="7"/>
                  </a:cubicBezTo>
                  <a:cubicBezTo>
                    <a:pt x="462" y="3"/>
                    <a:pt x="456" y="0"/>
                    <a:pt x="450" y="0"/>
                  </a:cubicBezTo>
                  <a:cubicBezTo>
                    <a:pt x="444" y="0"/>
                    <a:pt x="438" y="3"/>
                    <a:pt x="434" y="7"/>
                  </a:cubicBezTo>
                  <a:cubicBezTo>
                    <a:pt x="430" y="3"/>
                    <a:pt x="424" y="0"/>
                    <a:pt x="418" y="0"/>
                  </a:cubicBezTo>
                  <a:cubicBezTo>
                    <a:pt x="412" y="0"/>
                    <a:pt x="406" y="3"/>
                    <a:pt x="402" y="7"/>
                  </a:cubicBezTo>
                  <a:cubicBezTo>
                    <a:pt x="398" y="3"/>
                    <a:pt x="392" y="0"/>
                    <a:pt x="386" y="0"/>
                  </a:cubicBezTo>
                  <a:cubicBezTo>
                    <a:pt x="379" y="0"/>
                    <a:pt x="374" y="3"/>
                    <a:pt x="370" y="7"/>
                  </a:cubicBezTo>
                  <a:cubicBezTo>
                    <a:pt x="365" y="3"/>
                    <a:pt x="360" y="0"/>
                    <a:pt x="353" y="0"/>
                  </a:cubicBezTo>
                  <a:cubicBezTo>
                    <a:pt x="347" y="0"/>
                    <a:pt x="341" y="3"/>
                    <a:pt x="337" y="7"/>
                  </a:cubicBezTo>
                  <a:cubicBezTo>
                    <a:pt x="333" y="3"/>
                    <a:pt x="328" y="0"/>
                    <a:pt x="321" y="0"/>
                  </a:cubicBezTo>
                  <a:cubicBezTo>
                    <a:pt x="315" y="0"/>
                    <a:pt x="309" y="3"/>
                    <a:pt x="305" y="7"/>
                  </a:cubicBezTo>
                  <a:cubicBezTo>
                    <a:pt x="301" y="3"/>
                    <a:pt x="295" y="0"/>
                    <a:pt x="289" y="0"/>
                  </a:cubicBezTo>
                  <a:cubicBezTo>
                    <a:pt x="283" y="0"/>
                    <a:pt x="277" y="3"/>
                    <a:pt x="273" y="7"/>
                  </a:cubicBezTo>
                  <a:cubicBezTo>
                    <a:pt x="269" y="3"/>
                    <a:pt x="263" y="0"/>
                    <a:pt x="257" y="0"/>
                  </a:cubicBezTo>
                  <a:cubicBezTo>
                    <a:pt x="250" y="0"/>
                    <a:pt x="245" y="3"/>
                    <a:pt x="241" y="7"/>
                  </a:cubicBezTo>
                  <a:cubicBezTo>
                    <a:pt x="237" y="3"/>
                    <a:pt x="231" y="0"/>
                    <a:pt x="224" y="0"/>
                  </a:cubicBezTo>
                  <a:cubicBezTo>
                    <a:pt x="218" y="0"/>
                    <a:pt x="212" y="3"/>
                    <a:pt x="208" y="7"/>
                  </a:cubicBezTo>
                  <a:cubicBezTo>
                    <a:pt x="204" y="3"/>
                    <a:pt x="199" y="0"/>
                    <a:pt x="192" y="0"/>
                  </a:cubicBezTo>
                  <a:cubicBezTo>
                    <a:pt x="186" y="0"/>
                    <a:pt x="180" y="3"/>
                    <a:pt x="176" y="7"/>
                  </a:cubicBezTo>
                  <a:cubicBezTo>
                    <a:pt x="172" y="3"/>
                    <a:pt x="166" y="0"/>
                    <a:pt x="160" y="0"/>
                  </a:cubicBezTo>
                  <a:cubicBezTo>
                    <a:pt x="154" y="0"/>
                    <a:pt x="148" y="3"/>
                    <a:pt x="144" y="7"/>
                  </a:cubicBezTo>
                  <a:cubicBezTo>
                    <a:pt x="140" y="3"/>
                    <a:pt x="134" y="0"/>
                    <a:pt x="128" y="0"/>
                  </a:cubicBezTo>
                  <a:cubicBezTo>
                    <a:pt x="121" y="0"/>
                    <a:pt x="116" y="3"/>
                    <a:pt x="112" y="7"/>
                  </a:cubicBezTo>
                  <a:cubicBezTo>
                    <a:pt x="108" y="3"/>
                    <a:pt x="102" y="0"/>
                    <a:pt x="96" y="0"/>
                  </a:cubicBezTo>
                  <a:cubicBezTo>
                    <a:pt x="89" y="0"/>
                    <a:pt x="84" y="3"/>
                    <a:pt x="79" y="7"/>
                  </a:cubicBezTo>
                  <a:cubicBezTo>
                    <a:pt x="75" y="3"/>
                    <a:pt x="70" y="0"/>
                    <a:pt x="63" y="0"/>
                  </a:cubicBezTo>
                  <a:cubicBezTo>
                    <a:pt x="51" y="0"/>
                    <a:pt x="41" y="11"/>
                    <a:pt x="41" y="23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38" y="24"/>
                    <a:pt x="36" y="23"/>
                    <a:pt x="33" y="23"/>
                  </a:cubicBezTo>
                  <a:cubicBezTo>
                    <a:pt x="20" y="23"/>
                    <a:pt x="10" y="33"/>
                    <a:pt x="10" y="46"/>
                  </a:cubicBezTo>
                  <a:cubicBezTo>
                    <a:pt x="10" y="46"/>
                    <a:pt x="10" y="47"/>
                    <a:pt x="10" y="47"/>
                  </a:cubicBezTo>
                  <a:cubicBezTo>
                    <a:pt x="6" y="50"/>
                    <a:pt x="2" y="54"/>
                    <a:pt x="0" y="59"/>
                  </a:cubicBezTo>
                  <a:cubicBezTo>
                    <a:pt x="752" y="59"/>
                    <a:pt x="752" y="59"/>
                    <a:pt x="752" y="59"/>
                  </a:cubicBezTo>
                  <a:cubicBezTo>
                    <a:pt x="749" y="51"/>
                    <a:pt x="742" y="45"/>
                    <a:pt x="733" y="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36" name="Freeform 221"/>
            <p:cNvSpPr>
              <a:spLocks noEditPoints="1"/>
            </p:cNvSpPr>
            <p:nvPr userDrawn="1"/>
          </p:nvSpPr>
          <p:spPr bwMode="auto">
            <a:xfrm>
              <a:off x="2768" y="2509"/>
              <a:ext cx="38" cy="38"/>
            </a:xfrm>
            <a:custGeom>
              <a:avLst/>
              <a:gdLst>
                <a:gd name="T0" fmla="*/ 42 w 84"/>
                <a:gd name="T1" fmla="*/ 0 h 84"/>
                <a:gd name="T2" fmla="*/ 0 w 84"/>
                <a:gd name="T3" fmla="*/ 42 h 84"/>
                <a:gd name="T4" fmla="*/ 42 w 84"/>
                <a:gd name="T5" fmla="*/ 84 h 84"/>
                <a:gd name="T6" fmla="*/ 84 w 84"/>
                <a:gd name="T7" fmla="*/ 42 h 84"/>
                <a:gd name="T8" fmla="*/ 42 w 84"/>
                <a:gd name="T9" fmla="*/ 0 h 84"/>
                <a:gd name="T10" fmla="*/ 42 w 84"/>
                <a:gd name="T11" fmla="*/ 71 h 84"/>
                <a:gd name="T12" fmla="*/ 13 w 84"/>
                <a:gd name="T13" fmla="*/ 42 h 84"/>
                <a:gd name="T14" fmla="*/ 42 w 84"/>
                <a:gd name="T15" fmla="*/ 12 h 84"/>
                <a:gd name="T16" fmla="*/ 72 w 84"/>
                <a:gd name="T17" fmla="*/ 42 h 84"/>
                <a:gd name="T18" fmla="*/ 42 w 84"/>
                <a:gd name="T19" fmla="*/ 71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65"/>
                    <a:pt x="19" y="84"/>
                    <a:pt x="42" y="84"/>
                  </a:cubicBezTo>
                  <a:cubicBezTo>
                    <a:pt x="65" y="84"/>
                    <a:pt x="84" y="65"/>
                    <a:pt x="84" y="42"/>
                  </a:cubicBezTo>
                  <a:cubicBezTo>
                    <a:pt x="84" y="19"/>
                    <a:pt x="65" y="0"/>
                    <a:pt x="42" y="0"/>
                  </a:cubicBezTo>
                  <a:close/>
                  <a:moveTo>
                    <a:pt x="42" y="71"/>
                  </a:moveTo>
                  <a:cubicBezTo>
                    <a:pt x="26" y="71"/>
                    <a:pt x="13" y="58"/>
                    <a:pt x="13" y="42"/>
                  </a:cubicBezTo>
                  <a:cubicBezTo>
                    <a:pt x="13" y="26"/>
                    <a:pt x="26" y="12"/>
                    <a:pt x="42" y="12"/>
                  </a:cubicBezTo>
                  <a:cubicBezTo>
                    <a:pt x="59" y="12"/>
                    <a:pt x="72" y="26"/>
                    <a:pt x="72" y="42"/>
                  </a:cubicBezTo>
                  <a:cubicBezTo>
                    <a:pt x="72" y="58"/>
                    <a:pt x="59" y="71"/>
                    <a:pt x="42" y="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37" name="Oval 222"/>
            <p:cNvSpPr>
              <a:spLocks noChangeArrowheads="1"/>
            </p:cNvSpPr>
            <p:nvPr userDrawn="1"/>
          </p:nvSpPr>
          <p:spPr bwMode="auto">
            <a:xfrm>
              <a:off x="2776" y="2517"/>
              <a:ext cx="22" cy="2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38" name="Freeform 223"/>
            <p:cNvSpPr>
              <a:spLocks noEditPoints="1"/>
            </p:cNvSpPr>
            <p:nvPr userDrawn="1"/>
          </p:nvSpPr>
          <p:spPr bwMode="auto">
            <a:xfrm>
              <a:off x="2724" y="2509"/>
              <a:ext cx="38" cy="38"/>
            </a:xfrm>
            <a:custGeom>
              <a:avLst/>
              <a:gdLst>
                <a:gd name="T0" fmla="*/ 42 w 83"/>
                <a:gd name="T1" fmla="*/ 0 h 84"/>
                <a:gd name="T2" fmla="*/ 0 w 83"/>
                <a:gd name="T3" fmla="*/ 42 h 84"/>
                <a:gd name="T4" fmla="*/ 42 w 83"/>
                <a:gd name="T5" fmla="*/ 84 h 84"/>
                <a:gd name="T6" fmla="*/ 83 w 83"/>
                <a:gd name="T7" fmla="*/ 42 h 84"/>
                <a:gd name="T8" fmla="*/ 42 w 83"/>
                <a:gd name="T9" fmla="*/ 0 h 84"/>
                <a:gd name="T10" fmla="*/ 42 w 83"/>
                <a:gd name="T11" fmla="*/ 71 h 84"/>
                <a:gd name="T12" fmla="*/ 12 w 83"/>
                <a:gd name="T13" fmla="*/ 42 h 84"/>
                <a:gd name="T14" fmla="*/ 42 w 83"/>
                <a:gd name="T15" fmla="*/ 12 h 84"/>
                <a:gd name="T16" fmla="*/ 71 w 83"/>
                <a:gd name="T17" fmla="*/ 42 h 84"/>
                <a:gd name="T18" fmla="*/ 42 w 83"/>
                <a:gd name="T19" fmla="*/ 71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3" h="84">
                  <a:moveTo>
                    <a:pt x="42" y="0"/>
                  </a:moveTo>
                  <a:cubicBezTo>
                    <a:pt x="18" y="0"/>
                    <a:pt x="0" y="19"/>
                    <a:pt x="0" y="42"/>
                  </a:cubicBezTo>
                  <a:cubicBezTo>
                    <a:pt x="0" y="65"/>
                    <a:pt x="18" y="84"/>
                    <a:pt x="42" y="84"/>
                  </a:cubicBezTo>
                  <a:cubicBezTo>
                    <a:pt x="65" y="84"/>
                    <a:pt x="83" y="65"/>
                    <a:pt x="83" y="42"/>
                  </a:cubicBezTo>
                  <a:cubicBezTo>
                    <a:pt x="83" y="19"/>
                    <a:pt x="65" y="0"/>
                    <a:pt x="42" y="0"/>
                  </a:cubicBezTo>
                  <a:close/>
                  <a:moveTo>
                    <a:pt x="42" y="71"/>
                  </a:moveTo>
                  <a:cubicBezTo>
                    <a:pt x="25" y="71"/>
                    <a:pt x="12" y="58"/>
                    <a:pt x="12" y="42"/>
                  </a:cubicBezTo>
                  <a:cubicBezTo>
                    <a:pt x="12" y="26"/>
                    <a:pt x="25" y="12"/>
                    <a:pt x="42" y="12"/>
                  </a:cubicBezTo>
                  <a:cubicBezTo>
                    <a:pt x="58" y="12"/>
                    <a:pt x="71" y="26"/>
                    <a:pt x="71" y="42"/>
                  </a:cubicBezTo>
                  <a:cubicBezTo>
                    <a:pt x="71" y="58"/>
                    <a:pt x="58" y="71"/>
                    <a:pt x="42" y="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39" name="Oval 224"/>
            <p:cNvSpPr>
              <a:spLocks noChangeArrowheads="1"/>
            </p:cNvSpPr>
            <p:nvPr userDrawn="1"/>
          </p:nvSpPr>
          <p:spPr bwMode="auto">
            <a:xfrm>
              <a:off x="2732" y="2517"/>
              <a:ext cx="22" cy="2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40" name="Freeform 225"/>
            <p:cNvSpPr>
              <a:spLocks noEditPoints="1"/>
            </p:cNvSpPr>
            <p:nvPr userDrawn="1"/>
          </p:nvSpPr>
          <p:spPr bwMode="auto">
            <a:xfrm>
              <a:off x="2680" y="2509"/>
              <a:ext cx="38" cy="38"/>
            </a:xfrm>
            <a:custGeom>
              <a:avLst/>
              <a:gdLst>
                <a:gd name="T0" fmla="*/ 42 w 84"/>
                <a:gd name="T1" fmla="*/ 0 h 84"/>
                <a:gd name="T2" fmla="*/ 0 w 84"/>
                <a:gd name="T3" fmla="*/ 42 h 84"/>
                <a:gd name="T4" fmla="*/ 42 w 84"/>
                <a:gd name="T5" fmla="*/ 84 h 84"/>
                <a:gd name="T6" fmla="*/ 84 w 84"/>
                <a:gd name="T7" fmla="*/ 42 h 84"/>
                <a:gd name="T8" fmla="*/ 42 w 84"/>
                <a:gd name="T9" fmla="*/ 0 h 84"/>
                <a:gd name="T10" fmla="*/ 42 w 84"/>
                <a:gd name="T11" fmla="*/ 71 h 84"/>
                <a:gd name="T12" fmla="*/ 12 w 84"/>
                <a:gd name="T13" fmla="*/ 42 h 84"/>
                <a:gd name="T14" fmla="*/ 42 w 84"/>
                <a:gd name="T15" fmla="*/ 12 h 84"/>
                <a:gd name="T16" fmla="*/ 71 w 84"/>
                <a:gd name="T17" fmla="*/ 42 h 84"/>
                <a:gd name="T18" fmla="*/ 42 w 84"/>
                <a:gd name="T19" fmla="*/ 71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65"/>
                    <a:pt x="19" y="84"/>
                    <a:pt x="42" y="84"/>
                  </a:cubicBezTo>
                  <a:cubicBezTo>
                    <a:pt x="65" y="84"/>
                    <a:pt x="84" y="65"/>
                    <a:pt x="84" y="42"/>
                  </a:cubicBezTo>
                  <a:cubicBezTo>
                    <a:pt x="84" y="19"/>
                    <a:pt x="65" y="0"/>
                    <a:pt x="42" y="0"/>
                  </a:cubicBezTo>
                  <a:close/>
                  <a:moveTo>
                    <a:pt x="42" y="71"/>
                  </a:moveTo>
                  <a:cubicBezTo>
                    <a:pt x="26" y="71"/>
                    <a:pt x="12" y="58"/>
                    <a:pt x="12" y="42"/>
                  </a:cubicBezTo>
                  <a:cubicBezTo>
                    <a:pt x="12" y="26"/>
                    <a:pt x="26" y="12"/>
                    <a:pt x="42" y="12"/>
                  </a:cubicBezTo>
                  <a:cubicBezTo>
                    <a:pt x="58" y="12"/>
                    <a:pt x="71" y="26"/>
                    <a:pt x="71" y="42"/>
                  </a:cubicBezTo>
                  <a:cubicBezTo>
                    <a:pt x="71" y="58"/>
                    <a:pt x="58" y="71"/>
                    <a:pt x="42" y="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41" name="Oval 226"/>
            <p:cNvSpPr>
              <a:spLocks noChangeArrowheads="1"/>
            </p:cNvSpPr>
            <p:nvPr userDrawn="1"/>
          </p:nvSpPr>
          <p:spPr bwMode="auto">
            <a:xfrm>
              <a:off x="2688" y="2517"/>
              <a:ext cx="22" cy="2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42" name="Freeform 227"/>
            <p:cNvSpPr>
              <a:spLocks noEditPoints="1"/>
            </p:cNvSpPr>
            <p:nvPr userDrawn="1"/>
          </p:nvSpPr>
          <p:spPr bwMode="auto">
            <a:xfrm>
              <a:off x="2543" y="2509"/>
              <a:ext cx="38" cy="38"/>
            </a:xfrm>
            <a:custGeom>
              <a:avLst/>
              <a:gdLst>
                <a:gd name="T0" fmla="*/ 42 w 84"/>
                <a:gd name="T1" fmla="*/ 0 h 84"/>
                <a:gd name="T2" fmla="*/ 0 w 84"/>
                <a:gd name="T3" fmla="*/ 42 h 84"/>
                <a:gd name="T4" fmla="*/ 42 w 84"/>
                <a:gd name="T5" fmla="*/ 84 h 84"/>
                <a:gd name="T6" fmla="*/ 84 w 84"/>
                <a:gd name="T7" fmla="*/ 42 h 84"/>
                <a:gd name="T8" fmla="*/ 42 w 84"/>
                <a:gd name="T9" fmla="*/ 0 h 84"/>
                <a:gd name="T10" fmla="*/ 42 w 84"/>
                <a:gd name="T11" fmla="*/ 71 h 84"/>
                <a:gd name="T12" fmla="*/ 13 w 84"/>
                <a:gd name="T13" fmla="*/ 42 h 84"/>
                <a:gd name="T14" fmla="*/ 42 w 84"/>
                <a:gd name="T15" fmla="*/ 12 h 84"/>
                <a:gd name="T16" fmla="*/ 72 w 84"/>
                <a:gd name="T17" fmla="*/ 42 h 84"/>
                <a:gd name="T18" fmla="*/ 42 w 84"/>
                <a:gd name="T19" fmla="*/ 71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65"/>
                    <a:pt x="19" y="84"/>
                    <a:pt x="42" y="84"/>
                  </a:cubicBezTo>
                  <a:cubicBezTo>
                    <a:pt x="65" y="84"/>
                    <a:pt x="84" y="65"/>
                    <a:pt x="84" y="42"/>
                  </a:cubicBezTo>
                  <a:cubicBezTo>
                    <a:pt x="84" y="19"/>
                    <a:pt x="65" y="0"/>
                    <a:pt x="42" y="0"/>
                  </a:cubicBezTo>
                  <a:close/>
                  <a:moveTo>
                    <a:pt x="42" y="71"/>
                  </a:moveTo>
                  <a:cubicBezTo>
                    <a:pt x="26" y="71"/>
                    <a:pt x="13" y="58"/>
                    <a:pt x="13" y="42"/>
                  </a:cubicBezTo>
                  <a:cubicBezTo>
                    <a:pt x="13" y="26"/>
                    <a:pt x="26" y="12"/>
                    <a:pt x="42" y="12"/>
                  </a:cubicBezTo>
                  <a:cubicBezTo>
                    <a:pt x="58" y="12"/>
                    <a:pt x="72" y="26"/>
                    <a:pt x="72" y="42"/>
                  </a:cubicBezTo>
                  <a:cubicBezTo>
                    <a:pt x="72" y="58"/>
                    <a:pt x="58" y="71"/>
                    <a:pt x="42" y="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43" name="Oval 228"/>
            <p:cNvSpPr>
              <a:spLocks noChangeArrowheads="1"/>
            </p:cNvSpPr>
            <p:nvPr userDrawn="1"/>
          </p:nvSpPr>
          <p:spPr bwMode="auto">
            <a:xfrm>
              <a:off x="2551" y="2517"/>
              <a:ext cx="22" cy="2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44" name="Freeform 229"/>
            <p:cNvSpPr>
              <a:spLocks noEditPoints="1"/>
            </p:cNvSpPr>
            <p:nvPr userDrawn="1"/>
          </p:nvSpPr>
          <p:spPr bwMode="auto">
            <a:xfrm>
              <a:off x="2499" y="2509"/>
              <a:ext cx="38" cy="38"/>
            </a:xfrm>
            <a:custGeom>
              <a:avLst/>
              <a:gdLst>
                <a:gd name="T0" fmla="*/ 41 w 83"/>
                <a:gd name="T1" fmla="*/ 0 h 84"/>
                <a:gd name="T2" fmla="*/ 0 w 83"/>
                <a:gd name="T3" fmla="*/ 42 h 84"/>
                <a:gd name="T4" fmla="*/ 41 w 83"/>
                <a:gd name="T5" fmla="*/ 84 h 84"/>
                <a:gd name="T6" fmla="*/ 83 w 83"/>
                <a:gd name="T7" fmla="*/ 42 h 84"/>
                <a:gd name="T8" fmla="*/ 41 w 83"/>
                <a:gd name="T9" fmla="*/ 0 h 84"/>
                <a:gd name="T10" fmla="*/ 41 w 83"/>
                <a:gd name="T11" fmla="*/ 71 h 84"/>
                <a:gd name="T12" fmla="*/ 12 w 83"/>
                <a:gd name="T13" fmla="*/ 42 h 84"/>
                <a:gd name="T14" fmla="*/ 41 w 83"/>
                <a:gd name="T15" fmla="*/ 12 h 84"/>
                <a:gd name="T16" fmla="*/ 71 w 83"/>
                <a:gd name="T17" fmla="*/ 42 h 84"/>
                <a:gd name="T18" fmla="*/ 41 w 83"/>
                <a:gd name="T19" fmla="*/ 71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3" h="84">
                  <a:moveTo>
                    <a:pt x="41" y="0"/>
                  </a:moveTo>
                  <a:cubicBezTo>
                    <a:pt x="18" y="0"/>
                    <a:pt x="0" y="19"/>
                    <a:pt x="0" y="42"/>
                  </a:cubicBezTo>
                  <a:cubicBezTo>
                    <a:pt x="0" y="65"/>
                    <a:pt x="18" y="84"/>
                    <a:pt x="41" y="84"/>
                  </a:cubicBezTo>
                  <a:cubicBezTo>
                    <a:pt x="65" y="84"/>
                    <a:pt x="83" y="65"/>
                    <a:pt x="83" y="42"/>
                  </a:cubicBezTo>
                  <a:cubicBezTo>
                    <a:pt x="83" y="19"/>
                    <a:pt x="65" y="0"/>
                    <a:pt x="41" y="0"/>
                  </a:cubicBezTo>
                  <a:close/>
                  <a:moveTo>
                    <a:pt x="41" y="71"/>
                  </a:moveTo>
                  <a:cubicBezTo>
                    <a:pt x="25" y="71"/>
                    <a:pt x="12" y="58"/>
                    <a:pt x="12" y="42"/>
                  </a:cubicBezTo>
                  <a:cubicBezTo>
                    <a:pt x="12" y="26"/>
                    <a:pt x="25" y="12"/>
                    <a:pt x="41" y="12"/>
                  </a:cubicBezTo>
                  <a:cubicBezTo>
                    <a:pt x="58" y="12"/>
                    <a:pt x="71" y="26"/>
                    <a:pt x="71" y="42"/>
                  </a:cubicBezTo>
                  <a:cubicBezTo>
                    <a:pt x="71" y="58"/>
                    <a:pt x="58" y="71"/>
                    <a:pt x="41" y="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45" name="Oval 230"/>
            <p:cNvSpPr>
              <a:spLocks noChangeArrowheads="1"/>
            </p:cNvSpPr>
            <p:nvPr userDrawn="1"/>
          </p:nvSpPr>
          <p:spPr bwMode="auto">
            <a:xfrm>
              <a:off x="2507" y="2517"/>
              <a:ext cx="22" cy="2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46" name="Freeform 231"/>
            <p:cNvSpPr>
              <a:spLocks noEditPoints="1"/>
            </p:cNvSpPr>
            <p:nvPr userDrawn="1"/>
          </p:nvSpPr>
          <p:spPr bwMode="auto">
            <a:xfrm>
              <a:off x="2455" y="2509"/>
              <a:ext cx="38" cy="38"/>
            </a:xfrm>
            <a:custGeom>
              <a:avLst/>
              <a:gdLst>
                <a:gd name="T0" fmla="*/ 42 w 84"/>
                <a:gd name="T1" fmla="*/ 0 h 84"/>
                <a:gd name="T2" fmla="*/ 0 w 84"/>
                <a:gd name="T3" fmla="*/ 42 h 84"/>
                <a:gd name="T4" fmla="*/ 42 w 84"/>
                <a:gd name="T5" fmla="*/ 84 h 84"/>
                <a:gd name="T6" fmla="*/ 84 w 84"/>
                <a:gd name="T7" fmla="*/ 42 h 84"/>
                <a:gd name="T8" fmla="*/ 42 w 84"/>
                <a:gd name="T9" fmla="*/ 0 h 84"/>
                <a:gd name="T10" fmla="*/ 42 w 84"/>
                <a:gd name="T11" fmla="*/ 71 h 84"/>
                <a:gd name="T12" fmla="*/ 12 w 84"/>
                <a:gd name="T13" fmla="*/ 42 h 84"/>
                <a:gd name="T14" fmla="*/ 42 w 84"/>
                <a:gd name="T15" fmla="*/ 12 h 84"/>
                <a:gd name="T16" fmla="*/ 71 w 84"/>
                <a:gd name="T17" fmla="*/ 42 h 84"/>
                <a:gd name="T18" fmla="*/ 42 w 84"/>
                <a:gd name="T19" fmla="*/ 71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65"/>
                    <a:pt x="19" y="84"/>
                    <a:pt x="42" y="84"/>
                  </a:cubicBezTo>
                  <a:cubicBezTo>
                    <a:pt x="65" y="84"/>
                    <a:pt x="84" y="65"/>
                    <a:pt x="84" y="42"/>
                  </a:cubicBezTo>
                  <a:cubicBezTo>
                    <a:pt x="84" y="19"/>
                    <a:pt x="65" y="0"/>
                    <a:pt x="42" y="0"/>
                  </a:cubicBezTo>
                  <a:close/>
                  <a:moveTo>
                    <a:pt x="42" y="71"/>
                  </a:moveTo>
                  <a:cubicBezTo>
                    <a:pt x="25" y="71"/>
                    <a:pt x="12" y="58"/>
                    <a:pt x="12" y="42"/>
                  </a:cubicBezTo>
                  <a:cubicBezTo>
                    <a:pt x="12" y="26"/>
                    <a:pt x="25" y="12"/>
                    <a:pt x="42" y="12"/>
                  </a:cubicBezTo>
                  <a:cubicBezTo>
                    <a:pt x="58" y="12"/>
                    <a:pt x="71" y="26"/>
                    <a:pt x="71" y="42"/>
                  </a:cubicBezTo>
                  <a:cubicBezTo>
                    <a:pt x="71" y="58"/>
                    <a:pt x="58" y="71"/>
                    <a:pt x="42" y="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47" name="Oval 232"/>
            <p:cNvSpPr>
              <a:spLocks noChangeArrowheads="1"/>
            </p:cNvSpPr>
            <p:nvPr userDrawn="1"/>
          </p:nvSpPr>
          <p:spPr bwMode="auto">
            <a:xfrm>
              <a:off x="2463" y="2517"/>
              <a:ext cx="22" cy="2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48" name="Freeform 233"/>
            <p:cNvSpPr>
              <a:spLocks noEditPoints="1"/>
            </p:cNvSpPr>
            <p:nvPr userDrawn="1"/>
          </p:nvSpPr>
          <p:spPr bwMode="auto">
            <a:xfrm>
              <a:off x="2375" y="2322"/>
              <a:ext cx="507" cy="206"/>
            </a:xfrm>
            <a:custGeom>
              <a:avLst/>
              <a:gdLst>
                <a:gd name="T0" fmla="*/ 1079 w 1125"/>
                <a:gd name="T1" fmla="*/ 347 h 455"/>
                <a:gd name="T2" fmla="*/ 1008 w 1125"/>
                <a:gd name="T3" fmla="*/ 355 h 455"/>
                <a:gd name="T4" fmla="*/ 1079 w 1125"/>
                <a:gd name="T5" fmla="*/ 343 h 455"/>
                <a:gd name="T6" fmla="*/ 1022 w 1125"/>
                <a:gd name="T7" fmla="*/ 120 h 455"/>
                <a:gd name="T8" fmla="*/ 958 w 1125"/>
                <a:gd name="T9" fmla="*/ 29 h 455"/>
                <a:gd name="T10" fmla="*/ 795 w 1125"/>
                <a:gd name="T11" fmla="*/ 29 h 455"/>
                <a:gd name="T12" fmla="*/ 780 w 1125"/>
                <a:gd name="T13" fmla="*/ 0 h 455"/>
                <a:gd name="T14" fmla="*/ 779 w 1125"/>
                <a:gd name="T15" fmla="*/ 0 h 455"/>
                <a:gd name="T16" fmla="*/ 765 w 1125"/>
                <a:gd name="T17" fmla="*/ 29 h 455"/>
                <a:gd name="T18" fmla="*/ 577 w 1125"/>
                <a:gd name="T19" fmla="*/ 15 h 455"/>
                <a:gd name="T20" fmla="*/ 562 w 1125"/>
                <a:gd name="T21" fmla="*/ 0 h 455"/>
                <a:gd name="T22" fmla="*/ 547 w 1125"/>
                <a:gd name="T23" fmla="*/ 15 h 455"/>
                <a:gd name="T24" fmla="*/ 360 w 1125"/>
                <a:gd name="T25" fmla="*/ 29 h 455"/>
                <a:gd name="T26" fmla="*/ 345 w 1125"/>
                <a:gd name="T27" fmla="*/ 0 h 455"/>
                <a:gd name="T28" fmla="*/ 344 w 1125"/>
                <a:gd name="T29" fmla="*/ 0 h 455"/>
                <a:gd name="T30" fmla="*/ 329 w 1125"/>
                <a:gd name="T31" fmla="*/ 29 h 455"/>
                <a:gd name="T32" fmla="*/ 166 w 1125"/>
                <a:gd name="T33" fmla="*/ 29 h 455"/>
                <a:gd name="T34" fmla="*/ 102 w 1125"/>
                <a:gd name="T35" fmla="*/ 120 h 455"/>
                <a:gd name="T36" fmla="*/ 46 w 1125"/>
                <a:gd name="T37" fmla="*/ 343 h 455"/>
                <a:gd name="T38" fmla="*/ 117 w 1125"/>
                <a:gd name="T39" fmla="*/ 355 h 455"/>
                <a:gd name="T40" fmla="*/ 46 w 1125"/>
                <a:gd name="T41" fmla="*/ 347 h 455"/>
                <a:gd name="T42" fmla="*/ 0 w 1125"/>
                <a:gd name="T43" fmla="*/ 355 h 455"/>
                <a:gd name="T44" fmla="*/ 8 w 1125"/>
                <a:gd name="T45" fmla="*/ 413 h 455"/>
                <a:gd name="T46" fmla="*/ 54 w 1125"/>
                <a:gd name="T47" fmla="*/ 406 h 455"/>
                <a:gd name="T48" fmla="*/ 157 w 1125"/>
                <a:gd name="T49" fmla="*/ 455 h 455"/>
                <a:gd name="T50" fmla="*/ 158 w 1125"/>
                <a:gd name="T51" fmla="*/ 455 h 455"/>
                <a:gd name="T52" fmla="*/ 269 w 1125"/>
                <a:gd name="T53" fmla="*/ 417 h 455"/>
                <a:gd name="T54" fmla="*/ 366 w 1125"/>
                <a:gd name="T55" fmla="*/ 417 h 455"/>
                <a:gd name="T56" fmla="*/ 477 w 1125"/>
                <a:gd name="T57" fmla="*/ 455 h 455"/>
                <a:gd name="T58" fmla="*/ 657 w 1125"/>
                <a:gd name="T59" fmla="*/ 455 h 455"/>
                <a:gd name="T60" fmla="*/ 719 w 1125"/>
                <a:gd name="T61" fmla="*/ 393 h 455"/>
                <a:gd name="T62" fmla="*/ 817 w 1125"/>
                <a:gd name="T63" fmla="*/ 393 h 455"/>
                <a:gd name="T64" fmla="*/ 914 w 1125"/>
                <a:gd name="T65" fmla="*/ 393 h 455"/>
                <a:gd name="T66" fmla="*/ 996 w 1125"/>
                <a:gd name="T67" fmla="*/ 406 h 455"/>
                <a:gd name="T68" fmla="*/ 1079 w 1125"/>
                <a:gd name="T69" fmla="*/ 413 h 455"/>
                <a:gd name="T70" fmla="*/ 1125 w 1125"/>
                <a:gd name="T71" fmla="*/ 405 h 455"/>
                <a:gd name="T72" fmla="*/ 1117 w 1125"/>
                <a:gd name="T73" fmla="*/ 347 h 455"/>
                <a:gd name="T74" fmla="*/ 157 w 1125"/>
                <a:gd name="T75" fmla="*/ 368 h 455"/>
                <a:gd name="T76" fmla="*/ 968 w 1125"/>
                <a:gd name="T77" fmla="*/ 344 h 455"/>
                <a:gd name="T78" fmla="*/ 159 w 1125"/>
                <a:gd name="T79" fmla="*/ 326 h 455"/>
                <a:gd name="T80" fmla="*/ 210 w 1125"/>
                <a:gd name="T81" fmla="*/ 120 h 455"/>
                <a:gd name="T82" fmla="*/ 159 w 1125"/>
                <a:gd name="T83" fmla="*/ 326 h 455"/>
                <a:gd name="T84" fmla="*/ 914 w 1125"/>
                <a:gd name="T85" fmla="*/ 120 h 455"/>
                <a:gd name="T86" fmla="*/ 965 w 1125"/>
                <a:gd name="T87" fmla="*/ 326 h 455"/>
                <a:gd name="T88" fmla="*/ 990 w 1125"/>
                <a:gd name="T89" fmla="*/ 85 h 455"/>
                <a:gd name="T90" fmla="*/ 745 w 1125"/>
                <a:gd name="T91" fmla="*/ 85 h 455"/>
                <a:gd name="T92" fmla="*/ 729 w 1125"/>
                <a:gd name="T93" fmla="*/ 340 h 455"/>
                <a:gd name="T94" fmla="*/ 570 w 1125"/>
                <a:gd name="T95" fmla="*/ 85 h 455"/>
                <a:gd name="T96" fmla="*/ 554 w 1125"/>
                <a:gd name="T97" fmla="*/ 340 h 455"/>
                <a:gd name="T98" fmla="*/ 396 w 1125"/>
                <a:gd name="T99" fmla="*/ 85 h 455"/>
                <a:gd name="T100" fmla="*/ 380 w 1125"/>
                <a:gd name="T101" fmla="*/ 340 h 455"/>
                <a:gd name="T102" fmla="*/ 210 w 1125"/>
                <a:gd name="T103" fmla="*/ 85 h 455"/>
                <a:gd name="T104" fmla="*/ 126 w 1125"/>
                <a:gd name="T105" fmla="*/ 77 h 455"/>
                <a:gd name="T106" fmla="*/ 210 w 1125"/>
                <a:gd name="T107" fmla="*/ 69 h 455"/>
                <a:gd name="T108" fmla="*/ 990 w 1125"/>
                <a:gd name="T109" fmla="*/ 69 h 455"/>
                <a:gd name="T110" fmla="*/ 990 w 1125"/>
                <a:gd name="T111" fmla="*/ 85 h 4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25" h="455">
                  <a:moveTo>
                    <a:pt x="1117" y="347"/>
                  </a:moveTo>
                  <a:cubicBezTo>
                    <a:pt x="1079" y="347"/>
                    <a:pt x="1079" y="347"/>
                    <a:pt x="1079" y="347"/>
                  </a:cubicBezTo>
                  <a:cubicBezTo>
                    <a:pt x="1074" y="347"/>
                    <a:pt x="1071" y="351"/>
                    <a:pt x="1071" y="355"/>
                  </a:cubicBezTo>
                  <a:cubicBezTo>
                    <a:pt x="1008" y="355"/>
                    <a:pt x="1008" y="355"/>
                    <a:pt x="1008" y="355"/>
                  </a:cubicBezTo>
                  <a:cubicBezTo>
                    <a:pt x="1011" y="351"/>
                    <a:pt x="1014" y="347"/>
                    <a:pt x="1016" y="343"/>
                  </a:cubicBezTo>
                  <a:cubicBezTo>
                    <a:pt x="1079" y="343"/>
                    <a:pt x="1079" y="343"/>
                    <a:pt x="1079" y="343"/>
                  </a:cubicBezTo>
                  <a:cubicBezTo>
                    <a:pt x="1079" y="120"/>
                    <a:pt x="1079" y="120"/>
                    <a:pt x="1079" y="120"/>
                  </a:cubicBezTo>
                  <a:cubicBezTo>
                    <a:pt x="1022" y="120"/>
                    <a:pt x="1022" y="120"/>
                    <a:pt x="1022" y="120"/>
                  </a:cubicBezTo>
                  <a:cubicBezTo>
                    <a:pt x="1022" y="89"/>
                    <a:pt x="1022" y="89"/>
                    <a:pt x="1022" y="89"/>
                  </a:cubicBezTo>
                  <a:cubicBezTo>
                    <a:pt x="1022" y="56"/>
                    <a:pt x="993" y="29"/>
                    <a:pt x="958" y="29"/>
                  </a:cubicBezTo>
                  <a:cubicBezTo>
                    <a:pt x="914" y="29"/>
                    <a:pt x="914" y="29"/>
                    <a:pt x="914" y="29"/>
                  </a:cubicBezTo>
                  <a:cubicBezTo>
                    <a:pt x="795" y="29"/>
                    <a:pt x="795" y="29"/>
                    <a:pt x="795" y="29"/>
                  </a:cubicBezTo>
                  <a:cubicBezTo>
                    <a:pt x="795" y="15"/>
                    <a:pt x="795" y="15"/>
                    <a:pt x="795" y="15"/>
                  </a:cubicBezTo>
                  <a:cubicBezTo>
                    <a:pt x="795" y="7"/>
                    <a:pt x="789" y="0"/>
                    <a:pt x="780" y="0"/>
                  </a:cubicBezTo>
                  <a:cubicBezTo>
                    <a:pt x="780" y="0"/>
                    <a:pt x="780" y="0"/>
                    <a:pt x="780" y="0"/>
                  </a:cubicBezTo>
                  <a:cubicBezTo>
                    <a:pt x="780" y="0"/>
                    <a:pt x="780" y="0"/>
                    <a:pt x="779" y="0"/>
                  </a:cubicBezTo>
                  <a:cubicBezTo>
                    <a:pt x="771" y="0"/>
                    <a:pt x="765" y="7"/>
                    <a:pt x="765" y="15"/>
                  </a:cubicBezTo>
                  <a:cubicBezTo>
                    <a:pt x="765" y="29"/>
                    <a:pt x="765" y="29"/>
                    <a:pt x="765" y="29"/>
                  </a:cubicBezTo>
                  <a:cubicBezTo>
                    <a:pt x="577" y="29"/>
                    <a:pt x="577" y="29"/>
                    <a:pt x="577" y="29"/>
                  </a:cubicBezTo>
                  <a:cubicBezTo>
                    <a:pt x="577" y="15"/>
                    <a:pt x="577" y="15"/>
                    <a:pt x="577" y="15"/>
                  </a:cubicBezTo>
                  <a:cubicBezTo>
                    <a:pt x="577" y="7"/>
                    <a:pt x="571" y="0"/>
                    <a:pt x="563" y="0"/>
                  </a:cubicBezTo>
                  <a:cubicBezTo>
                    <a:pt x="562" y="0"/>
                    <a:pt x="562" y="0"/>
                    <a:pt x="562" y="0"/>
                  </a:cubicBezTo>
                  <a:cubicBezTo>
                    <a:pt x="562" y="0"/>
                    <a:pt x="562" y="0"/>
                    <a:pt x="562" y="0"/>
                  </a:cubicBezTo>
                  <a:cubicBezTo>
                    <a:pt x="554" y="0"/>
                    <a:pt x="547" y="7"/>
                    <a:pt x="547" y="15"/>
                  </a:cubicBezTo>
                  <a:cubicBezTo>
                    <a:pt x="547" y="29"/>
                    <a:pt x="547" y="29"/>
                    <a:pt x="547" y="29"/>
                  </a:cubicBezTo>
                  <a:cubicBezTo>
                    <a:pt x="360" y="29"/>
                    <a:pt x="360" y="29"/>
                    <a:pt x="360" y="29"/>
                  </a:cubicBezTo>
                  <a:cubicBezTo>
                    <a:pt x="360" y="15"/>
                    <a:pt x="360" y="15"/>
                    <a:pt x="360" y="15"/>
                  </a:cubicBezTo>
                  <a:cubicBezTo>
                    <a:pt x="360" y="7"/>
                    <a:pt x="353" y="0"/>
                    <a:pt x="345" y="0"/>
                  </a:cubicBezTo>
                  <a:cubicBezTo>
                    <a:pt x="345" y="0"/>
                    <a:pt x="345" y="0"/>
                    <a:pt x="344" y="0"/>
                  </a:cubicBezTo>
                  <a:cubicBezTo>
                    <a:pt x="344" y="0"/>
                    <a:pt x="344" y="0"/>
                    <a:pt x="344" y="0"/>
                  </a:cubicBezTo>
                  <a:cubicBezTo>
                    <a:pt x="336" y="0"/>
                    <a:pt x="329" y="7"/>
                    <a:pt x="329" y="15"/>
                  </a:cubicBezTo>
                  <a:cubicBezTo>
                    <a:pt x="329" y="29"/>
                    <a:pt x="329" y="29"/>
                    <a:pt x="329" y="29"/>
                  </a:cubicBezTo>
                  <a:cubicBezTo>
                    <a:pt x="210" y="29"/>
                    <a:pt x="210" y="29"/>
                    <a:pt x="210" y="29"/>
                  </a:cubicBezTo>
                  <a:cubicBezTo>
                    <a:pt x="166" y="29"/>
                    <a:pt x="166" y="29"/>
                    <a:pt x="166" y="29"/>
                  </a:cubicBezTo>
                  <a:cubicBezTo>
                    <a:pt x="131" y="29"/>
                    <a:pt x="102" y="56"/>
                    <a:pt x="102" y="89"/>
                  </a:cubicBezTo>
                  <a:cubicBezTo>
                    <a:pt x="102" y="120"/>
                    <a:pt x="102" y="120"/>
                    <a:pt x="102" y="120"/>
                  </a:cubicBezTo>
                  <a:cubicBezTo>
                    <a:pt x="46" y="120"/>
                    <a:pt x="46" y="120"/>
                    <a:pt x="46" y="120"/>
                  </a:cubicBezTo>
                  <a:cubicBezTo>
                    <a:pt x="46" y="343"/>
                    <a:pt x="46" y="343"/>
                    <a:pt x="46" y="343"/>
                  </a:cubicBezTo>
                  <a:cubicBezTo>
                    <a:pt x="109" y="343"/>
                    <a:pt x="109" y="343"/>
                    <a:pt x="109" y="343"/>
                  </a:cubicBezTo>
                  <a:cubicBezTo>
                    <a:pt x="111" y="347"/>
                    <a:pt x="114" y="351"/>
                    <a:pt x="117" y="355"/>
                  </a:cubicBezTo>
                  <a:cubicBezTo>
                    <a:pt x="54" y="355"/>
                    <a:pt x="54" y="355"/>
                    <a:pt x="54" y="355"/>
                  </a:cubicBezTo>
                  <a:cubicBezTo>
                    <a:pt x="53" y="351"/>
                    <a:pt x="50" y="347"/>
                    <a:pt x="46" y="347"/>
                  </a:cubicBezTo>
                  <a:cubicBezTo>
                    <a:pt x="8" y="347"/>
                    <a:pt x="8" y="347"/>
                    <a:pt x="8" y="347"/>
                  </a:cubicBezTo>
                  <a:cubicBezTo>
                    <a:pt x="3" y="347"/>
                    <a:pt x="0" y="351"/>
                    <a:pt x="0" y="355"/>
                  </a:cubicBezTo>
                  <a:cubicBezTo>
                    <a:pt x="0" y="405"/>
                    <a:pt x="0" y="405"/>
                    <a:pt x="0" y="405"/>
                  </a:cubicBezTo>
                  <a:cubicBezTo>
                    <a:pt x="0" y="410"/>
                    <a:pt x="3" y="413"/>
                    <a:pt x="8" y="413"/>
                  </a:cubicBezTo>
                  <a:cubicBezTo>
                    <a:pt x="46" y="413"/>
                    <a:pt x="46" y="413"/>
                    <a:pt x="46" y="413"/>
                  </a:cubicBezTo>
                  <a:cubicBezTo>
                    <a:pt x="50" y="413"/>
                    <a:pt x="53" y="410"/>
                    <a:pt x="54" y="406"/>
                  </a:cubicBezTo>
                  <a:cubicBezTo>
                    <a:pt x="129" y="406"/>
                    <a:pt x="129" y="406"/>
                    <a:pt x="129" y="406"/>
                  </a:cubicBezTo>
                  <a:cubicBezTo>
                    <a:pt x="129" y="427"/>
                    <a:pt x="140" y="445"/>
                    <a:pt x="157" y="455"/>
                  </a:cubicBezTo>
                  <a:cubicBezTo>
                    <a:pt x="158" y="455"/>
                    <a:pt x="158" y="455"/>
                    <a:pt x="158" y="455"/>
                  </a:cubicBezTo>
                  <a:cubicBezTo>
                    <a:pt x="158" y="455"/>
                    <a:pt x="158" y="455"/>
                    <a:pt x="158" y="455"/>
                  </a:cubicBezTo>
                  <a:cubicBezTo>
                    <a:pt x="158" y="421"/>
                    <a:pt x="186" y="393"/>
                    <a:pt x="220" y="393"/>
                  </a:cubicBezTo>
                  <a:cubicBezTo>
                    <a:pt x="240" y="393"/>
                    <a:pt x="257" y="402"/>
                    <a:pt x="269" y="417"/>
                  </a:cubicBezTo>
                  <a:cubicBezTo>
                    <a:pt x="280" y="402"/>
                    <a:pt x="298" y="393"/>
                    <a:pt x="317" y="393"/>
                  </a:cubicBezTo>
                  <a:cubicBezTo>
                    <a:pt x="337" y="393"/>
                    <a:pt x="355" y="402"/>
                    <a:pt x="366" y="417"/>
                  </a:cubicBezTo>
                  <a:cubicBezTo>
                    <a:pt x="378" y="402"/>
                    <a:pt x="395" y="393"/>
                    <a:pt x="415" y="393"/>
                  </a:cubicBezTo>
                  <a:cubicBezTo>
                    <a:pt x="449" y="393"/>
                    <a:pt x="477" y="421"/>
                    <a:pt x="477" y="455"/>
                  </a:cubicBezTo>
                  <a:cubicBezTo>
                    <a:pt x="477" y="455"/>
                    <a:pt x="477" y="455"/>
                    <a:pt x="477" y="455"/>
                  </a:cubicBezTo>
                  <a:cubicBezTo>
                    <a:pt x="657" y="455"/>
                    <a:pt x="657" y="455"/>
                    <a:pt x="657" y="455"/>
                  </a:cubicBezTo>
                  <a:cubicBezTo>
                    <a:pt x="657" y="455"/>
                    <a:pt x="657" y="455"/>
                    <a:pt x="657" y="455"/>
                  </a:cubicBezTo>
                  <a:cubicBezTo>
                    <a:pt x="657" y="421"/>
                    <a:pt x="685" y="393"/>
                    <a:pt x="719" y="393"/>
                  </a:cubicBezTo>
                  <a:cubicBezTo>
                    <a:pt x="739" y="393"/>
                    <a:pt x="756" y="402"/>
                    <a:pt x="768" y="417"/>
                  </a:cubicBezTo>
                  <a:cubicBezTo>
                    <a:pt x="779" y="402"/>
                    <a:pt x="797" y="393"/>
                    <a:pt x="817" y="393"/>
                  </a:cubicBezTo>
                  <a:cubicBezTo>
                    <a:pt x="836" y="393"/>
                    <a:pt x="854" y="402"/>
                    <a:pt x="865" y="417"/>
                  </a:cubicBezTo>
                  <a:cubicBezTo>
                    <a:pt x="877" y="402"/>
                    <a:pt x="894" y="393"/>
                    <a:pt x="914" y="393"/>
                  </a:cubicBezTo>
                  <a:cubicBezTo>
                    <a:pt x="946" y="393"/>
                    <a:pt x="973" y="418"/>
                    <a:pt x="976" y="449"/>
                  </a:cubicBezTo>
                  <a:cubicBezTo>
                    <a:pt x="988" y="438"/>
                    <a:pt x="995" y="423"/>
                    <a:pt x="996" y="406"/>
                  </a:cubicBezTo>
                  <a:cubicBezTo>
                    <a:pt x="1071" y="406"/>
                    <a:pt x="1071" y="406"/>
                    <a:pt x="1071" y="406"/>
                  </a:cubicBezTo>
                  <a:cubicBezTo>
                    <a:pt x="1071" y="410"/>
                    <a:pt x="1074" y="413"/>
                    <a:pt x="1079" y="413"/>
                  </a:cubicBezTo>
                  <a:cubicBezTo>
                    <a:pt x="1117" y="413"/>
                    <a:pt x="1117" y="413"/>
                    <a:pt x="1117" y="413"/>
                  </a:cubicBezTo>
                  <a:cubicBezTo>
                    <a:pt x="1121" y="413"/>
                    <a:pt x="1125" y="410"/>
                    <a:pt x="1125" y="405"/>
                  </a:cubicBezTo>
                  <a:cubicBezTo>
                    <a:pt x="1125" y="355"/>
                    <a:pt x="1125" y="355"/>
                    <a:pt x="1125" y="355"/>
                  </a:cubicBezTo>
                  <a:cubicBezTo>
                    <a:pt x="1125" y="351"/>
                    <a:pt x="1121" y="347"/>
                    <a:pt x="1117" y="347"/>
                  </a:cubicBezTo>
                  <a:close/>
                  <a:moveTo>
                    <a:pt x="968" y="368"/>
                  </a:moveTo>
                  <a:cubicBezTo>
                    <a:pt x="157" y="368"/>
                    <a:pt x="157" y="368"/>
                    <a:pt x="157" y="368"/>
                  </a:cubicBezTo>
                  <a:cubicBezTo>
                    <a:pt x="157" y="344"/>
                    <a:pt x="157" y="344"/>
                    <a:pt x="157" y="344"/>
                  </a:cubicBezTo>
                  <a:cubicBezTo>
                    <a:pt x="968" y="344"/>
                    <a:pt x="968" y="344"/>
                    <a:pt x="968" y="344"/>
                  </a:cubicBezTo>
                  <a:lnTo>
                    <a:pt x="968" y="368"/>
                  </a:lnTo>
                  <a:close/>
                  <a:moveTo>
                    <a:pt x="159" y="326"/>
                  </a:moveTo>
                  <a:cubicBezTo>
                    <a:pt x="159" y="120"/>
                    <a:pt x="159" y="120"/>
                    <a:pt x="159" y="120"/>
                  </a:cubicBezTo>
                  <a:cubicBezTo>
                    <a:pt x="210" y="120"/>
                    <a:pt x="210" y="120"/>
                    <a:pt x="210" y="120"/>
                  </a:cubicBezTo>
                  <a:cubicBezTo>
                    <a:pt x="210" y="326"/>
                    <a:pt x="210" y="326"/>
                    <a:pt x="210" y="326"/>
                  </a:cubicBezTo>
                  <a:lnTo>
                    <a:pt x="159" y="326"/>
                  </a:lnTo>
                  <a:close/>
                  <a:moveTo>
                    <a:pt x="914" y="326"/>
                  </a:moveTo>
                  <a:cubicBezTo>
                    <a:pt x="914" y="120"/>
                    <a:pt x="914" y="120"/>
                    <a:pt x="914" y="120"/>
                  </a:cubicBezTo>
                  <a:cubicBezTo>
                    <a:pt x="965" y="120"/>
                    <a:pt x="965" y="120"/>
                    <a:pt x="965" y="120"/>
                  </a:cubicBezTo>
                  <a:cubicBezTo>
                    <a:pt x="965" y="326"/>
                    <a:pt x="965" y="326"/>
                    <a:pt x="965" y="326"/>
                  </a:cubicBezTo>
                  <a:lnTo>
                    <a:pt x="914" y="326"/>
                  </a:lnTo>
                  <a:close/>
                  <a:moveTo>
                    <a:pt x="990" y="85"/>
                  </a:moveTo>
                  <a:cubicBezTo>
                    <a:pt x="914" y="85"/>
                    <a:pt x="914" y="85"/>
                    <a:pt x="914" y="85"/>
                  </a:cubicBezTo>
                  <a:cubicBezTo>
                    <a:pt x="745" y="85"/>
                    <a:pt x="745" y="85"/>
                    <a:pt x="745" y="85"/>
                  </a:cubicBezTo>
                  <a:cubicBezTo>
                    <a:pt x="745" y="340"/>
                    <a:pt x="745" y="340"/>
                    <a:pt x="745" y="340"/>
                  </a:cubicBezTo>
                  <a:cubicBezTo>
                    <a:pt x="729" y="340"/>
                    <a:pt x="729" y="340"/>
                    <a:pt x="729" y="340"/>
                  </a:cubicBezTo>
                  <a:cubicBezTo>
                    <a:pt x="729" y="85"/>
                    <a:pt x="729" y="85"/>
                    <a:pt x="729" y="85"/>
                  </a:cubicBezTo>
                  <a:cubicBezTo>
                    <a:pt x="570" y="85"/>
                    <a:pt x="570" y="85"/>
                    <a:pt x="570" y="85"/>
                  </a:cubicBezTo>
                  <a:cubicBezTo>
                    <a:pt x="570" y="340"/>
                    <a:pt x="570" y="340"/>
                    <a:pt x="570" y="340"/>
                  </a:cubicBezTo>
                  <a:cubicBezTo>
                    <a:pt x="554" y="340"/>
                    <a:pt x="554" y="340"/>
                    <a:pt x="554" y="340"/>
                  </a:cubicBezTo>
                  <a:cubicBezTo>
                    <a:pt x="554" y="85"/>
                    <a:pt x="554" y="85"/>
                    <a:pt x="554" y="85"/>
                  </a:cubicBezTo>
                  <a:cubicBezTo>
                    <a:pt x="396" y="85"/>
                    <a:pt x="396" y="85"/>
                    <a:pt x="396" y="85"/>
                  </a:cubicBezTo>
                  <a:cubicBezTo>
                    <a:pt x="396" y="340"/>
                    <a:pt x="396" y="340"/>
                    <a:pt x="396" y="340"/>
                  </a:cubicBezTo>
                  <a:cubicBezTo>
                    <a:pt x="380" y="340"/>
                    <a:pt x="380" y="340"/>
                    <a:pt x="380" y="340"/>
                  </a:cubicBezTo>
                  <a:cubicBezTo>
                    <a:pt x="380" y="85"/>
                    <a:pt x="380" y="85"/>
                    <a:pt x="380" y="85"/>
                  </a:cubicBezTo>
                  <a:cubicBezTo>
                    <a:pt x="210" y="85"/>
                    <a:pt x="210" y="85"/>
                    <a:pt x="210" y="85"/>
                  </a:cubicBezTo>
                  <a:cubicBezTo>
                    <a:pt x="134" y="85"/>
                    <a:pt x="134" y="85"/>
                    <a:pt x="134" y="85"/>
                  </a:cubicBezTo>
                  <a:cubicBezTo>
                    <a:pt x="129" y="85"/>
                    <a:pt x="126" y="82"/>
                    <a:pt x="126" y="77"/>
                  </a:cubicBezTo>
                  <a:cubicBezTo>
                    <a:pt x="126" y="73"/>
                    <a:pt x="129" y="69"/>
                    <a:pt x="134" y="69"/>
                  </a:cubicBezTo>
                  <a:cubicBezTo>
                    <a:pt x="210" y="69"/>
                    <a:pt x="210" y="69"/>
                    <a:pt x="210" y="69"/>
                  </a:cubicBezTo>
                  <a:cubicBezTo>
                    <a:pt x="914" y="69"/>
                    <a:pt x="914" y="69"/>
                    <a:pt x="914" y="69"/>
                  </a:cubicBezTo>
                  <a:cubicBezTo>
                    <a:pt x="990" y="69"/>
                    <a:pt x="990" y="69"/>
                    <a:pt x="990" y="69"/>
                  </a:cubicBezTo>
                  <a:cubicBezTo>
                    <a:pt x="995" y="69"/>
                    <a:pt x="999" y="73"/>
                    <a:pt x="999" y="77"/>
                  </a:cubicBezTo>
                  <a:cubicBezTo>
                    <a:pt x="999" y="82"/>
                    <a:pt x="995" y="85"/>
                    <a:pt x="990" y="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49" name="Freeform 234"/>
            <p:cNvSpPr>
              <a:spLocks noEditPoints="1"/>
            </p:cNvSpPr>
            <p:nvPr userDrawn="1"/>
          </p:nvSpPr>
          <p:spPr bwMode="auto">
            <a:xfrm>
              <a:off x="2257" y="2509"/>
              <a:ext cx="38" cy="38"/>
            </a:xfrm>
            <a:custGeom>
              <a:avLst/>
              <a:gdLst>
                <a:gd name="T0" fmla="*/ 42 w 83"/>
                <a:gd name="T1" fmla="*/ 0 h 84"/>
                <a:gd name="T2" fmla="*/ 0 w 83"/>
                <a:gd name="T3" fmla="*/ 42 h 84"/>
                <a:gd name="T4" fmla="*/ 42 w 83"/>
                <a:gd name="T5" fmla="*/ 84 h 84"/>
                <a:gd name="T6" fmla="*/ 83 w 83"/>
                <a:gd name="T7" fmla="*/ 42 h 84"/>
                <a:gd name="T8" fmla="*/ 42 w 83"/>
                <a:gd name="T9" fmla="*/ 0 h 84"/>
                <a:gd name="T10" fmla="*/ 42 w 83"/>
                <a:gd name="T11" fmla="*/ 71 h 84"/>
                <a:gd name="T12" fmla="*/ 12 w 83"/>
                <a:gd name="T13" fmla="*/ 42 h 84"/>
                <a:gd name="T14" fmla="*/ 42 w 83"/>
                <a:gd name="T15" fmla="*/ 12 h 84"/>
                <a:gd name="T16" fmla="*/ 71 w 83"/>
                <a:gd name="T17" fmla="*/ 42 h 84"/>
                <a:gd name="T18" fmla="*/ 42 w 83"/>
                <a:gd name="T19" fmla="*/ 71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3" h="84">
                  <a:moveTo>
                    <a:pt x="42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65"/>
                    <a:pt x="19" y="84"/>
                    <a:pt x="42" y="84"/>
                  </a:cubicBezTo>
                  <a:cubicBezTo>
                    <a:pt x="65" y="84"/>
                    <a:pt x="83" y="65"/>
                    <a:pt x="83" y="42"/>
                  </a:cubicBezTo>
                  <a:cubicBezTo>
                    <a:pt x="83" y="19"/>
                    <a:pt x="65" y="0"/>
                    <a:pt x="42" y="0"/>
                  </a:cubicBezTo>
                  <a:close/>
                  <a:moveTo>
                    <a:pt x="42" y="71"/>
                  </a:moveTo>
                  <a:cubicBezTo>
                    <a:pt x="25" y="71"/>
                    <a:pt x="12" y="58"/>
                    <a:pt x="12" y="42"/>
                  </a:cubicBezTo>
                  <a:cubicBezTo>
                    <a:pt x="12" y="26"/>
                    <a:pt x="25" y="12"/>
                    <a:pt x="42" y="12"/>
                  </a:cubicBezTo>
                  <a:cubicBezTo>
                    <a:pt x="58" y="12"/>
                    <a:pt x="71" y="26"/>
                    <a:pt x="71" y="42"/>
                  </a:cubicBezTo>
                  <a:cubicBezTo>
                    <a:pt x="71" y="58"/>
                    <a:pt x="58" y="71"/>
                    <a:pt x="42" y="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50" name="Oval 235"/>
            <p:cNvSpPr>
              <a:spLocks noChangeArrowheads="1"/>
            </p:cNvSpPr>
            <p:nvPr userDrawn="1"/>
          </p:nvSpPr>
          <p:spPr bwMode="auto">
            <a:xfrm>
              <a:off x="2265" y="2517"/>
              <a:ext cx="22" cy="2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51" name="Freeform 236"/>
            <p:cNvSpPr>
              <a:spLocks noEditPoints="1"/>
            </p:cNvSpPr>
            <p:nvPr userDrawn="1"/>
          </p:nvSpPr>
          <p:spPr bwMode="auto">
            <a:xfrm>
              <a:off x="2213" y="2509"/>
              <a:ext cx="38" cy="38"/>
            </a:xfrm>
            <a:custGeom>
              <a:avLst/>
              <a:gdLst>
                <a:gd name="T0" fmla="*/ 42 w 84"/>
                <a:gd name="T1" fmla="*/ 0 h 84"/>
                <a:gd name="T2" fmla="*/ 0 w 84"/>
                <a:gd name="T3" fmla="*/ 42 h 84"/>
                <a:gd name="T4" fmla="*/ 42 w 84"/>
                <a:gd name="T5" fmla="*/ 84 h 84"/>
                <a:gd name="T6" fmla="*/ 84 w 84"/>
                <a:gd name="T7" fmla="*/ 42 h 84"/>
                <a:gd name="T8" fmla="*/ 42 w 84"/>
                <a:gd name="T9" fmla="*/ 0 h 84"/>
                <a:gd name="T10" fmla="*/ 42 w 84"/>
                <a:gd name="T11" fmla="*/ 71 h 84"/>
                <a:gd name="T12" fmla="*/ 12 w 84"/>
                <a:gd name="T13" fmla="*/ 42 h 84"/>
                <a:gd name="T14" fmla="*/ 42 w 84"/>
                <a:gd name="T15" fmla="*/ 12 h 84"/>
                <a:gd name="T16" fmla="*/ 71 w 84"/>
                <a:gd name="T17" fmla="*/ 42 h 84"/>
                <a:gd name="T18" fmla="*/ 42 w 84"/>
                <a:gd name="T19" fmla="*/ 71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65"/>
                    <a:pt x="19" y="84"/>
                    <a:pt x="42" y="84"/>
                  </a:cubicBezTo>
                  <a:cubicBezTo>
                    <a:pt x="65" y="84"/>
                    <a:pt x="84" y="65"/>
                    <a:pt x="84" y="42"/>
                  </a:cubicBezTo>
                  <a:cubicBezTo>
                    <a:pt x="84" y="19"/>
                    <a:pt x="65" y="0"/>
                    <a:pt x="42" y="0"/>
                  </a:cubicBezTo>
                  <a:close/>
                  <a:moveTo>
                    <a:pt x="42" y="71"/>
                  </a:moveTo>
                  <a:cubicBezTo>
                    <a:pt x="26" y="71"/>
                    <a:pt x="12" y="58"/>
                    <a:pt x="12" y="42"/>
                  </a:cubicBezTo>
                  <a:cubicBezTo>
                    <a:pt x="12" y="26"/>
                    <a:pt x="26" y="12"/>
                    <a:pt x="42" y="12"/>
                  </a:cubicBezTo>
                  <a:cubicBezTo>
                    <a:pt x="58" y="12"/>
                    <a:pt x="71" y="26"/>
                    <a:pt x="71" y="42"/>
                  </a:cubicBezTo>
                  <a:cubicBezTo>
                    <a:pt x="71" y="58"/>
                    <a:pt x="58" y="71"/>
                    <a:pt x="42" y="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52" name="Oval 237"/>
            <p:cNvSpPr>
              <a:spLocks noChangeArrowheads="1"/>
            </p:cNvSpPr>
            <p:nvPr userDrawn="1"/>
          </p:nvSpPr>
          <p:spPr bwMode="auto">
            <a:xfrm>
              <a:off x="2221" y="2517"/>
              <a:ext cx="22" cy="2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53" name="Freeform 238"/>
            <p:cNvSpPr>
              <a:spLocks noEditPoints="1"/>
            </p:cNvSpPr>
            <p:nvPr userDrawn="1"/>
          </p:nvSpPr>
          <p:spPr bwMode="auto">
            <a:xfrm>
              <a:off x="2169" y="2509"/>
              <a:ext cx="38" cy="38"/>
            </a:xfrm>
            <a:custGeom>
              <a:avLst/>
              <a:gdLst>
                <a:gd name="T0" fmla="*/ 42 w 84"/>
                <a:gd name="T1" fmla="*/ 0 h 84"/>
                <a:gd name="T2" fmla="*/ 0 w 84"/>
                <a:gd name="T3" fmla="*/ 42 h 84"/>
                <a:gd name="T4" fmla="*/ 42 w 84"/>
                <a:gd name="T5" fmla="*/ 84 h 84"/>
                <a:gd name="T6" fmla="*/ 84 w 84"/>
                <a:gd name="T7" fmla="*/ 42 h 84"/>
                <a:gd name="T8" fmla="*/ 42 w 84"/>
                <a:gd name="T9" fmla="*/ 0 h 84"/>
                <a:gd name="T10" fmla="*/ 42 w 84"/>
                <a:gd name="T11" fmla="*/ 71 h 84"/>
                <a:gd name="T12" fmla="*/ 13 w 84"/>
                <a:gd name="T13" fmla="*/ 42 h 84"/>
                <a:gd name="T14" fmla="*/ 42 w 84"/>
                <a:gd name="T15" fmla="*/ 12 h 84"/>
                <a:gd name="T16" fmla="*/ 72 w 84"/>
                <a:gd name="T17" fmla="*/ 42 h 84"/>
                <a:gd name="T18" fmla="*/ 42 w 84"/>
                <a:gd name="T19" fmla="*/ 71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65"/>
                    <a:pt x="19" y="84"/>
                    <a:pt x="42" y="84"/>
                  </a:cubicBezTo>
                  <a:cubicBezTo>
                    <a:pt x="65" y="84"/>
                    <a:pt x="84" y="65"/>
                    <a:pt x="84" y="42"/>
                  </a:cubicBezTo>
                  <a:cubicBezTo>
                    <a:pt x="84" y="19"/>
                    <a:pt x="65" y="0"/>
                    <a:pt x="42" y="0"/>
                  </a:cubicBezTo>
                  <a:close/>
                  <a:moveTo>
                    <a:pt x="42" y="71"/>
                  </a:moveTo>
                  <a:cubicBezTo>
                    <a:pt x="26" y="71"/>
                    <a:pt x="13" y="58"/>
                    <a:pt x="13" y="42"/>
                  </a:cubicBezTo>
                  <a:cubicBezTo>
                    <a:pt x="13" y="26"/>
                    <a:pt x="26" y="12"/>
                    <a:pt x="42" y="12"/>
                  </a:cubicBezTo>
                  <a:cubicBezTo>
                    <a:pt x="59" y="12"/>
                    <a:pt x="72" y="26"/>
                    <a:pt x="72" y="42"/>
                  </a:cubicBezTo>
                  <a:cubicBezTo>
                    <a:pt x="72" y="58"/>
                    <a:pt x="59" y="71"/>
                    <a:pt x="42" y="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54" name="Oval 239"/>
            <p:cNvSpPr>
              <a:spLocks noChangeArrowheads="1"/>
            </p:cNvSpPr>
            <p:nvPr userDrawn="1"/>
          </p:nvSpPr>
          <p:spPr bwMode="auto">
            <a:xfrm>
              <a:off x="2177" y="2517"/>
              <a:ext cx="22" cy="2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55" name="Freeform 240"/>
            <p:cNvSpPr>
              <a:spLocks noEditPoints="1"/>
            </p:cNvSpPr>
            <p:nvPr userDrawn="1"/>
          </p:nvSpPr>
          <p:spPr bwMode="auto">
            <a:xfrm>
              <a:off x="2033" y="2509"/>
              <a:ext cx="37" cy="38"/>
            </a:xfrm>
            <a:custGeom>
              <a:avLst/>
              <a:gdLst>
                <a:gd name="T0" fmla="*/ 42 w 83"/>
                <a:gd name="T1" fmla="*/ 0 h 84"/>
                <a:gd name="T2" fmla="*/ 0 w 83"/>
                <a:gd name="T3" fmla="*/ 42 h 84"/>
                <a:gd name="T4" fmla="*/ 42 w 83"/>
                <a:gd name="T5" fmla="*/ 84 h 84"/>
                <a:gd name="T6" fmla="*/ 83 w 83"/>
                <a:gd name="T7" fmla="*/ 42 h 84"/>
                <a:gd name="T8" fmla="*/ 42 w 83"/>
                <a:gd name="T9" fmla="*/ 0 h 84"/>
                <a:gd name="T10" fmla="*/ 42 w 83"/>
                <a:gd name="T11" fmla="*/ 71 h 84"/>
                <a:gd name="T12" fmla="*/ 12 w 83"/>
                <a:gd name="T13" fmla="*/ 42 h 84"/>
                <a:gd name="T14" fmla="*/ 42 w 83"/>
                <a:gd name="T15" fmla="*/ 12 h 84"/>
                <a:gd name="T16" fmla="*/ 71 w 83"/>
                <a:gd name="T17" fmla="*/ 42 h 84"/>
                <a:gd name="T18" fmla="*/ 42 w 83"/>
                <a:gd name="T19" fmla="*/ 71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3" h="84">
                  <a:moveTo>
                    <a:pt x="42" y="0"/>
                  </a:moveTo>
                  <a:cubicBezTo>
                    <a:pt x="18" y="0"/>
                    <a:pt x="0" y="19"/>
                    <a:pt x="0" y="42"/>
                  </a:cubicBezTo>
                  <a:cubicBezTo>
                    <a:pt x="0" y="65"/>
                    <a:pt x="18" y="84"/>
                    <a:pt x="42" y="84"/>
                  </a:cubicBezTo>
                  <a:cubicBezTo>
                    <a:pt x="65" y="84"/>
                    <a:pt x="83" y="65"/>
                    <a:pt x="83" y="42"/>
                  </a:cubicBezTo>
                  <a:cubicBezTo>
                    <a:pt x="83" y="19"/>
                    <a:pt x="65" y="0"/>
                    <a:pt x="42" y="0"/>
                  </a:cubicBezTo>
                  <a:close/>
                  <a:moveTo>
                    <a:pt x="42" y="71"/>
                  </a:moveTo>
                  <a:cubicBezTo>
                    <a:pt x="25" y="71"/>
                    <a:pt x="12" y="58"/>
                    <a:pt x="12" y="42"/>
                  </a:cubicBezTo>
                  <a:cubicBezTo>
                    <a:pt x="12" y="26"/>
                    <a:pt x="25" y="12"/>
                    <a:pt x="42" y="12"/>
                  </a:cubicBezTo>
                  <a:cubicBezTo>
                    <a:pt x="58" y="12"/>
                    <a:pt x="71" y="26"/>
                    <a:pt x="71" y="42"/>
                  </a:cubicBezTo>
                  <a:cubicBezTo>
                    <a:pt x="71" y="58"/>
                    <a:pt x="58" y="71"/>
                    <a:pt x="42" y="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56" name="Oval 241"/>
            <p:cNvSpPr>
              <a:spLocks noChangeArrowheads="1"/>
            </p:cNvSpPr>
            <p:nvPr userDrawn="1"/>
          </p:nvSpPr>
          <p:spPr bwMode="auto">
            <a:xfrm>
              <a:off x="2041" y="2517"/>
              <a:ext cx="21" cy="2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57" name="Freeform 242"/>
            <p:cNvSpPr>
              <a:spLocks noEditPoints="1"/>
            </p:cNvSpPr>
            <p:nvPr userDrawn="1"/>
          </p:nvSpPr>
          <p:spPr bwMode="auto">
            <a:xfrm>
              <a:off x="1988" y="2509"/>
              <a:ext cx="38" cy="38"/>
            </a:xfrm>
            <a:custGeom>
              <a:avLst/>
              <a:gdLst>
                <a:gd name="T0" fmla="*/ 42 w 84"/>
                <a:gd name="T1" fmla="*/ 0 h 84"/>
                <a:gd name="T2" fmla="*/ 0 w 84"/>
                <a:gd name="T3" fmla="*/ 42 h 84"/>
                <a:gd name="T4" fmla="*/ 42 w 84"/>
                <a:gd name="T5" fmla="*/ 84 h 84"/>
                <a:gd name="T6" fmla="*/ 84 w 84"/>
                <a:gd name="T7" fmla="*/ 42 h 84"/>
                <a:gd name="T8" fmla="*/ 42 w 84"/>
                <a:gd name="T9" fmla="*/ 0 h 84"/>
                <a:gd name="T10" fmla="*/ 42 w 84"/>
                <a:gd name="T11" fmla="*/ 71 h 84"/>
                <a:gd name="T12" fmla="*/ 12 w 84"/>
                <a:gd name="T13" fmla="*/ 42 h 84"/>
                <a:gd name="T14" fmla="*/ 42 w 84"/>
                <a:gd name="T15" fmla="*/ 12 h 84"/>
                <a:gd name="T16" fmla="*/ 71 w 84"/>
                <a:gd name="T17" fmla="*/ 42 h 84"/>
                <a:gd name="T18" fmla="*/ 42 w 84"/>
                <a:gd name="T19" fmla="*/ 71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65"/>
                    <a:pt x="19" y="84"/>
                    <a:pt x="42" y="84"/>
                  </a:cubicBezTo>
                  <a:cubicBezTo>
                    <a:pt x="65" y="84"/>
                    <a:pt x="84" y="65"/>
                    <a:pt x="84" y="42"/>
                  </a:cubicBezTo>
                  <a:cubicBezTo>
                    <a:pt x="84" y="19"/>
                    <a:pt x="65" y="0"/>
                    <a:pt x="42" y="0"/>
                  </a:cubicBezTo>
                  <a:close/>
                  <a:moveTo>
                    <a:pt x="42" y="71"/>
                  </a:moveTo>
                  <a:cubicBezTo>
                    <a:pt x="26" y="71"/>
                    <a:pt x="12" y="58"/>
                    <a:pt x="12" y="42"/>
                  </a:cubicBezTo>
                  <a:cubicBezTo>
                    <a:pt x="12" y="26"/>
                    <a:pt x="26" y="12"/>
                    <a:pt x="42" y="12"/>
                  </a:cubicBezTo>
                  <a:cubicBezTo>
                    <a:pt x="58" y="12"/>
                    <a:pt x="71" y="26"/>
                    <a:pt x="71" y="42"/>
                  </a:cubicBezTo>
                  <a:cubicBezTo>
                    <a:pt x="71" y="58"/>
                    <a:pt x="58" y="71"/>
                    <a:pt x="42" y="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58" name="Oval 243"/>
            <p:cNvSpPr>
              <a:spLocks noChangeArrowheads="1"/>
            </p:cNvSpPr>
            <p:nvPr userDrawn="1"/>
          </p:nvSpPr>
          <p:spPr bwMode="auto">
            <a:xfrm>
              <a:off x="1996" y="2517"/>
              <a:ext cx="22" cy="2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59" name="Freeform 244"/>
            <p:cNvSpPr>
              <a:spLocks noEditPoints="1"/>
            </p:cNvSpPr>
            <p:nvPr userDrawn="1"/>
          </p:nvSpPr>
          <p:spPr bwMode="auto">
            <a:xfrm>
              <a:off x="1944" y="2509"/>
              <a:ext cx="38" cy="38"/>
            </a:xfrm>
            <a:custGeom>
              <a:avLst/>
              <a:gdLst>
                <a:gd name="T0" fmla="*/ 42 w 84"/>
                <a:gd name="T1" fmla="*/ 0 h 84"/>
                <a:gd name="T2" fmla="*/ 0 w 84"/>
                <a:gd name="T3" fmla="*/ 42 h 84"/>
                <a:gd name="T4" fmla="*/ 42 w 84"/>
                <a:gd name="T5" fmla="*/ 84 h 84"/>
                <a:gd name="T6" fmla="*/ 84 w 84"/>
                <a:gd name="T7" fmla="*/ 42 h 84"/>
                <a:gd name="T8" fmla="*/ 42 w 84"/>
                <a:gd name="T9" fmla="*/ 0 h 84"/>
                <a:gd name="T10" fmla="*/ 42 w 84"/>
                <a:gd name="T11" fmla="*/ 71 h 84"/>
                <a:gd name="T12" fmla="*/ 13 w 84"/>
                <a:gd name="T13" fmla="*/ 42 h 84"/>
                <a:gd name="T14" fmla="*/ 42 w 84"/>
                <a:gd name="T15" fmla="*/ 12 h 84"/>
                <a:gd name="T16" fmla="*/ 72 w 84"/>
                <a:gd name="T17" fmla="*/ 42 h 84"/>
                <a:gd name="T18" fmla="*/ 42 w 84"/>
                <a:gd name="T19" fmla="*/ 71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65"/>
                    <a:pt x="19" y="84"/>
                    <a:pt x="42" y="84"/>
                  </a:cubicBezTo>
                  <a:cubicBezTo>
                    <a:pt x="65" y="84"/>
                    <a:pt x="84" y="65"/>
                    <a:pt x="84" y="42"/>
                  </a:cubicBezTo>
                  <a:cubicBezTo>
                    <a:pt x="84" y="19"/>
                    <a:pt x="65" y="0"/>
                    <a:pt x="42" y="0"/>
                  </a:cubicBezTo>
                  <a:close/>
                  <a:moveTo>
                    <a:pt x="42" y="71"/>
                  </a:moveTo>
                  <a:cubicBezTo>
                    <a:pt x="26" y="71"/>
                    <a:pt x="13" y="58"/>
                    <a:pt x="13" y="42"/>
                  </a:cubicBezTo>
                  <a:cubicBezTo>
                    <a:pt x="13" y="26"/>
                    <a:pt x="26" y="12"/>
                    <a:pt x="42" y="12"/>
                  </a:cubicBezTo>
                  <a:cubicBezTo>
                    <a:pt x="58" y="12"/>
                    <a:pt x="72" y="26"/>
                    <a:pt x="72" y="42"/>
                  </a:cubicBezTo>
                  <a:cubicBezTo>
                    <a:pt x="72" y="58"/>
                    <a:pt x="58" y="71"/>
                    <a:pt x="42" y="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60" name="Oval 245"/>
            <p:cNvSpPr>
              <a:spLocks noChangeArrowheads="1"/>
            </p:cNvSpPr>
            <p:nvPr userDrawn="1"/>
          </p:nvSpPr>
          <p:spPr bwMode="auto">
            <a:xfrm>
              <a:off x="1952" y="2517"/>
              <a:ext cx="22" cy="2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61" name="Freeform 246"/>
            <p:cNvSpPr>
              <a:spLocks noEditPoints="1"/>
            </p:cNvSpPr>
            <p:nvPr userDrawn="1"/>
          </p:nvSpPr>
          <p:spPr bwMode="auto">
            <a:xfrm>
              <a:off x="1864" y="2322"/>
              <a:ext cx="507" cy="206"/>
            </a:xfrm>
            <a:custGeom>
              <a:avLst/>
              <a:gdLst>
                <a:gd name="T0" fmla="*/ 1079 w 1125"/>
                <a:gd name="T1" fmla="*/ 347 h 455"/>
                <a:gd name="T2" fmla="*/ 1008 w 1125"/>
                <a:gd name="T3" fmla="*/ 355 h 455"/>
                <a:gd name="T4" fmla="*/ 1079 w 1125"/>
                <a:gd name="T5" fmla="*/ 343 h 455"/>
                <a:gd name="T6" fmla="*/ 1023 w 1125"/>
                <a:gd name="T7" fmla="*/ 120 h 455"/>
                <a:gd name="T8" fmla="*/ 958 w 1125"/>
                <a:gd name="T9" fmla="*/ 29 h 455"/>
                <a:gd name="T10" fmla="*/ 796 w 1125"/>
                <a:gd name="T11" fmla="*/ 29 h 455"/>
                <a:gd name="T12" fmla="*/ 781 w 1125"/>
                <a:gd name="T13" fmla="*/ 0 h 455"/>
                <a:gd name="T14" fmla="*/ 780 w 1125"/>
                <a:gd name="T15" fmla="*/ 0 h 455"/>
                <a:gd name="T16" fmla="*/ 765 w 1125"/>
                <a:gd name="T17" fmla="*/ 29 h 455"/>
                <a:gd name="T18" fmla="*/ 578 w 1125"/>
                <a:gd name="T19" fmla="*/ 15 h 455"/>
                <a:gd name="T20" fmla="*/ 563 w 1125"/>
                <a:gd name="T21" fmla="*/ 0 h 455"/>
                <a:gd name="T22" fmla="*/ 547 w 1125"/>
                <a:gd name="T23" fmla="*/ 15 h 455"/>
                <a:gd name="T24" fmla="*/ 360 w 1125"/>
                <a:gd name="T25" fmla="*/ 29 h 455"/>
                <a:gd name="T26" fmla="*/ 345 w 1125"/>
                <a:gd name="T27" fmla="*/ 0 h 455"/>
                <a:gd name="T28" fmla="*/ 344 w 1125"/>
                <a:gd name="T29" fmla="*/ 0 h 455"/>
                <a:gd name="T30" fmla="*/ 330 w 1125"/>
                <a:gd name="T31" fmla="*/ 29 h 455"/>
                <a:gd name="T32" fmla="*/ 167 w 1125"/>
                <a:gd name="T33" fmla="*/ 29 h 455"/>
                <a:gd name="T34" fmla="*/ 102 w 1125"/>
                <a:gd name="T35" fmla="*/ 120 h 455"/>
                <a:gd name="T36" fmla="*/ 46 w 1125"/>
                <a:gd name="T37" fmla="*/ 343 h 455"/>
                <a:gd name="T38" fmla="*/ 117 w 1125"/>
                <a:gd name="T39" fmla="*/ 355 h 455"/>
                <a:gd name="T40" fmla="*/ 46 w 1125"/>
                <a:gd name="T41" fmla="*/ 347 h 455"/>
                <a:gd name="T42" fmla="*/ 0 w 1125"/>
                <a:gd name="T43" fmla="*/ 355 h 455"/>
                <a:gd name="T44" fmla="*/ 8 w 1125"/>
                <a:gd name="T45" fmla="*/ 413 h 455"/>
                <a:gd name="T46" fmla="*/ 54 w 1125"/>
                <a:gd name="T47" fmla="*/ 406 h 455"/>
                <a:gd name="T48" fmla="*/ 157 w 1125"/>
                <a:gd name="T49" fmla="*/ 455 h 455"/>
                <a:gd name="T50" fmla="*/ 158 w 1125"/>
                <a:gd name="T51" fmla="*/ 455 h 455"/>
                <a:gd name="T52" fmla="*/ 269 w 1125"/>
                <a:gd name="T53" fmla="*/ 417 h 455"/>
                <a:gd name="T54" fmla="*/ 367 w 1125"/>
                <a:gd name="T55" fmla="*/ 417 h 455"/>
                <a:gd name="T56" fmla="*/ 477 w 1125"/>
                <a:gd name="T57" fmla="*/ 455 h 455"/>
                <a:gd name="T58" fmla="*/ 657 w 1125"/>
                <a:gd name="T59" fmla="*/ 455 h 455"/>
                <a:gd name="T60" fmla="*/ 719 w 1125"/>
                <a:gd name="T61" fmla="*/ 393 h 455"/>
                <a:gd name="T62" fmla="*/ 817 w 1125"/>
                <a:gd name="T63" fmla="*/ 393 h 455"/>
                <a:gd name="T64" fmla="*/ 915 w 1125"/>
                <a:gd name="T65" fmla="*/ 393 h 455"/>
                <a:gd name="T66" fmla="*/ 996 w 1125"/>
                <a:gd name="T67" fmla="*/ 406 h 455"/>
                <a:gd name="T68" fmla="*/ 1079 w 1125"/>
                <a:gd name="T69" fmla="*/ 413 h 455"/>
                <a:gd name="T70" fmla="*/ 1125 w 1125"/>
                <a:gd name="T71" fmla="*/ 405 h 455"/>
                <a:gd name="T72" fmla="*/ 1117 w 1125"/>
                <a:gd name="T73" fmla="*/ 347 h 455"/>
                <a:gd name="T74" fmla="*/ 157 w 1125"/>
                <a:gd name="T75" fmla="*/ 368 h 455"/>
                <a:gd name="T76" fmla="*/ 969 w 1125"/>
                <a:gd name="T77" fmla="*/ 344 h 455"/>
                <a:gd name="T78" fmla="*/ 159 w 1125"/>
                <a:gd name="T79" fmla="*/ 326 h 455"/>
                <a:gd name="T80" fmla="*/ 210 w 1125"/>
                <a:gd name="T81" fmla="*/ 120 h 455"/>
                <a:gd name="T82" fmla="*/ 159 w 1125"/>
                <a:gd name="T83" fmla="*/ 326 h 455"/>
                <a:gd name="T84" fmla="*/ 915 w 1125"/>
                <a:gd name="T85" fmla="*/ 120 h 455"/>
                <a:gd name="T86" fmla="*/ 966 w 1125"/>
                <a:gd name="T87" fmla="*/ 326 h 455"/>
                <a:gd name="T88" fmla="*/ 991 w 1125"/>
                <a:gd name="T89" fmla="*/ 85 h 455"/>
                <a:gd name="T90" fmla="*/ 745 w 1125"/>
                <a:gd name="T91" fmla="*/ 85 h 455"/>
                <a:gd name="T92" fmla="*/ 729 w 1125"/>
                <a:gd name="T93" fmla="*/ 340 h 455"/>
                <a:gd name="T94" fmla="*/ 571 w 1125"/>
                <a:gd name="T95" fmla="*/ 85 h 455"/>
                <a:gd name="T96" fmla="*/ 555 w 1125"/>
                <a:gd name="T97" fmla="*/ 340 h 455"/>
                <a:gd name="T98" fmla="*/ 396 w 1125"/>
                <a:gd name="T99" fmla="*/ 85 h 455"/>
                <a:gd name="T100" fmla="*/ 380 w 1125"/>
                <a:gd name="T101" fmla="*/ 340 h 455"/>
                <a:gd name="T102" fmla="*/ 210 w 1125"/>
                <a:gd name="T103" fmla="*/ 85 h 455"/>
                <a:gd name="T104" fmla="*/ 126 w 1125"/>
                <a:gd name="T105" fmla="*/ 77 h 455"/>
                <a:gd name="T106" fmla="*/ 210 w 1125"/>
                <a:gd name="T107" fmla="*/ 69 h 455"/>
                <a:gd name="T108" fmla="*/ 991 w 1125"/>
                <a:gd name="T109" fmla="*/ 69 h 455"/>
                <a:gd name="T110" fmla="*/ 991 w 1125"/>
                <a:gd name="T111" fmla="*/ 85 h 4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25" h="455">
                  <a:moveTo>
                    <a:pt x="1117" y="347"/>
                  </a:moveTo>
                  <a:cubicBezTo>
                    <a:pt x="1079" y="347"/>
                    <a:pt x="1079" y="347"/>
                    <a:pt x="1079" y="347"/>
                  </a:cubicBezTo>
                  <a:cubicBezTo>
                    <a:pt x="1075" y="347"/>
                    <a:pt x="1071" y="351"/>
                    <a:pt x="1071" y="355"/>
                  </a:cubicBezTo>
                  <a:cubicBezTo>
                    <a:pt x="1008" y="355"/>
                    <a:pt x="1008" y="355"/>
                    <a:pt x="1008" y="355"/>
                  </a:cubicBezTo>
                  <a:cubicBezTo>
                    <a:pt x="1011" y="351"/>
                    <a:pt x="1014" y="347"/>
                    <a:pt x="1016" y="343"/>
                  </a:cubicBezTo>
                  <a:cubicBezTo>
                    <a:pt x="1079" y="343"/>
                    <a:pt x="1079" y="343"/>
                    <a:pt x="1079" y="343"/>
                  </a:cubicBezTo>
                  <a:cubicBezTo>
                    <a:pt x="1079" y="120"/>
                    <a:pt x="1079" y="120"/>
                    <a:pt x="1079" y="120"/>
                  </a:cubicBezTo>
                  <a:cubicBezTo>
                    <a:pt x="1023" y="120"/>
                    <a:pt x="1023" y="120"/>
                    <a:pt x="1023" y="120"/>
                  </a:cubicBezTo>
                  <a:cubicBezTo>
                    <a:pt x="1023" y="89"/>
                    <a:pt x="1023" y="89"/>
                    <a:pt x="1023" y="89"/>
                  </a:cubicBezTo>
                  <a:cubicBezTo>
                    <a:pt x="1023" y="56"/>
                    <a:pt x="994" y="29"/>
                    <a:pt x="958" y="29"/>
                  </a:cubicBezTo>
                  <a:cubicBezTo>
                    <a:pt x="915" y="29"/>
                    <a:pt x="915" y="29"/>
                    <a:pt x="915" y="29"/>
                  </a:cubicBezTo>
                  <a:cubicBezTo>
                    <a:pt x="796" y="29"/>
                    <a:pt x="796" y="29"/>
                    <a:pt x="796" y="29"/>
                  </a:cubicBezTo>
                  <a:cubicBezTo>
                    <a:pt x="796" y="15"/>
                    <a:pt x="796" y="15"/>
                    <a:pt x="796" y="15"/>
                  </a:cubicBezTo>
                  <a:cubicBezTo>
                    <a:pt x="796" y="7"/>
                    <a:pt x="789" y="0"/>
                    <a:pt x="781" y="0"/>
                  </a:cubicBezTo>
                  <a:cubicBezTo>
                    <a:pt x="781" y="0"/>
                    <a:pt x="780" y="0"/>
                    <a:pt x="780" y="0"/>
                  </a:cubicBezTo>
                  <a:cubicBezTo>
                    <a:pt x="780" y="0"/>
                    <a:pt x="780" y="0"/>
                    <a:pt x="780" y="0"/>
                  </a:cubicBezTo>
                  <a:cubicBezTo>
                    <a:pt x="772" y="0"/>
                    <a:pt x="765" y="7"/>
                    <a:pt x="765" y="15"/>
                  </a:cubicBezTo>
                  <a:cubicBezTo>
                    <a:pt x="765" y="29"/>
                    <a:pt x="765" y="29"/>
                    <a:pt x="765" y="29"/>
                  </a:cubicBezTo>
                  <a:cubicBezTo>
                    <a:pt x="578" y="29"/>
                    <a:pt x="578" y="29"/>
                    <a:pt x="578" y="29"/>
                  </a:cubicBezTo>
                  <a:cubicBezTo>
                    <a:pt x="578" y="15"/>
                    <a:pt x="578" y="15"/>
                    <a:pt x="578" y="15"/>
                  </a:cubicBezTo>
                  <a:cubicBezTo>
                    <a:pt x="578" y="7"/>
                    <a:pt x="571" y="0"/>
                    <a:pt x="563" y="0"/>
                  </a:cubicBezTo>
                  <a:cubicBezTo>
                    <a:pt x="563" y="0"/>
                    <a:pt x="563" y="0"/>
                    <a:pt x="563" y="0"/>
                  </a:cubicBezTo>
                  <a:cubicBezTo>
                    <a:pt x="562" y="0"/>
                    <a:pt x="562" y="0"/>
                    <a:pt x="562" y="0"/>
                  </a:cubicBezTo>
                  <a:cubicBezTo>
                    <a:pt x="554" y="0"/>
                    <a:pt x="547" y="7"/>
                    <a:pt x="547" y="15"/>
                  </a:cubicBezTo>
                  <a:cubicBezTo>
                    <a:pt x="547" y="29"/>
                    <a:pt x="547" y="29"/>
                    <a:pt x="547" y="29"/>
                  </a:cubicBezTo>
                  <a:cubicBezTo>
                    <a:pt x="360" y="29"/>
                    <a:pt x="360" y="29"/>
                    <a:pt x="360" y="29"/>
                  </a:cubicBezTo>
                  <a:cubicBezTo>
                    <a:pt x="360" y="15"/>
                    <a:pt x="360" y="15"/>
                    <a:pt x="360" y="15"/>
                  </a:cubicBezTo>
                  <a:cubicBezTo>
                    <a:pt x="360" y="7"/>
                    <a:pt x="353" y="0"/>
                    <a:pt x="345" y="0"/>
                  </a:cubicBezTo>
                  <a:cubicBezTo>
                    <a:pt x="345" y="0"/>
                    <a:pt x="345" y="0"/>
                    <a:pt x="345" y="0"/>
                  </a:cubicBezTo>
                  <a:cubicBezTo>
                    <a:pt x="345" y="0"/>
                    <a:pt x="344" y="0"/>
                    <a:pt x="344" y="0"/>
                  </a:cubicBezTo>
                  <a:cubicBezTo>
                    <a:pt x="336" y="0"/>
                    <a:pt x="330" y="7"/>
                    <a:pt x="330" y="15"/>
                  </a:cubicBezTo>
                  <a:cubicBezTo>
                    <a:pt x="330" y="29"/>
                    <a:pt x="330" y="29"/>
                    <a:pt x="330" y="29"/>
                  </a:cubicBezTo>
                  <a:cubicBezTo>
                    <a:pt x="210" y="29"/>
                    <a:pt x="210" y="29"/>
                    <a:pt x="210" y="29"/>
                  </a:cubicBezTo>
                  <a:cubicBezTo>
                    <a:pt x="167" y="29"/>
                    <a:pt x="167" y="29"/>
                    <a:pt x="167" y="29"/>
                  </a:cubicBezTo>
                  <a:cubicBezTo>
                    <a:pt x="131" y="29"/>
                    <a:pt x="102" y="56"/>
                    <a:pt x="102" y="89"/>
                  </a:cubicBezTo>
                  <a:cubicBezTo>
                    <a:pt x="102" y="120"/>
                    <a:pt x="102" y="120"/>
                    <a:pt x="102" y="120"/>
                  </a:cubicBezTo>
                  <a:cubicBezTo>
                    <a:pt x="46" y="120"/>
                    <a:pt x="46" y="120"/>
                    <a:pt x="46" y="120"/>
                  </a:cubicBezTo>
                  <a:cubicBezTo>
                    <a:pt x="46" y="343"/>
                    <a:pt x="46" y="343"/>
                    <a:pt x="46" y="343"/>
                  </a:cubicBezTo>
                  <a:cubicBezTo>
                    <a:pt x="109" y="343"/>
                    <a:pt x="109" y="343"/>
                    <a:pt x="109" y="343"/>
                  </a:cubicBezTo>
                  <a:cubicBezTo>
                    <a:pt x="111" y="347"/>
                    <a:pt x="114" y="351"/>
                    <a:pt x="117" y="355"/>
                  </a:cubicBezTo>
                  <a:cubicBezTo>
                    <a:pt x="54" y="355"/>
                    <a:pt x="54" y="355"/>
                    <a:pt x="54" y="355"/>
                  </a:cubicBezTo>
                  <a:cubicBezTo>
                    <a:pt x="54" y="351"/>
                    <a:pt x="50" y="347"/>
                    <a:pt x="46" y="347"/>
                  </a:cubicBezTo>
                  <a:cubicBezTo>
                    <a:pt x="8" y="347"/>
                    <a:pt x="8" y="347"/>
                    <a:pt x="8" y="347"/>
                  </a:cubicBezTo>
                  <a:cubicBezTo>
                    <a:pt x="4" y="347"/>
                    <a:pt x="0" y="351"/>
                    <a:pt x="0" y="355"/>
                  </a:cubicBezTo>
                  <a:cubicBezTo>
                    <a:pt x="0" y="405"/>
                    <a:pt x="0" y="405"/>
                    <a:pt x="0" y="405"/>
                  </a:cubicBezTo>
                  <a:cubicBezTo>
                    <a:pt x="0" y="410"/>
                    <a:pt x="4" y="413"/>
                    <a:pt x="8" y="413"/>
                  </a:cubicBezTo>
                  <a:cubicBezTo>
                    <a:pt x="46" y="413"/>
                    <a:pt x="46" y="413"/>
                    <a:pt x="46" y="413"/>
                  </a:cubicBezTo>
                  <a:cubicBezTo>
                    <a:pt x="50" y="413"/>
                    <a:pt x="54" y="410"/>
                    <a:pt x="54" y="406"/>
                  </a:cubicBezTo>
                  <a:cubicBezTo>
                    <a:pt x="129" y="406"/>
                    <a:pt x="129" y="406"/>
                    <a:pt x="129" y="406"/>
                  </a:cubicBezTo>
                  <a:cubicBezTo>
                    <a:pt x="129" y="427"/>
                    <a:pt x="140" y="445"/>
                    <a:pt x="157" y="455"/>
                  </a:cubicBezTo>
                  <a:cubicBezTo>
                    <a:pt x="158" y="455"/>
                    <a:pt x="158" y="455"/>
                    <a:pt x="158" y="455"/>
                  </a:cubicBezTo>
                  <a:cubicBezTo>
                    <a:pt x="158" y="455"/>
                    <a:pt x="158" y="455"/>
                    <a:pt x="158" y="455"/>
                  </a:cubicBezTo>
                  <a:cubicBezTo>
                    <a:pt x="158" y="421"/>
                    <a:pt x="186" y="393"/>
                    <a:pt x="220" y="393"/>
                  </a:cubicBezTo>
                  <a:cubicBezTo>
                    <a:pt x="240" y="393"/>
                    <a:pt x="258" y="402"/>
                    <a:pt x="269" y="417"/>
                  </a:cubicBezTo>
                  <a:cubicBezTo>
                    <a:pt x="280" y="402"/>
                    <a:pt x="298" y="393"/>
                    <a:pt x="318" y="393"/>
                  </a:cubicBezTo>
                  <a:cubicBezTo>
                    <a:pt x="338" y="393"/>
                    <a:pt x="355" y="402"/>
                    <a:pt x="367" y="417"/>
                  </a:cubicBezTo>
                  <a:cubicBezTo>
                    <a:pt x="378" y="402"/>
                    <a:pt x="396" y="393"/>
                    <a:pt x="416" y="393"/>
                  </a:cubicBezTo>
                  <a:cubicBezTo>
                    <a:pt x="450" y="393"/>
                    <a:pt x="477" y="421"/>
                    <a:pt x="477" y="455"/>
                  </a:cubicBezTo>
                  <a:cubicBezTo>
                    <a:pt x="477" y="455"/>
                    <a:pt x="477" y="455"/>
                    <a:pt x="477" y="455"/>
                  </a:cubicBezTo>
                  <a:cubicBezTo>
                    <a:pt x="657" y="455"/>
                    <a:pt x="657" y="455"/>
                    <a:pt x="657" y="455"/>
                  </a:cubicBezTo>
                  <a:cubicBezTo>
                    <a:pt x="657" y="455"/>
                    <a:pt x="657" y="455"/>
                    <a:pt x="657" y="455"/>
                  </a:cubicBezTo>
                  <a:cubicBezTo>
                    <a:pt x="657" y="421"/>
                    <a:pt x="685" y="393"/>
                    <a:pt x="719" y="393"/>
                  </a:cubicBezTo>
                  <a:cubicBezTo>
                    <a:pt x="739" y="393"/>
                    <a:pt x="757" y="402"/>
                    <a:pt x="768" y="417"/>
                  </a:cubicBezTo>
                  <a:cubicBezTo>
                    <a:pt x="779" y="402"/>
                    <a:pt x="797" y="393"/>
                    <a:pt x="817" y="393"/>
                  </a:cubicBezTo>
                  <a:cubicBezTo>
                    <a:pt x="837" y="393"/>
                    <a:pt x="854" y="402"/>
                    <a:pt x="866" y="417"/>
                  </a:cubicBezTo>
                  <a:cubicBezTo>
                    <a:pt x="877" y="402"/>
                    <a:pt x="895" y="393"/>
                    <a:pt x="915" y="393"/>
                  </a:cubicBezTo>
                  <a:cubicBezTo>
                    <a:pt x="947" y="393"/>
                    <a:pt x="973" y="418"/>
                    <a:pt x="976" y="449"/>
                  </a:cubicBezTo>
                  <a:cubicBezTo>
                    <a:pt x="988" y="438"/>
                    <a:pt x="996" y="423"/>
                    <a:pt x="996" y="406"/>
                  </a:cubicBezTo>
                  <a:cubicBezTo>
                    <a:pt x="1071" y="406"/>
                    <a:pt x="1071" y="406"/>
                    <a:pt x="1071" y="406"/>
                  </a:cubicBezTo>
                  <a:cubicBezTo>
                    <a:pt x="1071" y="410"/>
                    <a:pt x="1075" y="413"/>
                    <a:pt x="1079" y="413"/>
                  </a:cubicBezTo>
                  <a:cubicBezTo>
                    <a:pt x="1117" y="413"/>
                    <a:pt x="1117" y="413"/>
                    <a:pt x="1117" y="413"/>
                  </a:cubicBezTo>
                  <a:cubicBezTo>
                    <a:pt x="1121" y="413"/>
                    <a:pt x="1125" y="410"/>
                    <a:pt x="1125" y="405"/>
                  </a:cubicBezTo>
                  <a:cubicBezTo>
                    <a:pt x="1125" y="355"/>
                    <a:pt x="1125" y="355"/>
                    <a:pt x="1125" y="355"/>
                  </a:cubicBezTo>
                  <a:cubicBezTo>
                    <a:pt x="1125" y="351"/>
                    <a:pt x="1121" y="347"/>
                    <a:pt x="1117" y="347"/>
                  </a:cubicBezTo>
                  <a:close/>
                  <a:moveTo>
                    <a:pt x="969" y="368"/>
                  </a:moveTo>
                  <a:cubicBezTo>
                    <a:pt x="157" y="368"/>
                    <a:pt x="157" y="368"/>
                    <a:pt x="157" y="368"/>
                  </a:cubicBezTo>
                  <a:cubicBezTo>
                    <a:pt x="157" y="344"/>
                    <a:pt x="157" y="344"/>
                    <a:pt x="157" y="344"/>
                  </a:cubicBezTo>
                  <a:cubicBezTo>
                    <a:pt x="969" y="344"/>
                    <a:pt x="969" y="344"/>
                    <a:pt x="969" y="344"/>
                  </a:cubicBezTo>
                  <a:lnTo>
                    <a:pt x="969" y="368"/>
                  </a:lnTo>
                  <a:close/>
                  <a:moveTo>
                    <a:pt x="159" y="326"/>
                  </a:moveTo>
                  <a:cubicBezTo>
                    <a:pt x="159" y="120"/>
                    <a:pt x="159" y="120"/>
                    <a:pt x="159" y="120"/>
                  </a:cubicBezTo>
                  <a:cubicBezTo>
                    <a:pt x="210" y="120"/>
                    <a:pt x="210" y="120"/>
                    <a:pt x="210" y="120"/>
                  </a:cubicBezTo>
                  <a:cubicBezTo>
                    <a:pt x="210" y="326"/>
                    <a:pt x="210" y="326"/>
                    <a:pt x="210" y="326"/>
                  </a:cubicBezTo>
                  <a:lnTo>
                    <a:pt x="159" y="326"/>
                  </a:lnTo>
                  <a:close/>
                  <a:moveTo>
                    <a:pt x="915" y="326"/>
                  </a:moveTo>
                  <a:cubicBezTo>
                    <a:pt x="915" y="120"/>
                    <a:pt x="915" y="120"/>
                    <a:pt x="915" y="120"/>
                  </a:cubicBezTo>
                  <a:cubicBezTo>
                    <a:pt x="966" y="120"/>
                    <a:pt x="966" y="120"/>
                    <a:pt x="966" y="120"/>
                  </a:cubicBezTo>
                  <a:cubicBezTo>
                    <a:pt x="966" y="326"/>
                    <a:pt x="966" y="326"/>
                    <a:pt x="966" y="326"/>
                  </a:cubicBezTo>
                  <a:lnTo>
                    <a:pt x="915" y="326"/>
                  </a:lnTo>
                  <a:close/>
                  <a:moveTo>
                    <a:pt x="991" y="85"/>
                  </a:moveTo>
                  <a:cubicBezTo>
                    <a:pt x="915" y="85"/>
                    <a:pt x="915" y="85"/>
                    <a:pt x="915" y="85"/>
                  </a:cubicBezTo>
                  <a:cubicBezTo>
                    <a:pt x="745" y="85"/>
                    <a:pt x="745" y="85"/>
                    <a:pt x="745" y="85"/>
                  </a:cubicBezTo>
                  <a:cubicBezTo>
                    <a:pt x="745" y="340"/>
                    <a:pt x="745" y="340"/>
                    <a:pt x="745" y="340"/>
                  </a:cubicBezTo>
                  <a:cubicBezTo>
                    <a:pt x="729" y="340"/>
                    <a:pt x="729" y="340"/>
                    <a:pt x="729" y="340"/>
                  </a:cubicBezTo>
                  <a:cubicBezTo>
                    <a:pt x="729" y="85"/>
                    <a:pt x="729" y="85"/>
                    <a:pt x="729" y="85"/>
                  </a:cubicBezTo>
                  <a:cubicBezTo>
                    <a:pt x="571" y="85"/>
                    <a:pt x="571" y="85"/>
                    <a:pt x="571" y="85"/>
                  </a:cubicBezTo>
                  <a:cubicBezTo>
                    <a:pt x="571" y="340"/>
                    <a:pt x="571" y="340"/>
                    <a:pt x="571" y="340"/>
                  </a:cubicBezTo>
                  <a:cubicBezTo>
                    <a:pt x="555" y="340"/>
                    <a:pt x="555" y="340"/>
                    <a:pt x="555" y="340"/>
                  </a:cubicBezTo>
                  <a:cubicBezTo>
                    <a:pt x="555" y="85"/>
                    <a:pt x="555" y="85"/>
                    <a:pt x="555" y="85"/>
                  </a:cubicBezTo>
                  <a:cubicBezTo>
                    <a:pt x="396" y="85"/>
                    <a:pt x="396" y="85"/>
                    <a:pt x="396" y="85"/>
                  </a:cubicBezTo>
                  <a:cubicBezTo>
                    <a:pt x="396" y="340"/>
                    <a:pt x="396" y="340"/>
                    <a:pt x="396" y="340"/>
                  </a:cubicBezTo>
                  <a:cubicBezTo>
                    <a:pt x="380" y="340"/>
                    <a:pt x="380" y="340"/>
                    <a:pt x="380" y="340"/>
                  </a:cubicBezTo>
                  <a:cubicBezTo>
                    <a:pt x="380" y="85"/>
                    <a:pt x="380" y="85"/>
                    <a:pt x="380" y="85"/>
                  </a:cubicBezTo>
                  <a:cubicBezTo>
                    <a:pt x="210" y="85"/>
                    <a:pt x="210" y="85"/>
                    <a:pt x="210" y="85"/>
                  </a:cubicBezTo>
                  <a:cubicBezTo>
                    <a:pt x="134" y="85"/>
                    <a:pt x="134" y="85"/>
                    <a:pt x="134" y="85"/>
                  </a:cubicBezTo>
                  <a:cubicBezTo>
                    <a:pt x="130" y="85"/>
                    <a:pt x="126" y="82"/>
                    <a:pt x="126" y="77"/>
                  </a:cubicBezTo>
                  <a:cubicBezTo>
                    <a:pt x="126" y="73"/>
                    <a:pt x="130" y="69"/>
                    <a:pt x="134" y="69"/>
                  </a:cubicBezTo>
                  <a:cubicBezTo>
                    <a:pt x="210" y="69"/>
                    <a:pt x="210" y="69"/>
                    <a:pt x="210" y="69"/>
                  </a:cubicBezTo>
                  <a:cubicBezTo>
                    <a:pt x="915" y="69"/>
                    <a:pt x="915" y="69"/>
                    <a:pt x="915" y="69"/>
                  </a:cubicBezTo>
                  <a:cubicBezTo>
                    <a:pt x="991" y="69"/>
                    <a:pt x="991" y="69"/>
                    <a:pt x="991" y="69"/>
                  </a:cubicBezTo>
                  <a:cubicBezTo>
                    <a:pt x="995" y="69"/>
                    <a:pt x="999" y="73"/>
                    <a:pt x="999" y="77"/>
                  </a:cubicBezTo>
                  <a:cubicBezTo>
                    <a:pt x="999" y="82"/>
                    <a:pt x="995" y="85"/>
                    <a:pt x="991" y="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62" name="Freeform 247"/>
            <p:cNvSpPr>
              <a:spLocks noEditPoints="1"/>
            </p:cNvSpPr>
            <p:nvPr userDrawn="1"/>
          </p:nvSpPr>
          <p:spPr bwMode="auto">
            <a:xfrm>
              <a:off x="1746" y="2509"/>
              <a:ext cx="38" cy="38"/>
            </a:xfrm>
            <a:custGeom>
              <a:avLst/>
              <a:gdLst>
                <a:gd name="T0" fmla="*/ 42 w 84"/>
                <a:gd name="T1" fmla="*/ 0 h 84"/>
                <a:gd name="T2" fmla="*/ 0 w 84"/>
                <a:gd name="T3" fmla="*/ 42 h 84"/>
                <a:gd name="T4" fmla="*/ 42 w 84"/>
                <a:gd name="T5" fmla="*/ 84 h 84"/>
                <a:gd name="T6" fmla="*/ 84 w 84"/>
                <a:gd name="T7" fmla="*/ 42 h 84"/>
                <a:gd name="T8" fmla="*/ 42 w 84"/>
                <a:gd name="T9" fmla="*/ 0 h 84"/>
                <a:gd name="T10" fmla="*/ 42 w 84"/>
                <a:gd name="T11" fmla="*/ 71 h 84"/>
                <a:gd name="T12" fmla="*/ 13 w 84"/>
                <a:gd name="T13" fmla="*/ 42 h 84"/>
                <a:gd name="T14" fmla="*/ 42 w 84"/>
                <a:gd name="T15" fmla="*/ 12 h 84"/>
                <a:gd name="T16" fmla="*/ 72 w 84"/>
                <a:gd name="T17" fmla="*/ 42 h 84"/>
                <a:gd name="T18" fmla="*/ 42 w 84"/>
                <a:gd name="T19" fmla="*/ 71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65"/>
                    <a:pt x="19" y="84"/>
                    <a:pt x="42" y="84"/>
                  </a:cubicBezTo>
                  <a:cubicBezTo>
                    <a:pt x="65" y="84"/>
                    <a:pt x="84" y="65"/>
                    <a:pt x="84" y="42"/>
                  </a:cubicBezTo>
                  <a:cubicBezTo>
                    <a:pt x="84" y="19"/>
                    <a:pt x="65" y="0"/>
                    <a:pt x="42" y="0"/>
                  </a:cubicBezTo>
                  <a:close/>
                  <a:moveTo>
                    <a:pt x="42" y="71"/>
                  </a:moveTo>
                  <a:cubicBezTo>
                    <a:pt x="26" y="71"/>
                    <a:pt x="13" y="58"/>
                    <a:pt x="13" y="42"/>
                  </a:cubicBezTo>
                  <a:cubicBezTo>
                    <a:pt x="13" y="26"/>
                    <a:pt x="26" y="12"/>
                    <a:pt x="42" y="12"/>
                  </a:cubicBezTo>
                  <a:cubicBezTo>
                    <a:pt x="59" y="12"/>
                    <a:pt x="72" y="26"/>
                    <a:pt x="72" y="42"/>
                  </a:cubicBezTo>
                  <a:cubicBezTo>
                    <a:pt x="72" y="58"/>
                    <a:pt x="59" y="71"/>
                    <a:pt x="42" y="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63" name="Oval 248"/>
            <p:cNvSpPr>
              <a:spLocks noChangeArrowheads="1"/>
            </p:cNvSpPr>
            <p:nvPr userDrawn="1"/>
          </p:nvSpPr>
          <p:spPr bwMode="auto">
            <a:xfrm>
              <a:off x="1754" y="2517"/>
              <a:ext cx="22" cy="2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64" name="Freeform 249"/>
            <p:cNvSpPr>
              <a:spLocks noEditPoints="1"/>
            </p:cNvSpPr>
            <p:nvPr userDrawn="1"/>
          </p:nvSpPr>
          <p:spPr bwMode="auto">
            <a:xfrm>
              <a:off x="1702" y="2509"/>
              <a:ext cx="38" cy="38"/>
            </a:xfrm>
            <a:custGeom>
              <a:avLst/>
              <a:gdLst>
                <a:gd name="T0" fmla="*/ 42 w 83"/>
                <a:gd name="T1" fmla="*/ 0 h 84"/>
                <a:gd name="T2" fmla="*/ 0 w 83"/>
                <a:gd name="T3" fmla="*/ 42 h 84"/>
                <a:gd name="T4" fmla="*/ 42 w 83"/>
                <a:gd name="T5" fmla="*/ 84 h 84"/>
                <a:gd name="T6" fmla="*/ 83 w 83"/>
                <a:gd name="T7" fmla="*/ 42 h 84"/>
                <a:gd name="T8" fmla="*/ 42 w 83"/>
                <a:gd name="T9" fmla="*/ 0 h 84"/>
                <a:gd name="T10" fmla="*/ 42 w 83"/>
                <a:gd name="T11" fmla="*/ 71 h 84"/>
                <a:gd name="T12" fmla="*/ 12 w 83"/>
                <a:gd name="T13" fmla="*/ 42 h 84"/>
                <a:gd name="T14" fmla="*/ 42 w 83"/>
                <a:gd name="T15" fmla="*/ 12 h 84"/>
                <a:gd name="T16" fmla="*/ 71 w 83"/>
                <a:gd name="T17" fmla="*/ 42 h 84"/>
                <a:gd name="T18" fmla="*/ 42 w 83"/>
                <a:gd name="T19" fmla="*/ 71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3" h="84">
                  <a:moveTo>
                    <a:pt x="42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65"/>
                    <a:pt x="19" y="84"/>
                    <a:pt x="42" y="84"/>
                  </a:cubicBezTo>
                  <a:cubicBezTo>
                    <a:pt x="65" y="84"/>
                    <a:pt x="83" y="65"/>
                    <a:pt x="83" y="42"/>
                  </a:cubicBezTo>
                  <a:cubicBezTo>
                    <a:pt x="83" y="19"/>
                    <a:pt x="65" y="0"/>
                    <a:pt x="42" y="0"/>
                  </a:cubicBezTo>
                  <a:close/>
                  <a:moveTo>
                    <a:pt x="42" y="71"/>
                  </a:moveTo>
                  <a:cubicBezTo>
                    <a:pt x="25" y="71"/>
                    <a:pt x="12" y="58"/>
                    <a:pt x="12" y="42"/>
                  </a:cubicBezTo>
                  <a:cubicBezTo>
                    <a:pt x="12" y="26"/>
                    <a:pt x="25" y="12"/>
                    <a:pt x="42" y="12"/>
                  </a:cubicBezTo>
                  <a:cubicBezTo>
                    <a:pt x="58" y="12"/>
                    <a:pt x="71" y="26"/>
                    <a:pt x="71" y="42"/>
                  </a:cubicBezTo>
                  <a:cubicBezTo>
                    <a:pt x="71" y="58"/>
                    <a:pt x="58" y="71"/>
                    <a:pt x="42" y="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65" name="Oval 250"/>
            <p:cNvSpPr>
              <a:spLocks noChangeArrowheads="1"/>
            </p:cNvSpPr>
            <p:nvPr userDrawn="1"/>
          </p:nvSpPr>
          <p:spPr bwMode="auto">
            <a:xfrm>
              <a:off x="1711" y="2517"/>
              <a:ext cx="21" cy="2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66" name="Freeform 251"/>
            <p:cNvSpPr>
              <a:spLocks noEditPoints="1"/>
            </p:cNvSpPr>
            <p:nvPr userDrawn="1"/>
          </p:nvSpPr>
          <p:spPr bwMode="auto">
            <a:xfrm>
              <a:off x="1658" y="2509"/>
              <a:ext cx="38" cy="38"/>
            </a:xfrm>
            <a:custGeom>
              <a:avLst/>
              <a:gdLst>
                <a:gd name="T0" fmla="*/ 42 w 84"/>
                <a:gd name="T1" fmla="*/ 0 h 84"/>
                <a:gd name="T2" fmla="*/ 0 w 84"/>
                <a:gd name="T3" fmla="*/ 42 h 84"/>
                <a:gd name="T4" fmla="*/ 42 w 84"/>
                <a:gd name="T5" fmla="*/ 84 h 84"/>
                <a:gd name="T6" fmla="*/ 84 w 84"/>
                <a:gd name="T7" fmla="*/ 42 h 84"/>
                <a:gd name="T8" fmla="*/ 42 w 84"/>
                <a:gd name="T9" fmla="*/ 0 h 84"/>
                <a:gd name="T10" fmla="*/ 42 w 84"/>
                <a:gd name="T11" fmla="*/ 71 h 84"/>
                <a:gd name="T12" fmla="*/ 12 w 84"/>
                <a:gd name="T13" fmla="*/ 42 h 84"/>
                <a:gd name="T14" fmla="*/ 42 w 84"/>
                <a:gd name="T15" fmla="*/ 12 h 84"/>
                <a:gd name="T16" fmla="*/ 71 w 84"/>
                <a:gd name="T17" fmla="*/ 42 h 84"/>
                <a:gd name="T18" fmla="*/ 42 w 84"/>
                <a:gd name="T19" fmla="*/ 71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65"/>
                    <a:pt x="19" y="84"/>
                    <a:pt x="42" y="84"/>
                  </a:cubicBezTo>
                  <a:cubicBezTo>
                    <a:pt x="65" y="84"/>
                    <a:pt x="84" y="65"/>
                    <a:pt x="84" y="42"/>
                  </a:cubicBezTo>
                  <a:cubicBezTo>
                    <a:pt x="84" y="19"/>
                    <a:pt x="65" y="0"/>
                    <a:pt x="42" y="0"/>
                  </a:cubicBezTo>
                  <a:close/>
                  <a:moveTo>
                    <a:pt x="42" y="71"/>
                  </a:moveTo>
                  <a:cubicBezTo>
                    <a:pt x="26" y="71"/>
                    <a:pt x="12" y="58"/>
                    <a:pt x="12" y="42"/>
                  </a:cubicBezTo>
                  <a:cubicBezTo>
                    <a:pt x="12" y="26"/>
                    <a:pt x="26" y="12"/>
                    <a:pt x="42" y="12"/>
                  </a:cubicBezTo>
                  <a:cubicBezTo>
                    <a:pt x="58" y="12"/>
                    <a:pt x="71" y="26"/>
                    <a:pt x="71" y="42"/>
                  </a:cubicBezTo>
                  <a:cubicBezTo>
                    <a:pt x="71" y="58"/>
                    <a:pt x="58" y="71"/>
                    <a:pt x="42" y="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67" name="Oval 252"/>
            <p:cNvSpPr>
              <a:spLocks noChangeArrowheads="1"/>
            </p:cNvSpPr>
            <p:nvPr userDrawn="1"/>
          </p:nvSpPr>
          <p:spPr bwMode="auto">
            <a:xfrm>
              <a:off x="1666" y="2517"/>
              <a:ext cx="22" cy="2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68" name="Freeform 253"/>
            <p:cNvSpPr>
              <a:spLocks noEditPoints="1"/>
            </p:cNvSpPr>
            <p:nvPr userDrawn="1"/>
          </p:nvSpPr>
          <p:spPr bwMode="auto">
            <a:xfrm>
              <a:off x="1521" y="2509"/>
              <a:ext cx="38" cy="38"/>
            </a:xfrm>
            <a:custGeom>
              <a:avLst/>
              <a:gdLst>
                <a:gd name="T0" fmla="*/ 42 w 84"/>
                <a:gd name="T1" fmla="*/ 0 h 84"/>
                <a:gd name="T2" fmla="*/ 0 w 84"/>
                <a:gd name="T3" fmla="*/ 42 h 84"/>
                <a:gd name="T4" fmla="*/ 42 w 84"/>
                <a:gd name="T5" fmla="*/ 84 h 84"/>
                <a:gd name="T6" fmla="*/ 84 w 84"/>
                <a:gd name="T7" fmla="*/ 42 h 84"/>
                <a:gd name="T8" fmla="*/ 42 w 84"/>
                <a:gd name="T9" fmla="*/ 0 h 84"/>
                <a:gd name="T10" fmla="*/ 42 w 84"/>
                <a:gd name="T11" fmla="*/ 71 h 84"/>
                <a:gd name="T12" fmla="*/ 13 w 84"/>
                <a:gd name="T13" fmla="*/ 42 h 84"/>
                <a:gd name="T14" fmla="*/ 42 w 84"/>
                <a:gd name="T15" fmla="*/ 12 h 84"/>
                <a:gd name="T16" fmla="*/ 72 w 84"/>
                <a:gd name="T17" fmla="*/ 42 h 84"/>
                <a:gd name="T18" fmla="*/ 42 w 84"/>
                <a:gd name="T19" fmla="*/ 71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65"/>
                    <a:pt x="19" y="84"/>
                    <a:pt x="42" y="84"/>
                  </a:cubicBezTo>
                  <a:cubicBezTo>
                    <a:pt x="65" y="84"/>
                    <a:pt x="84" y="65"/>
                    <a:pt x="84" y="42"/>
                  </a:cubicBezTo>
                  <a:cubicBezTo>
                    <a:pt x="84" y="19"/>
                    <a:pt x="65" y="0"/>
                    <a:pt x="42" y="0"/>
                  </a:cubicBezTo>
                  <a:close/>
                  <a:moveTo>
                    <a:pt x="42" y="71"/>
                  </a:moveTo>
                  <a:cubicBezTo>
                    <a:pt x="26" y="71"/>
                    <a:pt x="13" y="58"/>
                    <a:pt x="13" y="42"/>
                  </a:cubicBezTo>
                  <a:cubicBezTo>
                    <a:pt x="13" y="26"/>
                    <a:pt x="26" y="12"/>
                    <a:pt x="42" y="12"/>
                  </a:cubicBezTo>
                  <a:cubicBezTo>
                    <a:pt x="59" y="12"/>
                    <a:pt x="72" y="26"/>
                    <a:pt x="72" y="42"/>
                  </a:cubicBezTo>
                  <a:cubicBezTo>
                    <a:pt x="72" y="58"/>
                    <a:pt x="59" y="71"/>
                    <a:pt x="42" y="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69" name="Oval 254"/>
            <p:cNvSpPr>
              <a:spLocks noChangeArrowheads="1"/>
            </p:cNvSpPr>
            <p:nvPr userDrawn="1"/>
          </p:nvSpPr>
          <p:spPr bwMode="auto">
            <a:xfrm>
              <a:off x="1530" y="2517"/>
              <a:ext cx="21" cy="2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0" name="Freeform 255"/>
            <p:cNvSpPr>
              <a:spLocks noEditPoints="1"/>
            </p:cNvSpPr>
            <p:nvPr userDrawn="1"/>
          </p:nvSpPr>
          <p:spPr bwMode="auto">
            <a:xfrm>
              <a:off x="1478" y="2509"/>
              <a:ext cx="37" cy="38"/>
            </a:xfrm>
            <a:custGeom>
              <a:avLst/>
              <a:gdLst>
                <a:gd name="T0" fmla="*/ 42 w 83"/>
                <a:gd name="T1" fmla="*/ 0 h 84"/>
                <a:gd name="T2" fmla="*/ 0 w 83"/>
                <a:gd name="T3" fmla="*/ 42 h 84"/>
                <a:gd name="T4" fmla="*/ 42 w 83"/>
                <a:gd name="T5" fmla="*/ 84 h 84"/>
                <a:gd name="T6" fmla="*/ 83 w 83"/>
                <a:gd name="T7" fmla="*/ 42 h 84"/>
                <a:gd name="T8" fmla="*/ 42 w 83"/>
                <a:gd name="T9" fmla="*/ 0 h 84"/>
                <a:gd name="T10" fmla="*/ 42 w 83"/>
                <a:gd name="T11" fmla="*/ 71 h 84"/>
                <a:gd name="T12" fmla="*/ 12 w 83"/>
                <a:gd name="T13" fmla="*/ 42 h 84"/>
                <a:gd name="T14" fmla="*/ 42 w 83"/>
                <a:gd name="T15" fmla="*/ 12 h 84"/>
                <a:gd name="T16" fmla="*/ 71 w 83"/>
                <a:gd name="T17" fmla="*/ 42 h 84"/>
                <a:gd name="T18" fmla="*/ 42 w 83"/>
                <a:gd name="T19" fmla="*/ 71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3" h="84">
                  <a:moveTo>
                    <a:pt x="42" y="0"/>
                  </a:moveTo>
                  <a:cubicBezTo>
                    <a:pt x="18" y="0"/>
                    <a:pt x="0" y="19"/>
                    <a:pt x="0" y="42"/>
                  </a:cubicBezTo>
                  <a:cubicBezTo>
                    <a:pt x="0" y="65"/>
                    <a:pt x="18" y="84"/>
                    <a:pt x="42" y="84"/>
                  </a:cubicBezTo>
                  <a:cubicBezTo>
                    <a:pt x="65" y="84"/>
                    <a:pt x="83" y="65"/>
                    <a:pt x="83" y="42"/>
                  </a:cubicBezTo>
                  <a:cubicBezTo>
                    <a:pt x="83" y="19"/>
                    <a:pt x="65" y="0"/>
                    <a:pt x="42" y="0"/>
                  </a:cubicBezTo>
                  <a:close/>
                  <a:moveTo>
                    <a:pt x="42" y="71"/>
                  </a:moveTo>
                  <a:cubicBezTo>
                    <a:pt x="25" y="71"/>
                    <a:pt x="12" y="58"/>
                    <a:pt x="12" y="42"/>
                  </a:cubicBezTo>
                  <a:cubicBezTo>
                    <a:pt x="12" y="26"/>
                    <a:pt x="25" y="12"/>
                    <a:pt x="42" y="12"/>
                  </a:cubicBezTo>
                  <a:cubicBezTo>
                    <a:pt x="58" y="12"/>
                    <a:pt x="71" y="26"/>
                    <a:pt x="71" y="42"/>
                  </a:cubicBezTo>
                  <a:cubicBezTo>
                    <a:pt x="71" y="58"/>
                    <a:pt x="58" y="71"/>
                    <a:pt x="42" y="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1" name="Oval 256"/>
            <p:cNvSpPr>
              <a:spLocks noChangeArrowheads="1"/>
            </p:cNvSpPr>
            <p:nvPr userDrawn="1"/>
          </p:nvSpPr>
          <p:spPr bwMode="auto">
            <a:xfrm>
              <a:off x="1486" y="2517"/>
              <a:ext cx="21" cy="2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2" name="Freeform 257"/>
            <p:cNvSpPr>
              <a:spLocks noEditPoints="1"/>
            </p:cNvSpPr>
            <p:nvPr userDrawn="1"/>
          </p:nvSpPr>
          <p:spPr bwMode="auto">
            <a:xfrm>
              <a:off x="1434" y="2509"/>
              <a:ext cx="37" cy="38"/>
            </a:xfrm>
            <a:custGeom>
              <a:avLst/>
              <a:gdLst>
                <a:gd name="T0" fmla="*/ 42 w 84"/>
                <a:gd name="T1" fmla="*/ 0 h 84"/>
                <a:gd name="T2" fmla="*/ 0 w 84"/>
                <a:gd name="T3" fmla="*/ 42 h 84"/>
                <a:gd name="T4" fmla="*/ 42 w 84"/>
                <a:gd name="T5" fmla="*/ 84 h 84"/>
                <a:gd name="T6" fmla="*/ 84 w 84"/>
                <a:gd name="T7" fmla="*/ 42 h 84"/>
                <a:gd name="T8" fmla="*/ 42 w 84"/>
                <a:gd name="T9" fmla="*/ 0 h 84"/>
                <a:gd name="T10" fmla="*/ 42 w 84"/>
                <a:gd name="T11" fmla="*/ 71 h 84"/>
                <a:gd name="T12" fmla="*/ 12 w 84"/>
                <a:gd name="T13" fmla="*/ 42 h 84"/>
                <a:gd name="T14" fmla="*/ 42 w 84"/>
                <a:gd name="T15" fmla="*/ 12 h 84"/>
                <a:gd name="T16" fmla="*/ 71 w 84"/>
                <a:gd name="T17" fmla="*/ 42 h 84"/>
                <a:gd name="T18" fmla="*/ 42 w 84"/>
                <a:gd name="T19" fmla="*/ 71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65"/>
                    <a:pt x="19" y="84"/>
                    <a:pt x="42" y="84"/>
                  </a:cubicBezTo>
                  <a:cubicBezTo>
                    <a:pt x="65" y="84"/>
                    <a:pt x="84" y="65"/>
                    <a:pt x="84" y="42"/>
                  </a:cubicBezTo>
                  <a:cubicBezTo>
                    <a:pt x="84" y="19"/>
                    <a:pt x="65" y="0"/>
                    <a:pt x="42" y="0"/>
                  </a:cubicBezTo>
                  <a:close/>
                  <a:moveTo>
                    <a:pt x="42" y="71"/>
                  </a:moveTo>
                  <a:cubicBezTo>
                    <a:pt x="26" y="71"/>
                    <a:pt x="12" y="58"/>
                    <a:pt x="12" y="42"/>
                  </a:cubicBezTo>
                  <a:cubicBezTo>
                    <a:pt x="12" y="26"/>
                    <a:pt x="26" y="12"/>
                    <a:pt x="42" y="12"/>
                  </a:cubicBezTo>
                  <a:cubicBezTo>
                    <a:pt x="58" y="12"/>
                    <a:pt x="71" y="26"/>
                    <a:pt x="71" y="42"/>
                  </a:cubicBezTo>
                  <a:cubicBezTo>
                    <a:pt x="71" y="58"/>
                    <a:pt x="58" y="71"/>
                    <a:pt x="42" y="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3" name="Oval 258"/>
            <p:cNvSpPr>
              <a:spLocks noChangeArrowheads="1"/>
            </p:cNvSpPr>
            <p:nvPr userDrawn="1"/>
          </p:nvSpPr>
          <p:spPr bwMode="auto">
            <a:xfrm>
              <a:off x="1442" y="2517"/>
              <a:ext cx="21" cy="2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4" name="Freeform 259"/>
            <p:cNvSpPr>
              <a:spLocks/>
            </p:cNvSpPr>
            <p:nvPr userDrawn="1"/>
          </p:nvSpPr>
          <p:spPr bwMode="auto">
            <a:xfrm>
              <a:off x="1353" y="2473"/>
              <a:ext cx="507" cy="55"/>
            </a:xfrm>
            <a:custGeom>
              <a:avLst/>
              <a:gdLst>
                <a:gd name="T0" fmla="*/ 1117 w 1125"/>
                <a:gd name="T1" fmla="*/ 13 h 121"/>
                <a:gd name="T2" fmla="*/ 1079 w 1125"/>
                <a:gd name="T3" fmla="*/ 13 h 121"/>
                <a:gd name="T4" fmla="*/ 1071 w 1125"/>
                <a:gd name="T5" fmla="*/ 21 h 121"/>
                <a:gd name="T6" fmla="*/ 1008 w 1125"/>
                <a:gd name="T7" fmla="*/ 21 h 121"/>
                <a:gd name="T8" fmla="*/ 1016 w 1125"/>
                <a:gd name="T9" fmla="*/ 9 h 121"/>
                <a:gd name="T10" fmla="*/ 828 w 1125"/>
                <a:gd name="T11" fmla="*/ 9 h 121"/>
                <a:gd name="T12" fmla="*/ 828 w 1125"/>
                <a:gd name="T13" fmla="*/ 0 h 121"/>
                <a:gd name="T14" fmla="*/ 610 w 1125"/>
                <a:gd name="T15" fmla="*/ 0 h 121"/>
                <a:gd name="T16" fmla="*/ 610 w 1125"/>
                <a:gd name="T17" fmla="*/ 9 h 121"/>
                <a:gd name="T18" fmla="*/ 528 w 1125"/>
                <a:gd name="T19" fmla="*/ 9 h 121"/>
                <a:gd name="T20" fmla="*/ 528 w 1125"/>
                <a:gd name="T21" fmla="*/ 0 h 121"/>
                <a:gd name="T22" fmla="*/ 309 w 1125"/>
                <a:gd name="T23" fmla="*/ 0 h 121"/>
                <a:gd name="T24" fmla="*/ 309 w 1125"/>
                <a:gd name="T25" fmla="*/ 9 h 121"/>
                <a:gd name="T26" fmla="*/ 109 w 1125"/>
                <a:gd name="T27" fmla="*/ 9 h 121"/>
                <a:gd name="T28" fmla="*/ 117 w 1125"/>
                <a:gd name="T29" fmla="*/ 21 h 121"/>
                <a:gd name="T30" fmla="*/ 54 w 1125"/>
                <a:gd name="T31" fmla="*/ 21 h 121"/>
                <a:gd name="T32" fmla="*/ 46 w 1125"/>
                <a:gd name="T33" fmla="*/ 13 h 121"/>
                <a:gd name="T34" fmla="*/ 8 w 1125"/>
                <a:gd name="T35" fmla="*/ 13 h 121"/>
                <a:gd name="T36" fmla="*/ 0 w 1125"/>
                <a:gd name="T37" fmla="*/ 21 h 121"/>
                <a:gd name="T38" fmla="*/ 0 w 1125"/>
                <a:gd name="T39" fmla="*/ 71 h 121"/>
                <a:gd name="T40" fmla="*/ 8 w 1125"/>
                <a:gd name="T41" fmla="*/ 79 h 121"/>
                <a:gd name="T42" fmla="*/ 46 w 1125"/>
                <a:gd name="T43" fmla="*/ 79 h 121"/>
                <a:gd name="T44" fmla="*/ 54 w 1125"/>
                <a:gd name="T45" fmla="*/ 72 h 121"/>
                <a:gd name="T46" fmla="*/ 129 w 1125"/>
                <a:gd name="T47" fmla="*/ 72 h 121"/>
                <a:gd name="T48" fmla="*/ 157 w 1125"/>
                <a:gd name="T49" fmla="*/ 121 h 121"/>
                <a:gd name="T50" fmla="*/ 158 w 1125"/>
                <a:gd name="T51" fmla="*/ 121 h 121"/>
                <a:gd name="T52" fmla="*/ 158 w 1125"/>
                <a:gd name="T53" fmla="*/ 121 h 121"/>
                <a:gd name="T54" fmla="*/ 220 w 1125"/>
                <a:gd name="T55" fmla="*/ 59 h 121"/>
                <a:gd name="T56" fmla="*/ 269 w 1125"/>
                <a:gd name="T57" fmla="*/ 83 h 121"/>
                <a:gd name="T58" fmla="*/ 318 w 1125"/>
                <a:gd name="T59" fmla="*/ 59 h 121"/>
                <a:gd name="T60" fmla="*/ 366 w 1125"/>
                <a:gd name="T61" fmla="*/ 83 h 121"/>
                <a:gd name="T62" fmla="*/ 415 w 1125"/>
                <a:gd name="T63" fmla="*/ 59 h 121"/>
                <a:gd name="T64" fmla="*/ 477 w 1125"/>
                <a:gd name="T65" fmla="*/ 121 h 121"/>
                <a:gd name="T66" fmla="*/ 477 w 1125"/>
                <a:gd name="T67" fmla="*/ 121 h 121"/>
                <a:gd name="T68" fmla="*/ 657 w 1125"/>
                <a:gd name="T69" fmla="*/ 121 h 121"/>
                <a:gd name="T70" fmla="*/ 657 w 1125"/>
                <a:gd name="T71" fmla="*/ 121 h 121"/>
                <a:gd name="T72" fmla="*/ 719 w 1125"/>
                <a:gd name="T73" fmla="*/ 59 h 121"/>
                <a:gd name="T74" fmla="*/ 768 w 1125"/>
                <a:gd name="T75" fmla="*/ 83 h 121"/>
                <a:gd name="T76" fmla="*/ 817 w 1125"/>
                <a:gd name="T77" fmla="*/ 59 h 121"/>
                <a:gd name="T78" fmla="*/ 865 w 1125"/>
                <a:gd name="T79" fmla="*/ 83 h 121"/>
                <a:gd name="T80" fmla="*/ 914 w 1125"/>
                <a:gd name="T81" fmla="*/ 59 h 121"/>
                <a:gd name="T82" fmla="*/ 976 w 1125"/>
                <a:gd name="T83" fmla="*/ 115 h 121"/>
                <a:gd name="T84" fmla="*/ 996 w 1125"/>
                <a:gd name="T85" fmla="*/ 72 h 121"/>
                <a:gd name="T86" fmla="*/ 1071 w 1125"/>
                <a:gd name="T87" fmla="*/ 72 h 121"/>
                <a:gd name="T88" fmla="*/ 1079 w 1125"/>
                <a:gd name="T89" fmla="*/ 79 h 121"/>
                <a:gd name="T90" fmla="*/ 1117 w 1125"/>
                <a:gd name="T91" fmla="*/ 79 h 121"/>
                <a:gd name="T92" fmla="*/ 1125 w 1125"/>
                <a:gd name="T93" fmla="*/ 71 h 121"/>
                <a:gd name="T94" fmla="*/ 1125 w 1125"/>
                <a:gd name="T95" fmla="*/ 21 h 121"/>
                <a:gd name="T96" fmla="*/ 1117 w 1125"/>
                <a:gd name="T97" fmla="*/ 13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125" h="121">
                  <a:moveTo>
                    <a:pt x="1117" y="13"/>
                  </a:moveTo>
                  <a:cubicBezTo>
                    <a:pt x="1079" y="13"/>
                    <a:pt x="1079" y="13"/>
                    <a:pt x="1079" y="13"/>
                  </a:cubicBezTo>
                  <a:cubicBezTo>
                    <a:pt x="1075" y="13"/>
                    <a:pt x="1071" y="17"/>
                    <a:pt x="1071" y="21"/>
                  </a:cubicBezTo>
                  <a:cubicBezTo>
                    <a:pt x="1008" y="21"/>
                    <a:pt x="1008" y="21"/>
                    <a:pt x="1008" y="21"/>
                  </a:cubicBezTo>
                  <a:cubicBezTo>
                    <a:pt x="1011" y="17"/>
                    <a:pt x="1014" y="13"/>
                    <a:pt x="1016" y="9"/>
                  </a:cubicBezTo>
                  <a:cubicBezTo>
                    <a:pt x="828" y="9"/>
                    <a:pt x="828" y="9"/>
                    <a:pt x="828" y="9"/>
                  </a:cubicBezTo>
                  <a:cubicBezTo>
                    <a:pt x="828" y="0"/>
                    <a:pt x="828" y="0"/>
                    <a:pt x="828" y="0"/>
                  </a:cubicBezTo>
                  <a:cubicBezTo>
                    <a:pt x="610" y="0"/>
                    <a:pt x="610" y="0"/>
                    <a:pt x="610" y="0"/>
                  </a:cubicBezTo>
                  <a:cubicBezTo>
                    <a:pt x="610" y="9"/>
                    <a:pt x="610" y="9"/>
                    <a:pt x="610" y="9"/>
                  </a:cubicBezTo>
                  <a:cubicBezTo>
                    <a:pt x="528" y="9"/>
                    <a:pt x="528" y="9"/>
                    <a:pt x="528" y="9"/>
                  </a:cubicBezTo>
                  <a:cubicBezTo>
                    <a:pt x="528" y="0"/>
                    <a:pt x="528" y="0"/>
                    <a:pt x="528" y="0"/>
                  </a:cubicBezTo>
                  <a:cubicBezTo>
                    <a:pt x="309" y="0"/>
                    <a:pt x="309" y="0"/>
                    <a:pt x="309" y="0"/>
                  </a:cubicBezTo>
                  <a:cubicBezTo>
                    <a:pt x="309" y="9"/>
                    <a:pt x="309" y="9"/>
                    <a:pt x="309" y="9"/>
                  </a:cubicBezTo>
                  <a:cubicBezTo>
                    <a:pt x="109" y="9"/>
                    <a:pt x="109" y="9"/>
                    <a:pt x="109" y="9"/>
                  </a:cubicBezTo>
                  <a:cubicBezTo>
                    <a:pt x="111" y="13"/>
                    <a:pt x="114" y="17"/>
                    <a:pt x="117" y="21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53" y="17"/>
                    <a:pt x="50" y="13"/>
                    <a:pt x="46" y="13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3" y="13"/>
                    <a:pt x="0" y="17"/>
                    <a:pt x="0" y="21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76"/>
                    <a:pt x="3" y="79"/>
                    <a:pt x="8" y="79"/>
                  </a:cubicBezTo>
                  <a:cubicBezTo>
                    <a:pt x="46" y="79"/>
                    <a:pt x="46" y="79"/>
                    <a:pt x="46" y="79"/>
                  </a:cubicBezTo>
                  <a:cubicBezTo>
                    <a:pt x="50" y="79"/>
                    <a:pt x="53" y="76"/>
                    <a:pt x="54" y="72"/>
                  </a:cubicBezTo>
                  <a:cubicBezTo>
                    <a:pt x="129" y="72"/>
                    <a:pt x="129" y="72"/>
                    <a:pt x="129" y="72"/>
                  </a:cubicBezTo>
                  <a:cubicBezTo>
                    <a:pt x="129" y="93"/>
                    <a:pt x="140" y="111"/>
                    <a:pt x="157" y="121"/>
                  </a:cubicBezTo>
                  <a:cubicBezTo>
                    <a:pt x="158" y="121"/>
                    <a:pt x="158" y="121"/>
                    <a:pt x="158" y="121"/>
                  </a:cubicBezTo>
                  <a:cubicBezTo>
                    <a:pt x="158" y="121"/>
                    <a:pt x="158" y="121"/>
                    <a:pt x="158" y="121"/>
                  </a:cubicBezTo>
                  <a:cubicBezTo>
                    <a:pt x="158" y="87"/>
                    <a:pt x="186" y="59"/>
                    <a:pt x="220" y="59"/>
                  </a:cubicBezTo>
                  <a:cubicBezTo>
                    <a:pt x="240" y="59"/>
                    <a:pt x="257" y="68"/>
                    <a:pt x="269" y="83"/>
                  </a:cubicBezTo>
                  <a:cubicBezTo>
                    <a:pt x="280" y="68"/>
                    <a:pt x="298" y="59"/>
                    <a:pt x="318" y="59"/>
                  </a:cubicBezTo>
                  <a:cubicBezTo>
                    <a:pt x="337" y="59"/>
                    <a:pt x="355" y="68"/>
                    <a:pt x="366" y="83"/>
                  </a:cubicBezTo>
                  <a:cubicBezTo>
                    <a:pt x="378" y="68"/>
                    <a:pt x="395" y="59"/>
                    <a:pt x="415" y="59"/>
                  </a:cubicBezTo>
                  <a:cubicBezTo>
                    <a:pt x="449" y="59"/>
                    <a:pt x="477" y="87"/>
                    <a:pt x="477" y="121"/>
                  </a:cubicBezTo>
                  <a:cubicBezTo>
                    <a:pt x="477" y="121"/>
                    <a:pt x="477" y="121"/>
                    <a:pt x="477" y="121"/>
                  </a:cubicBezTo>
                  <a:cubicBezTo>
                    <a:pt x="657" y="121"/>
                    <a:pt x="657" y="121"/>
                    <a:pt x="657" y="121"/>
                  </a:cubicBezTo>
                  <a:cubicBezTo>
                    <a:pt x="657" y="121"/>
                    <a:pt x="657" y="121"/>
                    <a:pt x="657" y="121"/>
                  </a:cubicBezTo>
                  <a:cubicBezTo>
                    <a:pt x="657" y="87"/>
                    <a:pt x="685" y="59"/>
                    <a:pt x="719" y="59"/>
                  </a:cubicBezTo>
                  <a:cubicBezTo>
                    <a:pt x="739" y="59"/>
                    <a:pt x="756" y="68"/>
                    <a:pt x="768" y="83"/>
                  </a:cubicBezTo>
                  <a:cubicBezTo>
                    <a:pt x="779" y="68"/>
                    <a:pt x="797" y="59"/>
                    <a:pt x="817" y="59"/>
                  </a:cubicBezTo>
                  <a:cubicBezTo>
                    <a:pt x="836" y="59"/>
                    <a:pt x="854" y="68"/>
                    <a:pt x="865" y="83"/>
                  </a:cubicBezTo>
                  <a:cubicBezTo>
                    <a:pt x="877" y="68"/>
                    <a:pt x="894" y="59"/>
                    <a:pt x="914" y="59"/>
                  </a:cubicBezTo>
                  <a:cubicBezTo>
                    <a:pt x="946" y="59"/>
                    <a:pt x="973" y="84"/>
                    <a:pt x="976" y="115"/>
                  </a:cubicBezTo>
                  <a:cubicBezTo>
                    <a:pt x="988" y="104"/>
                    <a:pt x="996" y="89"/>
                    <a:pt x="996" y="72"/>
                  </a:cubicBezTo>
                  <a:cubicBezTo>
                    <a:pt x="1071" y="72"/>
                    <a:pt x="1071" y="72"/>
                    <a:pt x="1071" y="72"/>
                  </a:cubicBezTo>
                  <a:cubicBezTo>
                    <a:pt x="1071" y="76"/>
                    <a:pt x="1075" y="79"/>
                    <a:pt x="1079" y="79"/>
                  </a:cubicBezTo>
                  <a:cubicBezTo>
                    <a:pt x="1117" y="79"/>
                    <a:pt x="1117" y="79"/>
                    <a:pt x="1117" y="79"/>
                  </a:cubicBezTo>
                  <a:cubicBezTo>
                    <a:pt x="1121" y="79"/>
                    <a:pt x="1125" y="76"/>
                    <a:pt x="1125" y="71"/>
                  </a:cubicBezTo>
                  <a:cubicBezTo>
                    <a:pt x="1125" y="21"/>
                    <a:pt x="1125" y="21"/>
                    <a:pt x="1125" y="21"/>
                  </a:cubicBezTo>
                  <a:cubicBezTo>
                    <a:pt x="1125" y="17"/>
                    <a:pt x="1121" y="13"/>
                    <a:pt x="1117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5" name="Freeform 260"/>
            <p:cNvSpPr>
              <a:spLocks/>
            </p:cNvSpPr>
            <p:nvPr userDrawn="1"/>
          </p:nvSpPr>
          <p:spPr bwMode="auto">
            <a:xfrm>
              <a:off x="1573" y="2325"/>
              <a:ext cx="67" cy="7"/>
            </a:xfrm>
            <a:custGeom>
              <a:avLst/>
              <a:gdLst>
                <a:gd name="T0" fmla="*/ 118 w 148"/>
                <a:gd name="T1" fmla="*/ 0 h 16"/>
                <a:gd name="T2" fmla="*/ 30 w 148"/>
                <a:gd name="T3" fmla="*/ 0 h 16"/>
                <a:gd name="T4" fmla="*/ 0 w 148"/>
                <a:gd name="T5" fmla="*/ 16 h 16"/>
                <a:gd name="T6" fmla="*/ 148 w 148"/>
                <a:gd name="T7" fmla="*/ 16 h 16"/>
                <a:gd name="T8" fmla="*/ 118 w 148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8" h="16">
                  <a:moveTo>
                    <a:pt x="118" y="0"/>
                  </a:moveTo>
                  <a:cubicBezTo>
                    <a:pt x="30" y="0"/>
                    <a:pt x="30" y="0"/>
                    <a:pt x="30" y="0"/>
                  </a:cubicBezTo>
                  <a:cubicBezTo>
                    <a:pt x="18" y="0"/>
                    <a:pt x="7" y="6"/>
                    <a:pt x="0" y="16"/>
                  </a:cubicBezTo>
                  <a:cubicBezTo>
                    <a:pt x="148" y="16"/>
                    <a:pt x="148" y="16"/>
                    <a:pt x="148" y="16"/>
                  </a:cubicBezTo>
                  <a:cubicBezTo>
                    <a:pt x="142" y="6"/>
                    <a:pt x="131" y="0"/>
                    <a:pt x="11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6" name="Freeform 261"/>
            <p:cNvSpPr>
              <a:spLocks/>
            </p:cNvSpPr>
            <p:nvPr userDrawn="1"/>
          </p:nvSpPr>
          <p:spPr bwMode="auto">
            <a:xfrm>
              <a:off x="1795" y="2344"/>
              <a:ext cx="31" cy="117"/>
            </a:xfrm>
            <a:custGeom>
              <a:avLst/>
              <a:gdLst>
                <a:gd name="T0" fmla="*/ 69 w 69"/>
                <a:gd name="T1" fmla="*/ 130 h 259"/>
                <a:gd name="T2" fmla="*/ 0 w 69"/>
                <a:gd name="T3" fmla="*/ 0 h 259"/>
                <a:gd name="T4" fmla="*/ 0 w 69"/>
                <a:gd name="T5" fmla="*/ 259 h 259"/>
                <a:gd name="T6" fmla="*/ 69 w 69"/>
                <a:gd name="T7" fmla="*/ 130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9" h="259">
                  <a:moveTo>
                    <a:pt x="69" y="130"/>
                  </a:moveTo>
                  <a:cubicBezTo>
                    <a:pt x="69" y="74"/>
                    <a:pt x="41" y="26"/>
                    <a:pt x="0" y="0"/>
                  </a:cubicBezTo>
                  <a:cubicBezTo>
                    <a:pt x="0" y="259"/>
                    <a:pt x="0" y="259"/>
                    <a:pt x="0" y="259"/>
                  </a:cubicBezTo>
                  <a:cubicBezTo>
                    <a:pt x="41" y="234"/>
                    <a:pt x="69" y="186"/>
                    <a:pt x="69" y="1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7" name="Freeform 262"/>
            <p:cNvSpPr>
              <a:spLocks/>
            </p:cNvSpPr>
            <p:nvPr userDrawn="1"/>
          </p:nvSpPr>
          <p:spPr bwMode="auto">
            <a:xfrm>
              <a:off x="1428" y="2336"/>
              <a:ext cx="363" cy="134"/>
            </a:xfrm>
            <a:custGeom>
              <a:avLst/>
              <a:gdLst>
                <a:gd name="T0" fmla="*/ 749 w 805"/>
                <a:gd name="T1" fmla="*/ 296 h 296"/>
                <a:gd name="T2" fmla="*/ 805 w 805"/>
                <a:gd name="T3" fmla="*/ 283 h 296"/>
                <a:gd name="T4" fmla="*/ 805 w 805"/>
                <a:gd name="T5" fmla="*/ 13 h 296"/>
                <a:gd name="T6" fmla="*/ 749 w 805"/>
                <a:gd name="T7" fmla="*/ 0 h 296"/>
                <a:gd name="T8" fmla="*/ 43 w 805"/>
                <a:gd name="T9" fmla="*/ 0 h 296"/>
                <a:gd name="T10" fmla="*/ 0 w 805"/>
                <a:gd name="T11" fmla="*/ 8 h 296"/>
                <a:gd name="T12" fmla="*/ 0 w 805"/>
                <a:gd name="T13" fmla="*/ 288 h 296"/>
                <a:gd name="T14" fmla="*/ 43 w 805"/>
                <a:gd name="T15" fmla="*/ 296 h 296"/>
                <a:gd name="T16" fmla="*/ 749 w 805"/>
                <a:gd name="T17" fmla="*/ 296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05" h="296">
                  <a:moveTo>
                    <a:pt x="749" y="296"/>
                  </a:moveTo>
                  <a:cubicBezTo>
                    <a:pt x="769" y="296"/>
                    <a:pt x="788" y="291"/>
                    <a:pt x="805" y="283"/>
                  </a:cubicBezTo>
                  <a:cubicBezTo>
                    <a:pt x="805" y="13"/>
                    <a:pt x="805" y="13"/>
                    <a:pt x="805" y="13"/>
                  </a:cubicBezTo>
                  <a:cubicBezTo>
                    <a:pt x="788" y="5"/>
                    <a:pt x="769" y="0"/>
                    <a:pt x="749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28" y="0"/>
                    <a:pt x="14" y="3"/>
                    <a:pt x="0" y="8"/>
                  </a:cubicBezTo>
                  <a:cubicBezTo>
                    <a:pt x="0" y="288"/>
                    <a:pt x="0" y="288"/>
                    <a:pt x="0" y="288"/>
                  </a:cubicBezTo>
                  <a:cubicBezTo>
                    <a:pt x="14" y="293"/>
                    <a:pt x="28" y="296"/>
                    <a:pt x="43" y="296"/>
                  </a:cubicBezTo>
                  <a:lnTo>
                    <a:pt x="749" y="2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8" name="Freeform 263"/>
            <p:cNvSpPr>
              <a:spLocks/>
            </p:cNvSpPr>
            <p:nvPr userDrawn="1"/>
          </p:nvSpPr>
          <p:spPr bwMode="auto">
            <a:xfrm>
              <a:off x="1387" y="2341"/>
              <a:ext cx="37" cy="123"/>
            </a:xfrm>
            <a:custGeom>
              <a:avLst/>
              <a:gdLst>
                <a:gd name="T0" fmla="*/ 83 w 83"/>
                <a:gd name="T1" fmla="*/ 273 h 273"/>
                <a:gd name="T2" fmla="*/ 83 w 83"/>
                <a:gd name="T3" fmla="*/ 0 h 273"/>
                <a:gd name="T4" fmla="*/ 0 w 83"/>
                <a:gd name="T5" fmla="*/ 137 h 273"/>
                <a:gd name="T6" fmla="*/ 83 w 83"/>
                <a:gd name="T7" fmla="*/ 273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3" h="273">
                  <a:moveTo>
                    <a:pt x="83" y="273"/>
                  </a:moveTo>
                  <a:cubicBezTo>
                    <a:pt x="83" y="0"/>
                    <a:pt x="83" y="0"/>
                    <a:pt x="83" y="0"/>
                  </a:cubicBezTo>
                  <a:cubicBezTo>
                    <a:pt x="34" y="23"/>
                    <a:pt x="0" y="76"/>
                    <a:pt x="0" y="137"/>
                  </a:cubicBezTo>
                  <a:cubicBezTo>
                    <a:pt x="0" y="198"/>
                    <a:pt x="34" y="251"/>
                    <a:pt x="83" y="27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9" name="Freeform 264"/>
            <p:cNvSpPr>
              <a:spLocks noEditPoints="1"/>
            </p:cNvSpPr>
            <p:nvPr userDrawn="1"/>
          </p:nvSpPr>
          <p:spPr bwMode="auto">
            <a:xfrm>
              <a:off x="1235" y="2509"/>
              <a:ext cx="37" cy="38"/>
            </a:xfrm>
            <a:custGeom>
              <a:avLst/>
              <a:gdLst>
                <a:gd name="T0" fmla="*/ 42 w 83"/>
                <a:gd name="T1" fmla="*/ 0 h 84"/>
                <a:gd name="T2" fmla="*/ 0 w 83"/>
                <a:gd name="T3" fmla="*/ 42 h 84"/>
                <a:gd name="T4" fmla="*/ 42 w 83"/>
                <a:gd name="T5" fmla="*/ 84 h 84"/>
                <a:gd name="T6" fmla="*/ 83 w 83"/>
                <a:gd name="T7" fmla="*/ 42 h 84"/>
                <a:gd name="T8" fmla="*/ 42 w 83"/>
                <a:gd name="T9" fmla="*/ 0 h 84"/>
                <a:gd name="T10" fmla="*/ 42 w 83"/>
                <a:gd name="T11" fmla="*/ 71 h 84"/>
                <a:gd name="T12" fmla="*/ 12 w 83"/>
                <a:gd name="T13" fmla="*/ 42 h 84"/>
                <a:gd name="T14" fmla="*/ 42 w 83"/>
                <a:gd name="T15" fmla="*/ 12 h 84"/>
                <a:gd name="T16" fmla="*/ 71 w 83"/>
                <a:gd name="T17" fmla="*/ 42 h 84"/>
                <a:gd name="T18" fmla="*/ 42 w 83"/>
                <a:gd name="T19" fmla="*/ 71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3" h="84">
                  <a:moveTo>
                    <a:pt x="42" y="0"/>
                  </a:moveTo>
                  <a:cubicBezTo>
                    <a:pt x="18" y="0"/>
                    <a:pt x="0" y="19"/>
                    <a:pt x="0" y="42"/>
                  </a:cubicBezTo>
                  <a:cubicBezTo>
                    <a:pt x="0" y="65"/>
                    <a:pt x="18" y="84"/>
                    <a:pt x="42" y="84"/>
                  </a:cubicBezTo>
                  <a:cubicBezTo>
                    <a:pt x="65" y="84"/>
                    <a:pt x="83" y="65"/>
                    <a:pt x="83" y="42"/>
                  </a:cubicBezTo>
                  <a:cubicBezTo>
                    <a:pt x="83" y="19"/>
                    <a:pt x="65" y="0"/>
                    <a:pt x="42" y="0"/>
                  </a:cubicBezTo>
                  <a:close/>
                  <a:moveTo>
                    <a:pt x="42" y="71"/>
                  </a:moveTo>
                  <a:cubicBezTo>
                    <a:pt x="25" y="71"/>
                    <a:pt x="12" y="58"/>
                    <a:pt x="12" y="42"/>
                  </a:cubicBezTo>
                  <a:cubicBezTo>
                    <a:pt x="12" y="26"/>
                    <a:pt x="25" y="12"/>
                    <a:pt x="42" y="12"/>
                  </a:cubicBezTo>
                  <a:cubicBezTo>
                    <a:pt x="58" y="12"/>
                    <a:pt x="71" y="26"/>
                    <a:pt x="71" y="42"/>
                  </a:cubicBezTo>
                  <a:cubicBezTo>
                    <a:pt x="71" y="58"/>
                    <a:pt x="58" y="71"/>
                    <a:pt x="42" y="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0" name="Oval 265"/>
            <p:cNvSpPr>
              <a:spLocks noChangeArrowheads="1"/>
            </p:cNvSpPr>
            <p:nvPr userDrawn="1"/>
          </p:nvSpPr>
          <p:spPr bwMode="auto">
            <a:xfrm>
              <a:off x="1243" y="2517"/>
              <a:ext cx="21" cy="2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1" name="Freeform 266"/>
            <p:cNvSpPr>
              <a:spLocks noEditPoints="1"/>
            </p:cNvSpPr>
            <p:nvPr userDrawn="1"/>
          </p:nvSpPr>
          <p:spPr bwMode="auto">
            <a:xfrm>
              <a:off x="1190" y="2509"/>
              <a:ext cx="38" cy="38"/>
            </a:xfrm>
            <a:custGeom>
              <a:avLst/>
              <a:gdLst>
                <a:gd name="T0" fmla="*/ 42 w 84"/>
                <a:gd name="T1" fmla="*/ 0 h 84"/>
                <a:gd name="T2" fmla="*/ 0 w 84"/>
                <a:gd name="T3" fmla="*/ 42 h 84"/>
                <a:gd name="T4" fmla="*/ 42 w 84"/>
                <a:gd name="T5" fmla="*/ 84 h 84"/>
                <a:gd name="T6" fmla="*/ 84 w 84"/>
                <a:gd name="T7" fmla="*/ 42 h 84"/>
                <a:gd name="T8" fmla="*/ 42 w 84"/>
                <a:gd name="T9" fmla="*/ 0 h 84"/>
                <a:gd name="T10" fmla="*/ 42 w 84"/>
                <a:gd name="T11" fmla="*/ 71 h 84"/>
                <a:gd name="T12" fmla="*/ 12 w 84"/>
                <a:gd name="T13" fmla="*/ 42 h 84"/>
                <a:gd name="T14" fmla="*/ 42 w 84"/>
                <a:gd name="T15" fmla="*/ 12 h 84"/>
                <a:gd name="T16" fmla="*/ 71 w 84"/>
                <a:gd name="T17" fmla="*/ 42 h 84"/>
                <a:gd name="T18" fmla="*/ 42 w 84"/>
                <a:gd name="T19" fmla="*/ 71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65"/>
                    <a:pt x="19" y="84"/>
                    <a:pt x="42" y="84"/>
                  </a:cubicBezTo>
                  <a:cubicBezTo>
                    <a:pt x="65" y="84"/>
                    <a:pt x="84" y="65"/>
                    <a:pt x="84" y="42"/>
                  </a:cubicBezTo>
                  <a:cubicBezTo>
                    <a:pt x="84" y="19"/>
                    <a:pt x="65" y="0"/>
                    <a:pt x="42" y="0"/>
                  </a:cubicBezTo>
                  <a:close/>
                  <a:moveTo>
                    <a:pt x="42" y="71"/>
                  </a:moveTo>
                  <a:cubicBezTo>
                    <a:pt x="26" y="71"/>
                    <a:pt x="12" y="58"/>
                    <a:pt x="12" y="42"/>
                  </a:cubicBezTo>
                  <a:cubicBezTo>
                    <a:pt x="12" y="26"/>
                    <a:pt x="26" y="12"/>
                    <a:pt x="42" y="12"/>
                  </a:cubicBezTo>
                  <a:cubicBezTo>
                    <a:pt x="58" y="12"/>
                    <a:pt x="71" y="26"/>
                    <a:pt x="71" y="42"/>
                  </a:cubicBezTo>
                  <a:cubicBezTo>
                    <a:pt x="71" y="58"/>
                    <a:pt x="58" y="71"/>
                    <a:pt x="42" y="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2" name="Oval 267"/>
            <p:cNvSpPr>
              <a:spLocks noChangeArrowheads="1"/>
            </p:cNvSpPr>
            <p:nvPr userDrawn="1"/>
          </p:nvSpPr>
          <p:spPr bwMode="auto">
            <a:xfrm>
              <a:off x="1199" y="2517"/>
              <a:ext cx="21" cy="2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3" name="Freeform 268"/>
            <p:cNvSpPr>
              <a:spLocks noEditPoints="1"/>
            </p:cNvSpPr>
            <p:nvPr userDrawn="1"/>
          </p:nvSpPr>
          <p:spPr bwMode="auto">
            <a:xfrm>
              <a:off x="1146" y="2509"/>
              <a:ext cx="38" cy="38"/>
            </a:xfrm>
            <a:custGeom>
              <a:avLst/>
              <a:gdLst>
                <a:gd name="T0" fmla="*/ 42 w 84"/>
                <a:gd name="T1" fmla="*/ 0 h 84"/>
                <a:gd name="T2" fmla="*/ 0 w 84"/>
                <a:gd name="T3" fmla="*/ 42 h 84"/>
                <a:gd name="T4" fmla="*/ 42 w 84"/>
                <a:gd name="T5" fmla="*/ 84 h 84"/>
                <a:gd name="T6" fmla="*/ 84 w 84"/>
                <a:gd name="T7" fmla="*/ 42 h 84"/>
                <a:gd name="T8" fmla="*/ 42 w 84"/>
                <a:gd name="T9" fmla="*/ 0 h 84"/>
                <a:gd name="T10" fmla="*/ 42 w 84"/>
                <a:gd name="T11" fmla="*/ 71 h 84"/>
                <a:gd name="T12" fmla="*/ 13 w 84"/>
                <a:gd name="T13" fmla="*/ 42 h 84"/>
                <a:gd name="T14" fmla="*/ 42 w 84"/>
                <a:gd name="T15" fmla="*/ 12 h 84"/>
                <a:gd name="T16" fmla="*/ 72 w 84"/>
                <a:gd name="T17" fmla="*/ 42 h 84"/>
                <a:gd name="T18" fmla="*/ 42 w 84"/>
                <a:gd name="T19" fmla="*/ 71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65"/>
                    <a:pt x="19" y="84"/>
                    <a:pt x="42" y="84"/>
                  </a:cubicBezTo>
                  <a:cubicBezTo>
                    <a:pt x="65" y="84"/>
                    <a:pt x="84" y="65"/>
                    <a:pt x="84" y="42"/>
                  </a:cubicBezTo>
                  <a:cubicBezTo>
                    <a:pt x="84" y="19"/>
                    <a:pt x="65" y="0"/>
                    <a:pt x="42" y="0"/>
                  </a:cubicBezTo>
                  <a:close/>
                  <a:moveTo>
                    <a:pt x="42" y="71"/>
                  </a:moveTo>
                  <a:cubicBezTo>
                    <a:pt x="26" y="71"/>
                    <a:pt x="13" y="58"/>
                    <a:pt x="13" y="42"/>
                  </a:cubicBezTo>
                  <a:cubicBezTo>
                    <a:pt x="13" y="26"/>
                    <a:pt x="26" y="12"/>
                    <a:pt x="42" y="12"/>
                  </a:cubicBezTo>
                  <a:cubicBezTo>
                    <a:pt x="58" y="12"/>
                    <a:pt x="72" y="26"/>
                    <a:pt x="72" y="42"/>
                  </a:cubicBezTo>
                  <a:cubicBezTo>
                    <a:pt x="72" y="58"/>
                    <a:pt x="58" y="71"/>
                    <a:pt x="42" y="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4" name="Oval 269"/>
            <p:cNvSpPr>
              <a:spLocks noChangeArrowheads="1"/>
            </p:cNvSpPr>
            <p:nvPr userDrawn="1"/>
          </p:nvSpPr>
          <p:spPr bwMode="auto">
            <a:xfrm>
              <a:off x="1154" y="2517"/>
              <a:ext cx="22" cy="2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5" name="Freeform 270"/>
            <p:cNvSpPr>
              <a:spLocks noEditPoints="1"/>
            </p:cNvSpPr>
            <p:nvPr userDrawn="1"/>
          </p:nvSpPr>
          <p:spPr bwMode="auto">
            <a:xfrm>
              <a:off x="1010" y="2509"/>
              <a:ext cx="37" cy="38"/>
            </a:xfrm>
            <a:custGeom>
              <a:avLst/>
              <a:gdLst>
                <a:gd name="T0" fmla="*/ 41 w 83"/>
                <a:gd name="T1" fmla="*/ 0 h 84"/>
                <a:gd name="T2" fmla="*/ 0 w 83"/>
                <a:gd name="T3" fmla="*/ 42 h 84"/>
                <a:gd name="T4" fmla="*/ 41 w 83"/>
                <a:gd name="T5" fmla="*/ 84 h 84"/>
                <a:gd name="T6" fmla="*/ 83 w 83"/>
                <a:gd name="T7" fmla="*/ 42 h 84"/>
                <a:gd name="T8" fmla="*/ 41 w 83"/>
                <a:gd name="T9" fmla="*/ 0 h 84"/>
                <a:gd name="T10" fmla="*/ 41 w 83"/>
                <a:gd name="T11" fmla="*/ 71 h 84"/>
                <a:gd name="T12" fmla="*/ 12 w 83"/>
                <a:gd name="T13" fmla="*/ 42 h 84"/>
                <a:gd name="T14" fmla="*/ 41 w 83"/>
                <a:gd name="T15" fmla="*/ 12 h 84"/>
                <a:gd name="T16" fmla="*/ 71 w 83"/>
                <a:gd name="T17" fmla="*/ 42 h 84"/>
                <a:gd name="T18" fmla="*/ 41 w 83"/>
                <a:gd name="T19" fmla="*/ 71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3" h="84">
                  <a:moveTo>
                    <a:pt x="41" y="0"/>
                  </a:moveTo>
                  <a:cubicBezTo>
                    <a:pt x="18" y="0"/>
                    <a:pt x="0" y="19"/>
                    <a:pt x="0" y="42"/>
                  </a:cubicBezTo>
                  <a:cubicBezTo>
                    <a:pt x="0" y="65"/>
                    <a:pt x="18" y="84"/>
                    <a:pt x="41" y="84"/>
                  </a:cubicBezTo>
                  <a:cubicBezTo>
                    <a:pt x="65" y="84"/>
                    <a:pt x="83" y="65"/>
                    <a:pt x="83" y="42"/>
                  </a:cubicBezTo>
                  <a:cubicBezTo>
                    <a:pt x="83" y="19"/>
                    <a:pt x="65" y="0"/>
                    <a:pt x="41" y="0"/>
                  </a:cubicBezTo>
                  <a:close/>
                  <a:moveTo>
                    <a:pt x="41" y="71"/>
                  </a:moveTo>
                  <a:cubicBezTo>
                    <a:pt x="25" y="71"/>
                    <a:pt x="12" y="58"/>
                    <a:pt x="12" y="42"/>
                  </a:cubicBezTo>
                  <a:cubicBezTo>
                    <a:pt x="12" y="26"/>
                    <a:pt x="25" y="12"/>
                    <a:pt x="41" y="12"/>
                  </a:cubicBezTo>
                  <a:cubicBezTo>
                    <a:pt x="58" y="12"/>
                    <a:pt x="71" y="26"/>
                    <a:pt x="71" y="42"/>
                  </a:cubicBezTo>
                  <a:cubicBezTo>
                    <a:pt x="71" y="58"/>
                    <a:pt x="58" y="71"/>
                    <a:pt x="41" y="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6" name="Oval 271"/>
            <p:cNvSpPr>
              <a:spLocks noChangeArrowheads="1"/>
            </p:cNvSpPr>
            <p:nvPr userDrawn="1"/>
          </p:nvSpPr>
          <p:spPr bwMode="auto">
            <a:xfrm>
              <a:off x="1018" y="2517"/>
              <a:ext cx="21" cy="2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7" name="Freeform 272"/>
            <p:cNvSpPr>
              <a:spLocks noEditPoints="1"/>
            </p:cNvSpPr>
            <p:nvPr userDrawn="1"/>
          </p:nvSpPr>
          <p:spPr bwMode="auto">
            <a:xfrm>
              <a:off x="966" y="2509"/>
              <a:ext cx="38" cy="38"/>
            </a:xfrm>
            <a:custGeom>
              <a:avLst/>
              <a:gdLst>
                <a:gd name="T0" fmla="*/ 42 w 84"/>
                <a:gd name="T1" fmla="*/ 0 h 84"/>
                <a:gd name="T2" fmla="*/ 0 w 84"/>
                <a:gd name="T3" fmla="*/ 42 h 84"/>
                <a:gd name="T4" fmla="*/ 42 w 84"/>
                <a:gd name="T5" fmla="*/ 84 h 84"/>
                <a:gd name="T6" fmla="*/ 84 w 84"/>
                <a:gd name="T7" fmla="*/ 42 h 84"/>
                <a:gd name="T8" fmla="*/ 42 w 84"/>
                <a:gd name="T9" fmla="*/ 0 h 84"/>
                <a:gd name="T10" fmla="*/ 42 w 84"/>
                <a:gd name="T11" fmla="*/ 71 h 84"/>
                <a:gd name="T12" fmla="*/ 12 w 84"/>
                <a:gd name="T13" fmla="*/ 42 h 84"/>
                <a:gd name="T14" fmla="*/ 42 w 84"/>
                <a:gd name="T15" fmla="*/ 12 h 84"/>
                <a:gd name="T16" fmla="*/ 71 w 84"/>
                <a:gd name="T17" fmla="*/ 42 h 84"/>
                <a:gd name="T18" fmla="*/ 42 w 84"/>
                <a:gd name="T19" fmla="*/ 71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65"/>
                    <a:pt x="19" y="84"/>
                    <a:pt x="42" y="84"/>
                  </a:cubicBezTo>
                  <a:cubicBezTo>
                    <a:pt x="65" y="84"/>
                    <a:pt x="84" y="65"/>
                    <a:pt x="84" y="42"/>
                  </a:cubicBezTo>
                  <a:cubicBezTo>
                    <a:pt x="84" y="19"/>
                    <a:pt x="65" y="0"/>
                    <a:pt x="42" y="0"/>
                  </a:cubicBezTo>
                  <a:close/>
                  <a:moveTo>
                    <a:pt x="42" y="71"/>
                  </a:moveTo>
                  <a:cubicBezTo>
                    <a:pt x="25" y="71"/>
                    <a:pt x="12" y="58"/>
                    <a:pt x="12" y="42"/>
                  </a:cubicBezTo>
                  <a:cubicBezTo>
                    <a:pt x="12" y="26"/>
                    <a:pt x="25" y="12"/>
                    <a:pt x="42" y="12"/>
                  </a:cubicBezTo>
                  <a:cubicBezTo>
                    <a:pt x="58" y="12"/>
                    <a:pt x="71" y="26"/>
                    <a:pt x="71" y="42"/>
                  </a:cubicBezTo>
                  <a:cubicBezTo>
                    <a:pt x="71" y="58"/>
                    <a:pt x="58" y="71"/>
                    <a:pt x="42" y="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8" name="Oval 273"/>
            <p:cNvSpPr>
              <a:spLocks noChangeArrowheads="1"/>
            </p:cNvSpPr>
            <p:nvPr userDrawn="1"/>
          </p:nvSpPr>
          <p:spPr bwMode="auto">
            <a:xfrm>
              <a:off x="974" y="2517"/>
              <a:ext cx="21" cy="2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9" name="Freeform 274"/>
            <p:cNvSpPr>
              <a:spLocks noEditPoints="1"/>
            </p:cNvSpPr>
            <p:nvPr userDrawn="1"/>
          </p:nvSpPr>
          <p:spPr bwMode="auto">
            <a:xfrm>
              <a:off x="922" y="2509"/>
              <a:ext cx="37" cy="38"/>
            </a:xfrm>
            <a:custGeom>
              <a:avLst/>
              <a:gdLst>
                <a:gd name="T0" fmla="*/ 42 w 84"/>
                <a:gd name="T1" fmla="*/ 0 h 84"/>
                <a:gd name="T2" fmla="*/ 0 w 84"/>
                <a:gd name="T3" fmla="*/ 42 h 84"/>
                <a:gd name="T4" fmla="*/ 42 w 84"/>
                <a:gd name="T5" fmla="*/ 84 h 84"/>
                <a:gd name="T6" fmla="*/ 84 w 84"/>
                <a:gd name="T7" fmla="*/ 42 h 84"/>
                <a:gd name="T8" fmla="*/ 42 w 84"/>
                <a:gd name="T9" fmla="*/ 0 h 84"/>
                <a:gd name="T10" fmla="*/ 42 w 84"/>
                <a:gd name="T11" fmla="*/ 71 h 84"/>
                <a:gd name="T12" fmla="*/ 13 w 84"/>
                <a:gd name="T13" fmla="*/ 42 h 84"/>
                <a:gd name="T14" fmla="*/ 42 w 84"/>
                <a:gd name="T15" fmla="*/ 12 h 84"/>
                <a:gd name="T16" fmla="*/ 72 w 84"/>
                <a:gd name="T17" fmla="*/ 42 h 84"/>
                <a:gd name="T18" fmla="*/ 42 w 84"/>
                <a:gd name="T19" fmla="*/ 71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65"/>
                    <a:pt x="19" y="84"/>
                    <a:pt x="42" y="84"/>
                  </a:cubicBezTo>
                  <a:cubicBezTo>
                    <a:pt x="65" y="84"/>
                    <a:pt x="84" y="65"/>
                    <a:pt x="84" y="42"/>
                  </a:cubicBezTo>
                  <a:cubicBezTo>
                    <a:pt x="84" y="19"/>
                    <a:pt x="65" y="0"/>
                    <a:pt x="42" y="0"/>
                  </a:cubicBezTo>
                  <a:close/>
                  <a:moveTo>
                    <a:pt x="42" y="71"/>
                  </a:moveTo>
                  <a:cubicBezTo>
                    <a:pt x="26" y="71"/>
                    <a:pt x="13" y="58"/>
                    <a:pt x="13" y="42"/>
                  </a:cubicBezTo>
                  <a:cubicBezTo>
                    <a:pt x="13" y="26"/>
                    <a:pt x="26" y="12"/>
                    <a:pt x="42" y="12"/>
                  </a:cubicBezTo>
                  <a:cubicBezTo>
                    <a:pt x="58" y="12"/>
                    <a:pt x="72" y="26"/>
                    <a:pt x="72" y="42"/>
                  </a:cubicBezTo>
                  <a:cubicBezTo>
                    <a:pt x="72" y="58"/>
                    <a:pt x="58" y="71"/>
                    <a:pt x="42" y="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90" name="Oval 275"/>
            <p:cNvSpPr>
              <a:spLocks noChangeArrowheads="1"/>
            </p:cNvSpPr>
            <p:nvPr userDrawn="1"/>
          </p:nvSpPr>
          <p:spPr bwMode="auto">
            <a:xfrm>
              <a:off x="930" y="2517"/>
              <a:ext cx="21" cy="2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91" name="Freeform 276"/>
            <p:cNvSpPr>
              <a:spLocks/>
            </p:cNvSpPr>
            <p:nvPr userDrawn="1"/>
          </p:nvSpPr>
          <p:spPr bwMode="auto">
            <a:xfrm>
              <a:off x="1045" y="2426"/>
              <a:ext cx="103" cy="52"/>
            </a:xfrm>
            <a:custGeom>
              <a:avLst/>
              <a:gdLst>
                <a:gd name="T0" fmla="*/ 0 w 103"/>
                <a:gd name="T1" fmla="*/ 52 h 52"/>
                <a:gd name="T2" fmla="*/ 103 w 103"/>
                <a:gd name="T3" fmla="*/ 52 h 52"/>
                <a:gd name="T4" fmla="*/ 52 w 103"/>
                <a:gd name="T5" fmla="*/ 0 h 52"/>
                <a:gd name="T6" fmla="*/ 0 w 103"/>
                <a:gd name="T7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3" h="52">
                  <a:moveTo>
                    <a:pt x="0" y="52"/>
                  </a:moveTo>
                  <a:lnTo>
                    <a:pt x="103" y="52"/>
                  </a:lnTo>
                  <a:lnTo>
                    <a:pt x="52" y="0"/>
                  </a:lnTo>
                  <a:lnTo>
                    <a:pt x="0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92" name="Freeform 277"/>
            <p:cNvSpPr>
              <a:spLocks/>
            </p:cNvSpPr>
            <p:nvPr userDrawn="1"/>
          </p:nvSpPr>
          <p:spPr bwMode="auto">
            <a:xfrm>
              <a:off x="1041" y="2361"/>
              <a:ext cx="111" cy="56"/>
            </a:xfrm>
            <a:custGeom>
              <a:avLst/>
              <a:gdLst>
                <a:gd name="T0" fmla="*/ 111 w 111"/>
                <a:gd name="T1" fmla="*/ 0 h 56"/>
                <a:gd name="T2" fmla="*/ 57 w 111"/>
                <a:gd name="T3" fmla="*/ 0 h 56"/>
                <a:gd name="T4" fmla="*/ 50 w 111"/>
                <a:gd name="T5" fmla="*/ 0 h 56"/>
                <a:gd name="T6" fmla="*/ 0 w 111"/>
                <a:gd name="T7" fmla="*/ 0 h 56"/>
                <a:gd name="T8" fmla="*/ 56 w 111"/>
                <a:gd name="T9" fmla="*/ 56 h 56"/>
                <a:gd name="T10" fmla="*/ 111 w 111"/>
                <a:gd name="T11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1" h="56">
                  <a:moveTo>
                    <a:pt x="111" y="0"/>
                  </a:moveTo>
                  <a:lnTo>
                    <a:pt x="57" y="0"/>
                  </a:lnTo>
                  <a:lnTo>
                    <a:pt x="50" y="0"/>
                  </a:lnTo>
                  <a:lnTo>
                    <a:pt x="0" y="0"/>
                  </a:lnTo>
                  <a:lnTo>
                    <a:pt x="56" y="56"/>
                  </a:lnTo>
                  <a:lnTo>
                    <a:pt x="11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93" name="Freeform 278"/>
            <p:cNvSpPr>
              <a:spLocks/>
            </p:cNvSpPr>
            <p:nvPr userDrawn="1"/>
          </p:nvSpPr>
          <p:spPr bwMode="auto">
            <a:xfrm>
              <a:off x="1101" y="2365"/>
              <a:ext cx="57" cy="113"/>
            </a:xfrm>
            <a:custGeom>
              <a:avLst/>
              <a:gdLst>
                <a:gd name="T0" fmla="*/ 56 w 57"/>
                <a:gd name="T1" fmla="*/ 113 h 113"/>
                <a:gd name="T2" fmla="*/ 57 w 57"/>
                <a:gd name="T3" fmla="*/ 113 h 113"/>
                <a:gd name="T4" fmla="*/ 57 w 57"/>
                <a:gd name="T5" fmla="*/ 0 h 113"/>
                <a:gd name="T6" fmla="*/ 0 w 57"/>
                <a:gd name="T7" fmla="*/ 56 h 113"/>
                <a:gd name="T8" fmla="*/ 56 w 57"/>
                <a:gd name="T9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113">
                  <a:moveTo>
                    <a:pt x="56" y="113"/>
                  </a:moveTo>
                  <a:lnTo>
                    <a:pt x="57" y="113"/>
                  </a:lnTo>
                  <a:lnTo>
                    <a:pt x="57" y="0"/>
                  </a:lnTo>
                  <a:lnTo>
                    <a:pt x="0" y="56"/>
                  </a:lnTo>
                  <a:lnTo>
                    <a:pt x="56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94" name="Freeform 279"/>
            <p:cNvSpPr>
              <a:spLocks/>
            </p:cNvSpPr>
            <p:nvPr userDrawn="1"/>
          </p:nvSpPr>
          <p:spPr bwMode="auto">
            <a:xfrm>
              <a:off x="1036" y="2365"/>
              <a:ext cx="56" cy="113"/>
            </a:xfrm>
            <a:custGeom>
              <a:avLst/>
              <a:gdLst>
                <a:gd name="T0" fmla="*/ 0 w 56"/>
                <a:gd name="T1" fmla="*/ 0 h 113"/>
                <a:gd name="T2" fmla="*/ 0 w 56"/>
                <a:gd name="T3" fmla="*/ 113 h 113"/>
                <a:gd name="T4" fmla="*/ 56 w 56"/>
                <a:gd name="T5" fmla="*/ 56 h 113"/>
                <a:gd name="T6" fmla="*/ 0 w 56"/>
                <a:gd name="T7" fmla="*/ 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" h="113">
                  <a:moveTo>
                    <a:pt x="0" y="0"/>
                  </a:moveTo>
                  <a:lnTo>
                    <a:pt x="0" y="113"/>
                  </a:lnTo>
                  <a:lnTo>
                    <a:pt x="56" y="5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95" name="Freeform 280"/>
            <p:cNvSpPr>
              <a:spLocks noEditPoints="1"/>
            </p:cNvSpPr>
            <p:nvPr userDrawn="1"/>
          </p:nvSpPr>
          <p:spPr bwMode="auto">
            <a:xfrm>
              <a:off x="841" y="2322"/>
              <a:ext cx="507" cy="206"/>
            </a:xfrm>
            <a:custGeom>
              <a:avLst/>
              <a:gdLst>
                <a:gd name="T0" fmla="*/ 1079 w 1125"/>
                <a:gd name="T1" fmla="*/ 347 h 455"/>
                <a:gd name="T2" fmla="*/ 1008 w 1125"/>
                <a:gd name="T3" fmla="*/ 355 h 455"/>
                <a:gd name="T4" fmla="*/ 1079 w 1125"/>
                <a:gd name="T5" fmla="*/ 343 h 455"/>
                <a:gd name="T6" fmla="*/ 1023 w 1125"/>
                <a:gd name="T7" fmla="*/ 120 h 455"/>
                <a:gd name="T8" fmla="*/ 958 w 1125"/>
                <a:gd name="T9" fmla="*/ 29 h 455"/>
                <a:gd name="T10" fmla="*/ 795 w 1125"/>
                <a:gd name="T11" fmla="*/ 29 h 455"/>
                <a:gd name="T12" fmla="*/ 781 w 1125"/>
                <a:gd name="T13" fmla="*/ 0 h 455"/>
                <a:gd name="T14" fmla="*/ 780 w 1125"/>
                <a:gd name="T15" fmla="*/ 0 h 455"/>
                <a:gd name="T16" fmla="*/ 765 w 1125"/>
                <a:gd name="T17" fmla="*/ 29 h 455"/>
                <a:gd name="T18" fmla="*/ 578 w 1125"/>
                <a:gd name="T19" fmla="*/ 15 h 455"/>
                <a:gd name="T20" fmla="*/ 562 w 1125"/>
                <a:gd name="T21" fmla="*/ 0 h 455"/>
                <a:gd name="T22" fmla="*/ 547 w 1125"/>
                <a:gd name="T23" fmla="*/ 15 h 455"/>
                <a:gd name="T24" fmla="*/ 360 w 1125"/>
                <a:gd name="T25" fmla="*/ 29 h 455"/>
                <a:gd name="T26" fmla="*/ 345 w 1125"/>
                <a:gd name="T27" fmla="*/ 0 h 455"/>
                <a:gd name="T28" fmla="*/ 344 w 1125"/>
                <a:gd name="T29" fmla="*/ 0 h 455"/>
                <a:gd name="T30" fmla="*/ 329 w 1125"/>
                <a:gd name="T31" fmla="*/ 29 h 455"/>
                <a:gd name="T32" fmla="*/ 167 w 1125"/>
                <a:gd name="T33" fmla="*/ 29 h 455"/>
                <a:gd name="T34" fmla="*/ 102 w 1125"/>
                <a:gd name="T35" fmla="*/ 120 h 455"/>
                <a:gd name="T36" fmla="*/ 46 w 1125"/>
                <a:gd name="T37" fmla="*/ 343 h 455"/>
                <a:gd name="T38" fmla="*/ 117 w 1125"/>
                <a:gd name="T39" fmla="*/ 355 h 455"/>
                <a:gd name="T40" fmla="*/ 46 w 1125"/>
                <a:gd name="T41" fmla="*/ 347 h 455"/>
                <a:gd name="T42" fmla="*/ 0 w 1125"/>
                <a:gd name="T43" fmla="*/ 355 h 455"/>
                <a:gd name="T44" fmla="*/ 8 w 1125"/>
                <a:gd name="T45" fmla="*/ 413 h 455"/>
                <a:gd name="T46" fmla="*/ 54 w 1125"/>
                <a:gd name="T47" fmla="*/ 406 h 455"/>
                <a:gd name="T48" fmla="*/ 157 w 1125"/>
                <a:gd name="T49" fmla="*/ 455 h 455"/>
                <a:gd name="T50" fmla="*/ 158 w 1125"/>
                <a:gd name="T51" fmla="*/ 455 h 455"/>
                <a:gd name="T52" fmla="*/ 269 w 1125"/>
                <a:gd name="T53" fmla="*/ 417 h 455"/>
                <a:gd name="T54" fmla="*/ 367 w 1125"/>
                <a:gd name="T55" fmla="*/ 417 h 455"/>
                <a:gd name="T56" fmla="*/ 477 w 1125"/>
                <a:gd name="T57" fmla="*/ 455 h 455"/>
                <a:gd name="T58" fmla="*/ 657 w 1125"/>
                <a:gd name="T59" fmla="*/ 455 h 455"/>
                <a:gd name="T60" fmla="*/ 719 w 1125"/>
                <a:gd name="T61" fmla="*/ 393 h 455"/>
                <a:gd name="T62" fmla="*/ 817 w 1125"/>
                <a:gd name="T63" fmla="*/ 393 h 455"/>
                <a:gd name="T64" fmla="*/ 915 w 1125"/>
                <a:gd name="T65" fmla="*/ 393 h 455"/>
                <a:gd name="T66" fmla="*/ 996 w 1125"/>
                <a:gd name="T67" fmla="*/ 406 h 455"/>
                <a:gd name="T68" fmla="*/ 1079 w 1125"/>
                <a:gd name="T69" fmla="*/ 413 h 455"/>
                <a:gd name="T70" fmla="*/ 1125 w 1125"/>
                <a:gd name="T71" fmla="*/ 405 h 455"/>
                <a:gd name="T72" fmla="*/ 1117 w 1125"/>
                <a:gd name="T73" fmla="*/ 347 h 455"/>
                <a:gd name="T74" fmla="*/ 915 w 1125"/>
                <a:gd name="T75" fmla="*/ 85 h 455"/>
                <a:gd name="T76" fmla="*/ 745 w 1125"/>
                <a:gd name="T77" fmla="*/ 85 h 455"/>
                <a:gd name="T78" fmla="*/ 719 w 1125"/>
                <a:gd name="T79" fmla="*/ 85 h 455"/>
                <a:gd name="T80" fmla="*/ 764 w 1125"/>
                <a:gd name="T81" fmla="*/ 344 h 455"/>
                <a:gd name="T82" fmla="*/ 968 w 1125"/>
                <a:gd name="T83" fmla="*/ 368 h 455"/>
                <a:gd name="T84" fmla="*/ 157 w 1125"/>
                <a:gd name="T85" fmla="*/ 344 h 455"/>
                <a:gd name="T86" fmla="*/ 414 w 1125"/>
                <a:gd name="T87" fmla="*/ 344 h 455"/>
                <a:gd name="T88" fmla="*/ 396 w 1125"/>
                <a:gd name="T89" fmla="*/ 85 h 455"/>
                <a:gd name="T90" fmla="*/ 363 w 1125"/>
                <a:gd name="T91" fmla="*/ 85 h 455"/>
                <a:gd name="T92" fmla="*/ 134 w 1125"/>
                <a:gd name="T93" fmla="*/ 85 h 455"/>
                <a:gd name="T94" fmla="*/ 134 w 1125"/>
                <a:gd name="T95" fmla="*/ 69 h 455"/>
                <a:gd name="T96" fmla="*/ 915 w 1125"/>
                <a:gd name="T97" fmla="*/ 69 h 455"/>
                <a:gd name="T98" fmla="*/ 999 w 1125"/>
                <a:gd name="T99" fmla="*/ 77 h 455"/>
                <a:gd name="T100" fmla="*/ 966 w 1125"/>
                <a:gd name="T101" fmla="*/ 120 h 455"/>
                <a:gd name="T102" fmla="*/ 915 w 1125"/>
                <a:gd name="T103" fmla="*/ 326 h 455"/>
                <a:gd name="T104" fmla="*/ 966 w 1125"/>
                <a:gd name="T105" fmla="*/ 120 h 455"/>
                <a:gd name="T106" fmla="*/ 159 w 1125"/>
                <a:gd name="T107" fmla="*/ 120 h 455"/>
                <a:gd name="T108" fmla="*/ 210 w 1125"/>
                <a:gd name="T109" fmla="*/ 326 h 4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125" h="455">
                  <a:moveTo>
                    <a:pt x="1117" y="347"/>
                  </a:moveTo>
                  <a:cubicBezTo>
                    <a:pt x="1079" y="347"/>
                    <a:pt x="1079" y="347"/>
                    <a:pt x="1079" y="347"/>
                  </a:cubicBezTo>
                  <a:cubicBezTo>
                    <a:pt x="1075" y="347"/>
                    <a:pt x="1071" y="351"/>
                    <a:pt x="1071" y="355"/>
                  </a:cubicBezTo>
                  <a:cubicBezTo>
                    <a:pt x="1008" y="355"/>
                    <a:pt x="1008" y="355"/>
                    <a:pt x="1008" y="355"/>
                  </a:cubicBezTo>
                  <a:cubicBezTo>
                    <a:pt x="1011" y="351"/>
                    <a:pt x="1014" y="347"/>
                    <a:pt x="1016" y="343"/>
                  </a:cubicBezTo>
                  <a:cubicBezTo>
                    <a:pt x="1079" y="343"/>
                    <a:pt x="1079" y="343"/>
                    <a:pt x="1079" y="343"/>
                  </a:cubicBezTo>
                  <a:cubicBezTo>
                    <a:pt x="1079" y="120"/>
                    <a:pt x="1079" y="120"/>
                    <a:pt x="1079" y="120"/>
                  </a:cubicBezTo>
                  <a:cubicBezTo>
                    <a:pt x="1023" y="120"/>
                    <a:pt x="1023" y="120"/>
                    <a:pt x="1023" y="120"/>
                  </a:cubicBezTo>
                  <a:cubicBezTo>
                    <a:pt x="1023" y="89"/>
                    <a:pt x="1023" y="89"/>
                    <a:pt x="1023" y="89"/>
                  </a:cubicBezTo>
                  <a:cubicBezTo>
                    <a:pt x="1023" y="56"/>
                    <a:pt x="994" y="29"/>
                    <a:pt x="958" y="29"/>
                  </a:cubicBezTo>
                  <a:cubicBezTo>
                    <a:pt x="915" y="29"/>
                    <a:pt x="915" y="29"/>
                    <a:pt x="915" y="29"/>
                  </a:cubicBezTo>
                  <a:cubicBezTo>
                    <a:pt x="795" y="29"/>
                    <a:pt x="795" y="29"/>
                    <a:pt x="795" y="29"/>
                  </a:cubicBezTo>
                  <a:cubicBezTo>
                    <a:pt x="795" y="15"/>
                    <a:pt x="795" y="15"/>
                    <a:pt x="795" y="15"/>
                  </a:cubicBezTo>
                  <a:cubicBezTo>
                    <a:pt x="795" y="7"/>
                    <a:pt x="789" y="0"/>
                    <a:pt x="781" y="0"/>
                  </a:cubicBezTo>
                  <a:cubicBezTo>
                    <a:pt x="781" y="0"/>
                    <a:pt x="780" y="0"/>
                    <a:pt x="780" y="0"/>
                  </a:cubicBezTo>
                  <a:cubicBezTo>
                    <a:pt x="780" y="0"/>
                    <a:pt x="780" y="0"/>
                    <a:pt x="780" y="0"/>
                  </a:cubicBezTo>
                  <a:cubicBezTo>
                    <a:pt x="772" y="0"/>
                    <a:pt x="765" y="7"/>
                    <a:pt x="765" y="15"/>
                  </a:cubicBezTo>
                  <a:cubicBezTo>
                    <a:pt x="765" y="29"/>
                    <a:pt x="765" y="29"/>
                    <a:pt x="765" y="29"/>
                  </a:cubicBezTo>
                  <a:cubicBezTo>
                    <a:pt x="578" y="29"/>
                    <a:pt x="578" y="29"/>
                    <a:pt x="578" y="29"/>
                  </a:cubicBezTo>
                  <a:cubicBezTo>
                    <a:pt x="578" y="15"/>
                    <a:pt x="578" y="15"/>
                    <a:pt x="578" y="15"/>
                  </a:cubicBezTo>
                  <a:cubicBezTo>
                    <a:pt x="578" y="7"/>
                    <a:pt x="571" y="0"/>
                    <a:pt x="563" y="0"/>
                  </a:cubicBezTo>
                  <a:cubicBezTo>
                    <a:pt x="563" y="0"/>
                    <a:pt x="563" y="0"/>
                    <a:pt x="562" y="0"/>
                  </a:cubicBezTo>
                  <a:cubicBezTo>
                    <a:pt x="562" y="0"/>
                    <a:pt x="562" y="0"/>
                    <a:pt x="562" y="0"/>
                  </a:cubicBezTo>
                  <a:cubicBezTo>
                    <a:pt x="554" y="0"/>
                    <a:pt x="547" y="7"/>
                    <a:pt x="547" y="15"/>
                  </a:cubicBezTo>
                  <a:cubicBezTo>
                    <a:pt x="547" y="29"/>
                    <a:pt x="547" y="29"/>
                    <a:pt x="547" y="29"/>
                  </a:cubicBezTo>
                  <a:cubicBezTo>
                    <a:pt x="360" y="29"/>
                    <a:pt x="360" y="29"/>
                    <a:pt x="360" y="29"/>
                  </a:cubicBezTo>
                  <a:cubicBezTo>
                    <a:pt x="360" y="15"/>
                    <a:pt x="360" y="15"/>
                    <a:pt x="360" y="15"/>
                  </a:cubicBezTo>
                  <a:cubicBezTo>
                    <a:pt x="360" y="7"/>
                    <a:pt x="353" y="0"/>
                    <a:pt x="345" y="0"/>
                  </a:cubicBezTo>
                  <a:cubicBezTo>
                    <a:pt x="345" y="0"/>
                    <a:pt x="345" y="0"/>
                    <a:pt x="345" y="0"/>
                  </a:cubicBezTo>
                  <a:cubicBezTo>
                    <a:pt x="345" y="0"/>
                    <a:pt x="344" y="0"/>
                    <a:pt x="344" y="0"/>
                  </a:cubicBezTo>
                  <a:cubicBezTo>
                    <a:pt x="336" y="0"/>
                    <a:pt x="329" y="7"/>
                    <a:pt x="329" y="15"/>
                  </a:cubicBezTo>
                  <a:cubicBezTo>
                    <a:pt x="329" y="29"/>
                    <a:pt x="329" y="29"/>
                    <a:pt x="329" y="29"/>
                  </a:cubicBezTo>
                  <a:cubicBezTo>
                    <a:pt x="210" y="29"/>
                    <a:pt x="210" y="29"/>
                    <a:pt x="210" y="29"/>
                  </a:cubicBezTo>
                  <a:cubicBezTo>
                    <a:pt x="167" y="29"/>
                    <a:pt x="167" y="29"/>
                    <a:pt x="167" y="29"/>
                  </a:cubicBezTo>
                  <a:cubicBezTo>
                    <a:pt x="131" y="29"/>
                    <a:pt x="102" y="56"/>
                    <a:pt x="102" y="89"/>
                  </a:cubicBezTo>
                  <a:cubicBezTo>
                    <a:pt x="102" y="120"/>
                    <a:pt x="102" y="120"/>
                    <a:pt x="102" y="120"/>
                  </a:cubicBezTo>
                  <a:cubicBezTo>
                    <a:pt x="46" y="120"/>
                    <a:pt x="46" y="120"/>
                    <a:pt x="46" y="120"/>
                  </a:cubicBezTo>
                  <a:cubicBezTo>
                    <a:pt x="46" y="343"/>
                    <a:pt x="46" y="343"/>
                    <a:pt x="46" y="343"/>
                  </a:cubicBezTo>
                  <a:cubicBezTo>
                    <a:pt x="109" y="343"/>
                    <a:pt x="109" y="343"/>
                    <a:pt x="109" y="343"/>
                  </a:cubicBezTo>
                  <a:cubicBezTo>
                    <a:pt x="111" y="347"/>
                    <a:pt x="114" y="351"/>
                    <a:pt x="117" y="355"/>
                  </a:cubicBezTo>
                  <a:cubicBezTo>
                    <a:pt x="54" y="355"/>
                    <a:pt x="54" y="355"/>
                    <a:pt x="54" y="355"/>
                  </a:cubicBezTo>
                  <a:cubicBezTo>
                    <a:pt x="54" y="351"/>
                    <a:pt x="50" y="347"/>
                    <a:pt x="46" y="347"/>
                  </a:cubicBezTo>
                  <a:cubicBezTo>
                    <a:pt x="8" y="347"/>
                    <a:pt x="8" y="347"/>
                    <a:pt x="8" y="347"/>
                  </a:cubicBezTo>
                  <a:cubicBezTo>
                    <a:pt x="4" y="347"/>
                    <a:pt x="0" y="351"/>
                    <a:pt x="0" y="355"/>
                  </a:cubicBezTo>
                  <a:cubicBezTo>
                    <a:pt x="0" y="405"/>
                    <a:pt x="0" y="405"/>
                    <a:pt x="0" y="405"/>
                  </a:cubicBezTo>
                  <a:cubicBezTo>
                    <a:pt x="0" y="410"/>
                    <a:pt x="4" y="413"/>
                    <a:pt x="8" y="413"/>
                  </a:cubicBezTo>
                  <a:cubicBezTo>
                    <a:pt x="46" y="413"/>
                    <a:pt x="46" y="413"/>
                    <a:pt x="46" y="413"/>
                  </a:cubicBezTo>
                  <a:cubicBezTo>
                    <a:pt x="50" y="413"/>
                    <a:pt x="54" y="410"/>
                    <a:pt x="54" y="406"/>
                  </a:cubicBezTo>
                  <a:cubicBezTo>
                    <a:pt x="129" y="406"/>
                    <a:pt x="129" y="406"/>
                    <a:pt x="129" y="406"/>
                  </a:cubicBezTo>
                  <a:cubicBezTo>
                    <a:pt x="129" y="427"/>
                    <a:pt x="140" y="445"/>
                    <a:pt x="157" y="455"/>
                  </a:cubicBezTo>
                  <a:cubicBezTo>
                    <a:pt x="158" y="455"/>
                    <a:pt x="158" y="455"/>
                    <a:pt x="158" y="455"/>
                  </a:cubicBezTo>
                  <a:cubicBezTo>
                    <a:pt x="158" y="455"/>
                    <a:pt x="158" y="455"/>
                    <a:pt x="158" y="455"/>
                  </a:cubicBezTo>
                  <a:cubicBezTo>
                    <a:pt x="158" y="421"/>
                    <a:pt x="186" y="393"/>
                    <a:pt x="220" y="393"/>
                  </a:cubicBezTo>
                  <a:cubicBezTo>
                    <a:pt x="240" y="393"/>
                    <a:pt x="258" y="402"/>
                    <a:pt x="269" y="417"/>
                  </a:cubicBezTo>
                  <a:cubicBezTo>
                    <a:pt x="280" y="402"/>
                    <a:pt x="298" y="393"/>
                    <a:pt x="318" y="393"/>
                  </a:cubicBezTo>
                  <a:cubicBezTo>
                    <a:pt x="338" y="393"/>
                    <a:pt x="355" y="402"/>
                    <a:pt x="367" y="417"/>
                  </a:cubicBezTo>
                  <a:cubicBezTo>
                    <a:pt x="378" y="402"/>
                    <a:pt x="396" y="393"/>
                    <a:pt x="415" y="393"/>
                  </a:cubicBezTo>
                  <a:cubicBezTo>
                    <a:pt x="450" y="393"/>
                    <a:pt x="477" y="421"/>
                    <a:pt x="477" y="455"/>
                  </a:cubicBezTo>
                  <a:cubicBezTo>
                    <a:pt x="477" y="455"/>
                    <a:pt x="477" y="455"/>
                    <a:pt x="477" y="455"/>
                  </a:cubicBezTo>
                  <a:cubicBezTo>
                    <a:pt x="657" y="455"/>
                    <a:pt x="657" y="455"/>
                    <a:pt x="657" y="455"/>
                  </a:cubicBezTo>
                  <a:cubicBezTo>
                    <a:pt x="657" y="455"/>
                    <a:pt x="657" y="455"/>
                    <a:pt x="657" y="455"/>
                  </a:cubicBezTo>
                  <a:cubicBezTo>
                    <a:pt x="657" y="421"/>
                    <a:pt x="685" y="393"/>
                    <a:pt x="719" y="393"/>
                  </a:cubicBezTo>
                  <a:cubicBezTo>
                    <a:pt x="739" y="393"/>
                    <a:pt x="757" y="402"/>
                    <a:pt x="768" y="417"/>
                  </a:cubicBezTo>
                  <a:cubicBezTo>
                    <a:pt x="779" y="402"/>
                    <a:pt x="797" y="393"/>
                    <a:pt x="817" y="393"/>
                  </a:cubicBezTo>
                  <a:cubicBezTo>
                    <a:pt x="837" y="393"/>
                    <a:pt x="854" y="402"/>
                    <a:pt x="866" y="417"/>
                  </a:cubicBezTo>
                  <a:cubicBezTo>
                    <a:pt x="877" y="402"/>
                    <a:pt x="895" y="393"/>
                    <a:pt x="915" y="393"/>
                  </a:cubicBezTo>
                  <a:cubicBezTo>
                    <a:pt x="947" y="393"/>
                    <a:pt x="973" y="418"/>
                    <a:pt x="976" y="449"/>
                  </a:cubicBezTo>
                  <a:cubicBezTo>
                    <a:pt x="988" y="438"/>
                    <a:pt x="996" y="423"/>
                    <a:pt x="996" y="406"/>
                  </a:cubicBezTo>
                  <a:cubicBezTo>
                    <a:pt x="1071" y="406"/>
                    <a:pt x="1071" y="406"/>
                    <a:pt x="1071" y="406"/>
                  </a:cubicBezTo>
                  <a:cubicBezTo>
                    <a:pt x="1071" y="410"/>
                    <a:pt x="1075" y="413"/>
                    <a:pt x="1079" y="413"/>
                  </a:cubicBezTo>
                  <a:cubicBezTo>
                    <a:pt x="1117" y="413"/>
                    <a:pt x="1117" y="413"/>
                    <a:pt x="1117" y="413"/>
                  </a:cubicBezTo>
                  <a:cubicBezTo>
                    <a:pt x="1121" y="413"/>
                    <a:pt x="1125" y="410"/>
                    <a:pt x="1125" y="405"/>
                  </a:cubicBezTo>
                  <a:cubicBezTo>
                    <a:pt x="1125" y="355"/>
                    <a:pt x="1125" y="355"/>
                    <a:pt x="1125" y="355"/>
                  </a:cubicBezTo>
                  <a:cubicBezTo>
                    <a:pt x="1125" y="351"/>
                    <a:pt x="1121" y="347"/>
                    <a:pt x="1117" y="347"/>
                  </a:cubicBezTo>
                  <a:close/>
                  <a:moveTo>
                    <a:pt x="991" y="85"/>
                  </a:moveTo>
                  <a:cubicBezTo>
                    <a:pt x="915" y="85"/>
                    <a:pt x="915" y="85"/>
                    <a:pt x="915" y="85"/>
                  </a:cubicBezTo>
                  <a:cubicBezTo>
                    <a:pt x="764" y="85"/>
                    <a:pt x="764" y="85"/>
                    <a:pt x="764" y="85"/>
                  </a:cubicBezTo>
                  <a:cubicBezTo>
                    <a:pt x="745" y="85"/>
                    <a:pt x="745" y="85"/>
                    <a:pt x="745" y="85"/>
                  </a:cubicBezTo>
                  <a:cubicBezTo>
                    <a:pt x="729" y="85"/>
                    <a:pt x="729" y="85"/>
                    <a:pt x="729" y="85"/>
                  </a:cubicBezTo>
                  <a:cubicBezTo>
                    <a:pt x="719" y="85"/>
                    <a:pt x="719" y="85"/>
                    <a:pt x="719" y="85"/>
                  </a:cubicBezTo>
                  <a:cubicBezTo>
                    <a:pt x="719" y="344"/>
                    <a:pt x="719" y="344"/>
                    <a:pt x="719" y="344"/>
                  </a:cubicBezTo>
                  <a:cubicBezTo>
                    <a:pt x="764" y="344"/>
                    <a:pt x="764" y="344"/>
                    <a:pt x="764" y="344"/>
                  </a:cubicBezTo>
                  <a:cubicBezTo>
                    <a:pt x="968" y="344"/>
                    <a:pt x="968" y="344"/>
                    <a:pt x="968" y="344"/>
                  </a:cubicBezTo>
                  <a:cubicBezTo>
                    <a:pt x="968" y="368"/>
                    <a:pt x="968" y="368"/>
                    <a:pt x="968" y="368"/>
                  </a:cubicBezTo>
                  <a:cubicBezTo>
                    <a:pt x="157" y="368"/>
                    <a:pt x="157" y="368"/>
                    <a:pt x="157" y="368"/>
                  </a:cubicBezTo>
                  <a:cubicBezTo>
                    <a:pt x="157" y="344"/>
                    <a:pt x="157" y="344"/>
                    <a:pt x="157" y="344"/>
                  </a:cubicBezTo>
                  <a:cubicBezTo>
                    <a:pt x="363" y="344"/>
                    <a:pt x="363" y="344"/>
                    <a:pt x="363" y="344"/>
                  </a:cubicBezTo>
                  <a:cubicBezTo>
                    <a:pt x="414" y="344"/>
                    <a:pt x="414" y="344"/>
                    <a:pt x="414" y="344"/>
                  </a:cubicBezTo>
                  <a:cubicBezTo>
                    <a:pt x="414" y="85"/>
                    <a:pt x="414" y="85"/>
                    <a:pt x="414" y="85"/>
                  </a:cubicBezTo>
                  <a:cubicBezTo>
                    <a:pt x="396" y="85"/>
                    <a:pt x="396" y="85"/>
                    <a:pt x="396" y="85"/>
                  </a:cubicBezTo>
                  <a:cubicBezTo>
                    <a:pt x="380" y="85"/>
                    <a:pt x="380" y="85"/>
                    <a:pt x="380" y="85"/>
                  </a:cubicBezTo>
                  <a:cubicBezTo>
                    <a:pt x="363" y="85"/>
                    <a:pt x="363" y="85"/>
                    <a:pt x="363" y="85"/>
                  </a:cubicBezTo>
                  <a:cubicBezTo>
                    <a:pt x="210" y="85"/>
                    <a:pt x="210" y="85"/>
                    <a:pt x="210" y="85"/>
                  </a:cubicBezTo>
                  <a:cubicBezTo>
                    <a:pt x="134" y="85"/>
                    <a:pt x="134" y="85"/>
                    <a:pt x="134" y="85"/>
                  </a:cubicBezTo>
                  <a:cubicBezTo>
                    <a:pt x="130" y="85"/>
                    <a:pt x="126" y="82"/>
                    <a:pt x="126" y="77"/>
                  </a:cubicBezTo>
                  <a:cubicBezTo>
                    <a:pt x="126" y="73"/>
                    <a:pt x="130" y="69"/>
                    <a:pt x="134" y="69"/>
                  </a:cubicBezTo>
                  <a:cubicBezTo>
                    <a:pt x="210" y="69"/>
                    <a:pt x="210" y="69"/>
                    <a:pt x="210" y="69"/>
                  </a:cubicBezTo>
                  <a:cubicBezTo>
                    <a:pt x="915" y="69"/>
                    <a:pt x="915" y="69"/>
                    <a:pt x="915" y="69"/>
                  </a:cubicBezTo>
                  <a:cubicBezTo>
                    <a:pt x="991" y="69"/>
                    <a:pt x="991" y="69"/>
                    <a:pt x="991" y="69"/>
                  </a:cubicBezTo>
                  <a:cubicBezTo>
                    <a:pt x="995" y="69"/>
                    <a:pt x="999" y="73"/>
                    <a:pt x="999" y="77"/>
                  </a:cubicBezTo>
                  <a:cubicBezTo>
                    <a:pt x="999" y="82"/>
                    <a:pt x="995" y="85"/>
                    <a:pt x="991" y="85"/>
                  </a:cubicBezTo>
                  <a:close/>
                  <a:moveTo>
                    <a:pt x="966" y="120"/>
                  </a:moveTo>
                  <a:cubicBezTo>
                    <a:pt x="966" y="326"/>
                    <a:pt x="966" y="326"/>
                    <a:pt x="966" y="326"/>
                  </a:cubicBezTo>
                  <a:cubicBezTo>
                    <a:pt x="915" y="326"/>
                    <a:pt x="915" y="326"/>
                    <a:pt x="915" y="326"/>
                  </a:cubicBezTo>
                  <a:cubicBezTo>
                    <a:pt x="915" y="120"/>
                    <a:pt x="915" y="120"/>
                    <a:pt x="915" y="120"/>
                  </a:cubicBezTo>
                  <a:lnTo>
                    <a:pt x="966" y="120"/>
                  </a:lnTo>
                  <a:close/>
                  <a:moveTo>
                    <a:pt x="159" y="326"/>
                  </a:moveTo>
                  <a:cubicBezTo>
                    <a:pt x="159" y="120"/>
                    <a:pt x="159" y="120"/>
                    <a:pt x="159" y="120"/>
                  </a:cubicBezTo>
                  <a:cubicBezTo>
                    <a:pt x="210" y="120"/>
                    <a:pt x="210" y="120"/>
                    <a:pt x="210" y="120"/>
                  </a:cubicBezTo>
                  <a:cubicBezTo>
                    <a:pt x="210" y="326"/>
                    <a:pt x="210" y="326"/>
                    <a:pt x="210" y="326"/>
                  </a:cubicBezTo>
                  <a:lnTo>
                    <a:pt x="159" y="3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5" name="Group 283"/>
          <p:cNvGrpSpPr>
            <a:grpSpLocks noChangeAspect="1"/>
          </p:cNvGrpSpPr>
          <p:nvPr userDrawn="1"/>
        </p:nvGrpSpPr>
        <p:grpSpPr bwMode="auto">
          <a:xfrm>
            <a:off x="66181" y="4204341"/>
            <a:ext cx="1640217" cy="168483"/>
            <a:chOff x="1833" y="2244"/>
            <a:chExt cx="1973" cy="152"/>
          </a:xfrm>
          <a:solidFill>
            <a:schemeClr val="bg1"/>
          </a:solidFill>
        </p:grpSpPr>
        <p:sp>
          <p:nvSpPr>
            <p:cNvPr id="299" name="Oval 284"/>
            <p:cNvSpPr>
              <a:spLocks noChangeArrowheads="1"/>
            </p:cNvSpPr>
            <p:nvPr userDrawn="1"/>
          </p:nvSpPr>
          <p:spPr bwMode="auto">
            <a:xfrm>
              <a:off x="3242" y="2356"/>
              <a:ext cx="29" cy="3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00" name="Oval 285"/>
            <p:cNvSpPr>
              <a:spLocks noChangeArrowheads="1"/>
            </p:cNvSpPr>
            <p:nvPr userDrawn="1"/>
          </p:nvSpPr>
          <p:spPr bwMode="auto">
            <a:xfrm>
              <a:off x="3295" y="2356"/>
              <a:ext cx="29" cy="3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01" name="Oval 286"/>
            <p:cNvSpPr>
              <a:spLocks noChangeArrowheads="1"/>
            </p:cNvSpPr>
            <p:nvPr userDrawn="1"/>
          </p:nvSpPr>
          <p:spPr bwMode="auto">
            <a:xfrm>
              <a:off x="3348" y="2356"/>
              <a:ext cx="29" cy="3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02" name="Oval 287"/>
            <p:cNvSpPr>
              <a:spLocks noChangeArrowheads="1"/>
            </p:cNvSpPr>
            <p:nvPr userDrawn="1"/>
          </p:nvSpPr>
          <p:spPr bwMode="auto">
            <a:xfrm>
              <a:off x="3585" y="2356"/>
              <a:ext cx="29" cy="3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03" name="Oval 288"/>
            <p:cNvSpPr>
              <a:spLocks noChangeArrowheads="1"/>
            </p:cNvSpPr>
            <p:nvPr userDrawn="1"/>
          </p:nvSpPr>
          <p:spPr bwMode="auto">
            <a:xfrm>
              <a:off x="3638" y="2356"/>
              <a:ext cx="29" cy="3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04" name="Oval 289"/>
            <p:cNvSpPr>
              <a:spLocks noChangeArrowheads="1"/>
            </p:cNvSpPr>
            <p:nvPr userDrawn="1"/>
          </p:nvSpPr>
          <p:spPr bwMode="auto">
            <a:xfrm>
              <a:off x="3691" y="2356"/>
              <a:ext cx="29" cy="3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05" name="Rectangle 290"/>
            <p:cNvSpPr>
              <a:spLocks noChangeArrowheads="1"/>
            </p:cNvSpPr>
            <p:nvPr userDrawn="1"/>
          </p:nvSpPr>
          <p:spPr bwMode="auto">
            <a:xfrm>
              <a:off x="3290" y="2291"/>
              <a:ext cx="17" cy="3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06" name="Rectangle 291"/>
            <p:cNvSpPr>
              <a:spLocks noChangeArrowheads="1"/>
            </p:cNvSpPr>
            <p:nvPr userDrawn="1"/>
          </p:nvSpPr>
          <p:spPr bwMode="auto">
            <a:xfrm>
              <a:off x="3259" y="2291"/>
              <a:ext cx="17" cy="3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07" name="Rectangle 292"/>
            <p:cNvSpPr>
              <a:spLocks noChangeArrowheads="1"/>
            </p:cNvSpPr>
            <p:nvPr userDrawn="1"/>
          </p:nvSpPr>
          <p:spPr bwMode="auto">
            <a:xfrm>
              <a:off x="3322" y="2291"/>
              <a:ext cx="17" cy="3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08" name="Rectangle 293"/>
            <p:cNvSpPr>
              <a:spLocks noChangeArrowheads="1"/>
            </p:cNvSpPr>
            <p:nvPr userDrawn="1"/>
          </p:nvSpPr>
          <p:spPr bwMode="auto">
            <a:xfrm>
              <a:off x="3584" y="2291"/>
              <a:ext cx="17" cy="3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09" name="Rectangle 294"/>
            <p:cNvSpPr>
              <a:spLocks noChangeArrowheads="1"/>
            </p:cNvSpPr>
            <p:nvPr userDrawn="1"/>
          </p:nvSpPr>
          <p:spPr bwMode="auto">
            <a:xfrm>
              <a:off x="3553" y="2291"/>
              <a:ext cx="17" cy="3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10" name="Rectangle 295"/>
            <p:cNvSpPr>
              <a:spLocks noChangeArrowheads="1"/>
            </p:cNvSpPr>
            <p:nvPr userDrawn="1"/>
          </p:nvSpPr>
          <p:spPr bwMode="auto">
            <a:xfrm>
              <a:off x="3615" y="2291"/>
              <a:ext cx="17" cy="3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11" name="Freeform 296"/>
            <p:cNvSpPr>
              <a:spLocks noEditPoints="1"/>
            </p:cNvSpPr>
            <p:nvPr userDrawn="1"/>
          </p:nvSpPr>
          <p:spPr bwMode="auto">
            <a:xfrm>
              <a:off x="3194" y="2259"/>
              <a:ext cx="577" cy="120"/>
            </a:xfrm>
            <a:custGeom>
              <a:avLst/>
              <a:gdLst>
                <a:gd name="T0" fmla="*/ 2133 w 2177"/>
                <a:gd name="T1" fmla="*/ 318 h 450"/>
                <a:gd name="T2" fmla="*/ 2109 w 2177"/>
                <a:gd name="T3" fmla="*/ 205 h 450"/>
                <a:gd name="T4" fmla="*/ 2059 w 2177"/>
                <a:gd name="T5" fmla="*/ 294 h 450"/>
                <a:gd name="T6" fmla="*/ 1924 w 2177"/>
                <a:gd name="T7" fmla="*/ 43 h 450"/>
                <a:gd name="T8" fmla="*/ 1824 w 2177"/>
                <a:gd name="T9" fmla="*/ 18 h 450"/>
                <a:gd name="T10" fmla="*/ 1741 w 2177"/>
                <a:gd name="T11" fmla="*/ 18 h 450"/>
                <a:gd name="T12" fmla="*/ 1146 w 2177"/>
                <a:gd name="T13" fmla="*/ 43 h 450"/>
                <a:gd name="T14" fmla="*/ 991 w 2177"/>
                <a:gd name="T15" fmla="*/ 15 h 450"/>
                <a:gd name="T16" fmla="*/ 899 w 2177"/>
                <a:gd name="T17" fmla="*/ 43 h 450"/>
                <a:gd name="T18" fmla="*/ 716 w 2177"/>
                <a:gd name="T19" fmla="*/ 18 h 450"/>
                <a:gd name="T20" fmla="*/ 612 w 2177"/>
                <a:gd name="T21" fmla="*/ 18 h 450"/>
                <a:gd name="T22" fmla="*/ 134 w 2177"/>
                <a:gd name="T23" fmla="*/ 43 h 450"/>
                <a:gd name="T24" fmla="*/ 89 w 2177"/>
                <a:gd name="T25" fmla="*/ 318 h 450"/>
                <a:gd name="T26" fmla="*/ 6 w 2177"/>
                <a:gd name="T27" fmla="*/ 312 h 450"/>
                <a:gd name="T28" fmla="*/ 6 w 2177"/>
                <a:gd name="T29" fmla="*/ 366 h 450"/>
                <a:gd name="T30" fmla="*/ 104 w 2177"/>
                <a:gd name="T31" fmla="*/ 360 h 450"/>
                <a:gd name="T32" fmla="*/ 236 w 2177"/>
                <a:gd name="T33" fmla="*/ 348 h 450"/>
                <a:gd name="T34" fmla="*/ 436 w 2177"/>
                <a:gd name="T35" fmla="*/ 348 h 450"/>
                <a:gd name="T36" fmla="*/ 636 w 2177"/>
                <a:gd name="T37" fmla="*/ 348 h 450"/>
                <a:gd name="T38" fmla="*/ 728 w 2177"/>
                <a:gd name="T39" fmla="*/ 317 h 450"/>
                <a:gd name="T40" fmla="*/ 1432 w 2177"/>
                <a:gd name="T41" fmla="*/ 317 h 450"/>
                <a:gd name="T42" fmla="*/ 1530 w 2177"/>
                <a:gd name="T43" fmla="*/ 348 h 450"/>
                <a:gd name="T44" fmla="*/ 1730 w 2177"/>
                <a:gd name="T45" fmla="*/ 348 h 450"/>
                <a:gd name="T46" fmla="*/ 1930 w 2177"/>
                <a:gd name="T47" fmla="*/ 348 h 450"/>
                <a:gd name="T48" fmla="*/ 2042 w 2177"/>
                <a:gd name="T49" fmla="*/ 394 h 450"/>
                <a:gd name="T50" fmla="*/ 2133 w 2177"/>
                <a:gd name="T51" fmla="*/ 360 h 450"/>
                <a:gd name="T52" fmla="*/ 2177 w 2177"/>
                <a:gd name="T53" fmla="*/ 359 h 450"/>
                <a:gd name="T54" fmla="*/ 1916 w 2177"/>
                <a:gd name="T55" fmla="*/ 59 h 450"/>
                <a:gd name="T56" fmla="*/ 1875 w 2177"/>
                <a:gd name="T57" fmla="*/ 59 h 450"/>
                <a:gd name="T58" fmla="*/ 1844 w 2177"/>
                <a:gd name="T59" fmla="*/ 59 h 450"/>
                <a:gd name="T60" fmla="*/ 1775 w 2177"/>
                <a:gd name="T61" fmla="*/ 59 h 450"/>
                <a:gd name="T62" fmla="*/ 1762 w 2177"/>
                <a:gd name="T63" fmla="*/ 121 h 450"/>
                <a:gd name="T64" fmla="*/ 1579 w 2177"/>
                <a:gd name="T65" fmla="*/ 112 h 450"/>
                <a:gd name="T66" fmla="*/ 1579 w 2177"/>
                <a:gd name="T67" fmla="*/ 245 h 450"/>
                <a:gd name="T68" fmla="*/ 1542 w 2177"/>
                <a:gd name="T69" fmla="*/ 112 h 450"/>
                <a:gd name="T70" fmla="*/ 1460 w 2177"/>
                <a:gd name="T71" fmla="*/ 112 h 450"/>
                <a:gd name="T72" fmla="*/ 1424 w 2177"/>
                <a:gd name="T73" fmla="*/ 245 h 450"/>
                <a:gd name="T74" fmla="*/ 674 w 2177"/>
                <a:gd name="T75" fmla="*/ 129 h 450"/>
                <a:gd name="T76" fmla="*/ 674 w 2177"/>
                <a:gd name="T77" fmla="*/ 209 h 450"/>
                <a:gd name="T78" fmla="*/ 554 w 2177"/>
                <a:gd name="T79" fmla="*/ 112 h 450"/>
                <a:gd name="T80" fmla="*/ 472 w 2177"/>
                <a:gd name="T81" fmla="*/ 112 h 450"/>
                <a:gd name="T82" fmla="*/ 436 w 2177"/>
                <a:gd name="T83" fmla="*/ 245 h 450"/>
                <a:gd name="T84" fmla="*/ 236 w 2177"/>
                <a:gd name="T85" fmla="*/ 112 h 450"/>
                <a:gd name="T86" fmla="*/ 236 w 2177"/>
                <a:gd name="T87" fmla="*/ 245 h 450"/>
                <a:gd name="T88" fmla="*/ 144 w 2177"/>
                <a:gd name="T89" fmla="*/ 281 h 450"/>
                <a:gd name="T90" fmla="*/ 2050 w 2177"/>
                <a:gd name="T91" fmla="*/ 281 h 4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177" h="450">
                  <a:moveTo>
                    <a:pt x="2170" y="312"/>
                  </a:moveTo>
                  <a:cubicBezTo>
                    <a:pt x="2140" y="312"/>
                    <a:pt x="2140" y="312"/>
                    <a:pt x="2140" y="312"/>
                  </a:cubicBezTo>
                  <a:cubicBezTo>
                    <a:pt x="2136" y="312"/>
                    <a:pt x="2134" y="315"/>
                    <a:pt x="2133" y="318"/>
                  </a:cubicBezTo>
                  <a:cubicBezTo>
                    <a:pt x="2109" y="318"/>
                    <a:pt x="2109" y="318"/>
                    <a:pt x="2109" y="318"/>
                  </a:cubicBezTo>
                  <a:cubicBezTo>
                    <a:pt x="2109" y="304"/>
                    <a:pt x="2109" y="304"/>
                    <a:pt x="2109" y="304"/>
                  </a:cubicBezTo>
                  <a:cubicBezTo>
                    <a:pt x="2109" y="205"/>
                    <a:pt x="2109" y="205"/>
                    <a:pt x="2109" y="205"/>
                  </a:cubicBezTo>
                  <a:cubicBezTo>
                    <a:pt x="2097" y="205"/>
                    <a:pt x="2097" y="205"/>
                    <a:pt x="2097" y="205"/>
                  </a:cubicBezTo>
                  <a:cubicBezTo>
                    <a:pt x="2090" y="300"/>
                    <a:pt x="2090" y="300"/>
                    <a:pt x="2090" y="300"/>
                  </a:cubicBezTo>
                  <a:cubicBezTo>
                    <a:pt x="2059" y="294"/>
                    <a:pt x="2059" y="294"/>
                    <a:pt x="2059" y="294"/>
                  </a:cubicBezTo>
                  <a:cubicBezTo>
                    <a:pt x="2059" y="129"/>
                    <a:pt x="2059" y="129"/>
                    <a:pt x="2059" y="129"/>
                  </a:cubicBezTo>
                  <a:cubicBezTo>
                    <a:pt x="2059" y="109"/>
                    <a:pt x="1945" y="106"/>
                    <a:pt x="1945" y="106"/>
                  </a:cubicBezTo>
                  <a:cubicBezTo>
                    <a:pt x="1924" y="43"/>
                    <a:pt x="1924" y="43"/>
                    <a:pt x="1924" y="43"/>
                  </a:cubicBezTo>
                  <a:cubicBezTo>
                    <a:pt x="1924" y="18"/>
                    <a:pt x="1924" y="18"/>
                    <a:pt x="1924" y="18"/>
                  </a:cubicBezTo>
                  <a:cubicBezTo>
                    <a:pt x="1824" y="18"/>
                    <a:pt x="1824" y="18"/>
                    <a:pt x="1824" y="18"/>
                  </a:cubicBezTo>
                  <a:cubicBezTo>
                    <a:pt x="1824" y="18"/>
                    <a:pt x="1824" y="18"/>
                    <a:pt x="1824" y="18"/>
                  </a:cubicBezTo>
                  <a:cubicBezTo>
                    <a:pt x="1824" y="8"/>
                    <a:pt x="1816" y="0"/>
                    <a:pt x="1806" y="0"/>
                  </a:cubicBezTo>
                  <a:cubicBezTo>
                    <a:pt x="1758" y="0"/>
                    <a:pt x="1758" y="0"/>
                    <a:pt x="1758" y="0"/>
                  </a:cubicBezTo>
                  <a:cubicBezTo>
                    <a:pt x="1748" y="0"/>
                    <a:pt x="1741" y="8"/>
                    <a:pt x="1741" y="18"/>
                  </a:cubicBezTo>
                  <a:cubicBezTo>
                    <a:pt x="1741" y="18"/>
                    <a:pt x="1741" y="18"/>
                    <a:pt x="1741" y="18"/>
                  </a:cubicBezTo>
                  <a:cubicBezTo>
                    <a:pt x="1146" y="18"/>
                    <a:pt x="1146" y="18"/>
                    <a:pt x="1146" y="18"/>
                  </a:cubicBezTo>
                  <a:cubicBezTo>
                    <a:pt x="1146" y="43"/>
                    <a:pt x="1146" y="43"/>
                    <a:pt x="1146" y="43"/>
                  </a:cubicBezTo>
                  <a:cubicBezTo>
                    <a:pt x="1009" y="43"/>
                    <a:pt x="1009" y="43"/>
                    <a:pt x="1009" y="43"/>
                  </a:cubicBezTo>
                  <a:cubicBezTo>
                    <a:pt x="1010" y="41"/>
                    <a:pt x="1011" y="38"/>
                    <a:pt x="1011" y="35"/>
                  </a:cubicBezTo>
                  <a:cubicBezTo>
                    <a:pt x="1011" y="24"/>
                    <a:pt x="1002" y="15"/>
                    <a:pt x="991" y="15"/>
                  </a:cubicBezTo>
                  <a:cubicBezTo>
                    <a:pt x="917" y="15"/>
                    <a:pt x="917" y="15"/>
                    <a:pt x="917" y="15"/>
                  </a:cubicBezTo>
                  <a:cubicBezTo>
                    <a:pt x="906" y="15"/>
                    <a:pt x="897" y="24"/>
                    <a:pt x="897" y="35"/>
                  </a:cubicBezTo>
                  <a:cubicBezTo>
                    <a:pt x="897" y="38"/>
                    <a:pt x="897" y="41"/>
                    <a:pt x="899" y="43"/>
                  </a:cubicBezTo>
                  <a:cubicBezTo>
                    <a:pt x="789" y="43"/>
                    <a:pt x="789" y="43"/>
                    <a:pt x="789" y="43"/>
                  </a:cubicBezTo>
                  <a:cubicBezTo>
                    <a:pt x="789" y="18"/>
                    <a:pt x="789" y="18"/>
                    <a:pt x="789" y="18"/>
                  </a:cubicBezTo>
                  <a:cubicBezTo>
                    <a:pt x="716" y="18"/>
                    <a:pt x="716" y="18"/>
                    <a:pt x="716" y="18"/>
                  </a:cubicBezTo>
                  <a:cubicBezTo>
                    <a:pt x="716" y="43"/>
                    <a:pt x="716" y="43"/>
                    <a:pt x="716" y="43"/>
                  </a:cubicBezTo>
                  <a:cubicBezTo>
                    <a:pt x="612" y="43"/>
                    <a:pt x="612" y="43"/>
                    <a:pt x="612" y="43"/>
                  </a:cubicBezTo>
                  <a:cubicBezTo>
                    <a:pt x="612" y="18"/>
                    <a:pt x="612" y="18"/>
                    <a:pt x="612" y="18"/>
                  </a:cubicBezTo>
                  <a:cubicBezTo>
                    <a:pt x="156" y="18"/>
                    <a:pt x="156" y="18"/>
                    <a:pt x="156" y="18"/>
                  </a:cubicBezTo>
                  <a:cubicBezTo>
                    <a:pt x="156" y="43"/>
                    <a:pt x="156" y="43"/>
                    <a:pt x="156" y="43"/>
                  </a:cubicBezTo>
                  <a:cubicBezTo>
                    <a:pt x="134" y="43"/>
                    <a:pt x="134" y="43"/>
                    <a:pt x="134" y="43"/>
                  </a:cubicBezTo>
                  <a:cubicBezTo>
                    <a:pt x="134" y="288"/>
                    <a:pt x="134" y="288"/>
                    <a:pt x="134" y="288"/>
                  </a:cubicBezTo>
                  <a:cubicBezTo>
                    <a:pt x="79" y="288"/>
                    <a:pt x="79" y="288"/>
                    <a:pt x="79" y="288"/>
                  </a:cubicBezTo>
                  <a:cubicBezTo>
                    <a:pt x="89" y="318"/>
                    <a:pt x="89" y="318"/>
                    <a:pt x="89" y="318"/>
                  </a:cubicBezTo>
                  <a:cubicBezTo>
                    <a:pt x="43" y="318"/>
                    <a:pt x="43" y="318"/>
                    <a:pt x="43" y="318"/>
                  </a:cubicBezTo>
                  <a:cubicBezTo>
                    <a:pt x="43" y="315"/>
                    <a:pt x="40" y="312"/>
                    <a:pt x="37" y="312"/>
                  </a:cubicBezTo>
                  <a:cubicBezTo>
                    <a:pt x="6" y="312"/>
                    <a:pt x="6" y="312"/>
                    <a:pt x="6" y="312"/>
                  </a:cubicBezTo>
                  <a:cubicBezTo>
                    <a:pt x="3" y="312"/>
                    <a:pt x="0" y="315"/>
                    <a:pt x="0" y="319"/>
                  </a:cubicBezTo>
                  <a:cubicBezTo>
                    <a:pt x="0" y="359"/>
                    <a:pt x="0" y="359"/>
                    <a:pt x="0" y="359"/>
                  </a:cubicBezTo>
                  <a:cubicBezTo>
                    <a:pt x="0" y="363"/>
                    <a:pt x="3" y="366"/>
                    <a:pt x="6" y="366"/>
                  </a:cubicBezTo>
                  <a:cubicBezTo>
                    <a:pt x="37" y="366"/>
                    <a:pt x="37" y="366"/>
                    <a:pt x="37" y="366"/>
                  </a:cubicBezTo>
                  <a:cubicBezTo>
                    <a:pt x="40" y="366"/>
                    <a:pt x="43" y="363"/>
                    <a:pt x="43" y="360"/>
                  </a:cubicBezTo>
                  <a:cubicBezTo>
                    <a:pt x="104" y="360"/>
                    <a:pt x="104" y="360"/>
                    <a:pt x="104" y="360"/>
                  </a:cubicBezTo>
                  <a:cubicBezTo>
                    <a:pt x="115" y="388"/>
                    <a:pt x="115" y="388"/>
                    <a:pt x="115" y="388"/>
                  </a:cubicBezTo>
                  <a:cubicBezTo>
                    <a:pt x="188" y="367"/>
                    <a:pt x="188" y="367"/>
                    <a:pt x="188" y="367"/>
                  </a:cubicBezTo>
                  <a:cubicBezTo>
                    <a:pt x="201" y="355"/>
                    <a:pt x="217" y="348"/>
                    <a:pt x="236" y="348"/>
                  </a:cubicBezTo>
                  <a:cubicBezTo>
                    <a:pt x="271" y="348"/>
                    <a:pt x="301" y="374"/>
                    <a:pt x="307" y="408"/>
                  </a:cubicBezTo>
                  <a:cubicBezTo>
                    <a:pt x="365" y="408"/>
                    <a:pt x="365" y="408"/>
                    <a:pt x="365" y="408"/>
                  </a:cubicBezTo>
                  <a:cubicBezTo>
                    <a:pt x="371" y="374"/>
                    <a:pt x="401" y="348"/>
                    <a:pt x="436" y="348"/>
                  </a:cubicBezTo>
                  <a:cubicBezTo>
                    <a:pt x="471" y="348"/>
                    <a:pt x="501" y="374"/>
                    <a:pt x="507" y="408"/>
                  </a:cubicBezTo>
                  <a:cubicBezTo>
                    <a:pt x="565" y="408"/>
                    <a:pt x="565" y="408"/>
                    <a:pt x="565" y="408"/>
                  </a:cubicBezTo>
                  <a:cubicBezTo>
                    <a:pt x="571" y="374"/>
                    <a:pt x="601" y="348"/>
                    <a:pt x="636" y="348"/>
                  </a:cubicBezTo>
                  <a:cubicBezTo>
                    <a:pt x="654" y="348"/>
                    <a:pt x="671" y="355"/>
                    <a:pt x="684" y="367"/>
                  </a:cubicBezTo>
                  <a:cubicBezTo>
                    <a:pt x="684" y="317"/>
                    <a:pt x="684" y="317"/>
                    <a:pt x="684" y="317"/>
                  </a:cubicBezTo>
                  <a:cubicBezTo>
                    <a:pt x="728" y="317"/>
                    <a:pt x="728" y="317"/>
                    <a:pt x="728" y="317"/>
                  </a:cubicBezTo>
                  <a:cubicBezTo>
                    <a:pt x="728" y="450"/>
                    <a:pt x="728" y="450"/>
                    <a:pt x="728" y="450"/>
                  </a:cubicBezTo>
                  <a:cubicBezTo>
                    <a:pt x="1432" y="450"/>
                    <a:pt x="1432" y="450"/>
                    <a:pt x="1432" y="450"/>
                  </a:cubicBezTo>
                  <a:cubicBezTo>
                    <a:pt x="1432" y="317"/>
                    <a:pt x="1432" y="317"/>
                    <a:pt x="1432" y="317"/>
                  </a:cubicBezTo>
                  <a:cubicBezTo>
                    <a:pt x="1482" y="317"/>
                    <a:pt x="1482" y="317"/>
                    <a:pt x="1482" y="317"/>
                  </a:cubicBezTo>
                  <a:cubicBezTo>
                    <a:pt x="1482" y="367"/>
                    <a:pt x="1482" y="367"/>
                    <a:pt x="1482" y="367"/>
                  </a:cubicBezTo>
                  <a:cubicBezTo>
                    <a:pt x="1495" y="355"/>
                    <a:pt x="1511" y="348"/>
                    <a:pt x="1530" y="348"/>
                  </a:cubicBezTo>
                  <a:cubicBezTo>
                    <a:pt x="1565" y="348"/>
                    <a:pt x="1595" y="374"/>
                    <a:pt x="1601" y="408"/>
                  </a:cubicBezTo>
                  <a:cubicBezTo>
                    <a:pt x="1659" y="408"/>
                    <a:pt x="1659" y="408"/>
                    <a:pt x="1659" y="408"/>
                  </a:cubicBezTo>
                  <a:cubicBezTo>
                    <a:pt x="1665" y="374"/>
                    <a:pt x="1695" y="348"/>
                    <a:pt x="1730" y="348"/>
                  </a:cubicBezTo>
                  <a:cubicBezTo>
                    <a:pt x="1765" y="348"/>
                    <a:pt x="1795" y="374"/>
                    <a:pt x="1801" y="408"/>
                  </a:cubicBezTo>
                  <a:cubicBezTo>
                    <a:pt x="1859" y="408"/>
                    <a:pt x="1859" y="408"/>
                    <a:pt x="1859" y="408"/>
                  </a:cubicBezTo>
                  <a:cubicBezTo>
                    <a:pt x="1865" y="374"/>
                    <a:pt x="1895" y="348"/>
                    <a:pt x="1930" y="348"/>
                  </a:cubicBezTo>
                  <a:cubicBezTo>
                    <a:pt x="1948" y="348"/>
                    <a:pt x="1965" y="355"/>
                    <a:pt x="1978" y="367"/>
                  </a:cubicBezTo>
                  <a:cubicBezTo>
                    <a:pt x="1978" y="349"/>
                    <a:pt x="1978" y="349"/>
                    <a:pt x="1978" y="349"/>
                  </a:cubicBezTo>
                  <a:cubicBezTo>
                    <a:pt x="2042" y="394"/>
                    <a:pt x="2042" y="394"/>
                    <a:pt x="2042" y="394"/>
                  </a:cubicBezTo>
                  <a:cubicBezTo>
                    <a:pt x="2109" y="394"/>
                    <a:pt x="2109" y="394"/>
                    <a:pt x="2109" y="394"/>
                  </a:cubicBezTo>
                  <a:cubicBezTo>
                    <a:pt x="2109" y="360"/>
                    <a:pt x="2109" y="360"/>
                    <a:pt x="2109" y="360"/>
                  </a:cubicBezTo>
                  <a:cubicBezTo>
                    <a:pt x="2133" y="360"/>
                    <a:pt x="2133" y="360"/>
                    <a:pt x="2133" y="360"/>
                  </a:cubicBezTo>
                  <a:cubicBezTo>
                    <a:pt x="2134" y="363"/>
                    <a:pt x="2136" y="366"/>
                    <a:pt x="2140" y="366"/>
                  </a:cubicBezTo>
                  <a:cubicBezTo>
                    <a:pt x="2170" y="366"/>
                    <a:pt x="2170" y="366"/>
                    <a:pt x="2170" y="366"/>
                  </a:cubicBezTo>
                  <a:cubicBezTo>
                    <a:pt x="2174" y="366"/>
                    <a:pt x="2177" y="363"/>
                    <a:pt x="2177" y="359"/>
                  </a:cubicBezTo>
                  <a:cubicBezTo>
                    <a:pt x="2177" y="319"/>
                    <a:pt x="2177" y="319"/>
                    <a:pt x="2177" y="319"/>
                  </a:cubicBezTo>
                  <a:cubicBezTo>
                    <a:pt x="2177" y="315"/>
                    <a:pt x="2174" y="312"/>
                    <a:pt x="2170" y="312"/>
                  </a:cubicBezTo>
                  <a:close/>
                  <a:moveTo>
                    <a:pt x="1916" y="59"/>
                  </a:moveTo>
                  <a:cubicBezTo>
                    <a:pt x="1943" y="121"/>
                    <a:pt x="1943" y="121"/>
                    <a:pt x="1943" y="121"/>
                  </a:cubicBezTo>
                  <a:cubicBezTo>
                    <a:pt x="1901" y="121"/>
                    <a:pt x="1901" y="121"/>
                    <a:pt x="1901" y="121"/>
                  </a:cubicBezTo>
                  <a:cubicBezTo>
                    <a:pt x="1875" y="59"/>
                    <a:pt x="1875" y="59"/>
                    <a:pt x="1875" y="59"/>
                  </a:cubicBezTo>
                  <a:lnTo>
                    <a:pt x="1916" y="59"/>
                  </a:lnTo>
                  <a:close/>
                  <a:moveTo>
                    <a:pt x="1775" y="59"/>
                  </a:moveTo>
                  <a:cubicBezTo>
                    <a:pt x="1844" y="59"/>
                    <a:pt x="1844" y="59"/>
                    <a:pt x="1844" y="59"/>
                  </a:cubicBezTo>
                  <a:cubicBezTo>
                    <a:pt x="1844" y="121"/>
                    <a:pt x="1844" y="121"/>
                    <a:pt x="1844" y="121"/>
                  </a:cubicBezTo>
                  <a:cubicBezTo>
                    <a:pt x="1775" y="121"/>
                    <a:pt x="1775" y="121"/>
                    <a:pt x="1775" y="121"/>
                  </a:cubicBezTo>
                  <a:lnTo>
                    <a:pt x="1775" y="59"/>
                  </a:lnTo>
                  <a:close/>
                  <a:moveTo>
                    <a:pt x="1693" y="59"/>
                  </a:moveTo>
                  <a:cubicBezTo>
                    <a:pt x="1762" y="59"/>
                    <a:pt x="1762" y="59"/>
                    <a:pt x="1762" y="59"/>
                  </a:cubicBezTo>
                  <a:cubicBezTo>
                    <a:pt x="1762" y="121"/>
                    <a:pt x="1762" y="121"/>
                    <a:pt x="1762" y="121"/>
                  </a:cubicBezTo>
                  <a:cubicBezTo>
                    <a:pt x="1693" y="121"/>
                    <a:pt x="1693" y="121"/>
                    <a:pt x="1693" y="121"/>
                  </a:cubicBezTo>
                  <a:lnTo>
                    <a:pt x="1693" y="59"/>
                  </a:lnTo>
                  <a:close/>
                  <a:moveTo>
                    <a:pt x="1579" y="112"/>
                  </a:moveTo>
                  <a:cubicBezTo>
                    <a:pt x="1661" y="112"/>
                    <a:pt x="1661" y="112"/>
                    <a:pt x="1661" y="112"/>
                  </a:cubicBezTo>
                  <a:cubicBezTo>
                    <a:pt x="1661" y="245"/>
                    <a:pt x="1661" y="245"/>
                    <a:pt x="1661" y="245"/>
                  </a:cubicBezTo>
                  <a:cubicBezTo>
                    <a:pt x="1579" y="245"/>
                    <a:pt x="1579" y="245"/>
                    <a:pt x="1579" y="245"/>
                  </a:cubicBezTo>
                  <a:lnTo>
                    <a:pt x="1579" y="112"/>
                  </a:lnTo>
                  <a:close/>
                  <a:moveTo>
                    <a:pt x="1460" y="112"/>
                  </a:moveTo>
                  <a:cubicBezTo>
                    <a:pt x="1542" y="112"/>
                    <a:pt x="1542" y="112"/>
                    <a:pt x="1542" y="112"/>
                  </a:cubicBezTo>
                  <a:cubicBezTo>
                    <a:pt x="1542" y="245"/>
                    <a:pt x="1542" y="245"/>
                    <a:pt x="1542" y="245"/>
                  </a:cubicBezTo>
                  <a:cubicBezTo>
                    <a:pt x="1460" y="245"/>
                    <a:pt x="1460" y="245"/>
                    <a:pt x="1460" y="245"/>
                  </a:cubicBezTo>
                  <a:lnTo>
                    <a:pt x="1460" y="112"/>
                  </a:lnTo>
                  <a:close/>
                  <a:moveTo>
                    <a:pt x="1342" y="112"/>
                  </a:moveTo>
                  <a:cubicBezTo>
                    <a:pt x="1424" y="112"/>
                    <a:pt x="1424" y="112"/>
                    <a:pt x="1424" y="112"/>
                  </a:cubicBezTo>
                  <a:cubicBezTo>
                    <a:pt x="1424" y="245"/>
                    <a:pt x="1424" y="245"/>
                    <a:pt x="1424" y="245"/>
                  </a:cubicBezTo>
                  <a:cubicBezTo>
                    <a:pt x="1342" y="245"/>
                    <a:pt x="1342" y="245"/>
                    <a:pt x="1342" y="245"/>
                  </a:cubicBezTo>
                  <a:lnTo>
                    <a:pt x="1342" y="112"/>
                  </a:lnTo>
                  <a:close/>
                  <a:moveTo>
                    <a:pt x="674" y="129"/>
                  </a:moveTo>
                  <a:cubicBezTo>
                    <a:pt x="1217" y="129"/>
                    <a:pt x="1217" y="129"/>
                    <a:pt x="1217" y="129"/>
                  </a:cubicBezTo>
                  <a:cubicBezTo>
                    <a:pt x="1217" y="209"/>
                    <a:pt x="1217" y="209"/>
                    <a:pt x="1217" y="209"/>
                  </a:cubicBezTo>
                  <a:cubicBezTo>
                    <a:pt x="674" y="209"/>
                    <a:pt x="674" y="209"/>
                    <a:pt x="674" y="209"/>
                  </a:cubicBezTo>
                  <a:lnTo>
                    <a:pt x="674" y="129"/>
                  </a:lnTo>
                  <a:close/>
                  <a:moveTo>
                    <a:pt x="472" y="112"/>
                  </a:moveTo>
                  <a:cubicBezTo>
                    <a:pt x="554" y="112"/>
                    <a:pt x="554" y="112"/>
                    <a:pt x="554" y="112"/>
                  </a:cubicBezTo>
                  <a:cubicBezTo>
                    <a:pt x="554" y="245"/>
                    <a:pt x="554" y="245"/>
                    <a:pt x="554" y="245"/>
                  </a:cubicBezTo>
                  <a:cubicBezTo>
                    <a:pt x="472" y="245"/>
                    <a:pt x="472" y="245"/>
                    <a:pt x="472" y="245"/>
                  </a:cubicBezTo>
                  <a:lnTo>
                    <a:pt x="472" y="112"/>
                  </a:lnTo>
                  <a:close/>
                  <a:moveTo>
                    <a:pt x="354" y="112"/>
                  </a:moveTo>
                  <a:cubicBezTo>
                    <a:pt x="436" y="112"/>
                    <a:pt x="436" y="112"/>
                    <a:pt x="436" y="112"/>
                  </a:cubicBezTo>
                  <a:cubicBezTo>
                    <a:pt x="436" y="245"/>
                    <a:pt x="436" y="245"/>
                    <a:pt x="436" y="245"/>
                  </a:cubicBezTo>
                  <a:cubicBezTo>
                    <a:pt x="354" y="245"/>
                    <a:pt x="354" y="245"/>
                    <a:pt x="354" y="245"/>
                  </a:cubicBezTo>
                  <a:lnTo>
                    <a:pt x="354" y="112"/>
                  </a:lnTo>
                  <a:close/>
                  <a:moveTo>
                    <a:pt x="236" y="112"/>
                  </a:moveTo>
                  <a:cubicBezTo>
                    <a:pt x="318" y="112"/>
                    <a:pt x="318" y="112"/>
                    <a:pt x="318" y="112"/>
                  </a:cubicBezTo>
                  <a:cubicBezTo>
                    <a:pt x="318" y="245"/>
                    <a:pt x="318" y="245"/>
                    <a:pt x="318" y="245"/>
                  </a:cubicBezTo>
                  <a:cubicBezTo>
                    <a:pt x="236" y="245"/>
                    <a:pt x="236" y="245"/>
                    <a:pt x="236" y="245"/>
                  </a:cubicBezTo>
                  <a:lnTo>
                    <a:pt x="236" y="112"/>
                  </a:lnTo>
                  <a:close/>
                  <a:moveTo>
                    <a:pt x="2050" y="281"/>
                  </a:moveTo>
                  <a:cubicBezTo>
                    <a:pt x="144" y="281"/>
                    <a:pt x="144" y="281"/>
                    <a:pt x="144" y="281"/>
                  </a:cubicBezTo>
                  <a:cubicBezTo>
                    <a:pt x="144" y="266"/>
                    <a:pt x="144" y="266"/>
                    <a:pt x="144" y="266"/>
                  </a:cubicBezTo>
                  <a:cubicBezTo>
                    <a:pt x="2050" y="266"/>
                    <a:pt x="2050" y="266"/>
                    <a:pt x="2050" y="266"/>
                  </a:cubicBezTo>
                  <a:lnTo>
                    <a:pt x="2050" y="2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12" name="Rectangle 297"/>
            <p:cNvSpPr>
              <a:spLocks noChangeArrowheads="1"/>
            </p:cNvSpPr>
            <p:nvPr userDrawn="1"/>
          </p:nvSpPr>
          <p:spPr bwMode="auto">
            <a:xfrm>
              <a:off x="3375" y="2295"/>
              <a:ext cx="140" cy="1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13" name="Oval 298"/>
            <p:cNvSpPr>
              <a:spLocks noChangeArrowheads="1"/>
            </p:cNvSpPr>
            <p:nvPr userDrawn="1"/>
          </p:nvSpPr>
          <p:spPr bwMode="auto">
            <a:xfrm>
              <a:off x="2679" y="2356"/>
              <a:ext cx="29" cy="3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14" name="Oval 299"/>
            <p:cNvSpPr>
              <a:spLocks noChangeArrowheads="1"/>
            </p:cNvSpPr>
            <p:nvPr userDrawn="1"/>
          </p:nvSpPr>
          <p:spPr bwMode="auto">
            <a:xfrm>
              <a:off x="2625" y="2356"/>
              <a:ext cx="30" cy="3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15" name="Oval 300"/>
            <p:cNvSpPr>
              <a:spLocks noChangeArrowheads="1"/>
            </p:cNvSpPr>
            <p:nvPr userDrawn="1"/>
          </p:nvSpPr>
          <p:spPr bwMode="auto">
            <a:xfrm>
              <a:off x="2572" y="2356"/>
              <a:ext cx="29" cy="3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16" name="Freeform 301"/>
            <p:cNvSpPr>
              <a:spLocks/>
            </p:cNvSpPr>
            <p:nvPr userDrawn="1"/>
          </p:nvSpPr>
          <p:spPr bwMode="auto">
            <a:xfrm>
              <a:off x="2594" y="2353"/>
              <a:ext cx="38" cy="19"/>
            </a:xfrm>
            <a:custGeom>
              <a:avLst/>
              <a:gdLst>
                <a:gd name="T0" fmla="*/ 141 w 141"/>
                <a:gd name="T1" fmla="*/ 0 h 69"/>
                <a:gd name="T2" fmla="*/ 0 w 141"/>
                <a:gd name="T3" fmla="*/ 0 h 69"/>
                <a:gd name="T4" fmla="*/ 42 w 141"/>
                <a:gd name="T5" fmla="*/ 66 h 69"/>
                <a:gd name="T6" fmla="*/ 42 w 141"/>
                <a:gd name="T7" fmla="*/ 69 h 69"/>
                <a:gd name="T8" fmla="*/ 98 w 141"/>
                <a:gd name="T9" fmla="*/ 69 h 69"/>
                <a:gd name="T10" fmla="*/ 98 w 141"/>
                <a:gd name="T11" fmla="*/ 66 h 69"/>
                <a:gd name="T12" fmla="*/ 141 w 141"/>
                <a:gd name="T13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1" h="69">
                  <a:moveTo>
                    <a:pt x="14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5" y="11"/>
                    <a:pt x="42" y="37"/>
                    <a:pt x="42" y="66"/>
                  </a:cubicBezTo>
                  <a:cubicBezTo>
                    <a:pt x="42" y="67"/>
                    <a:pt x="42" y="68"/>
                    <a:pt x="42" y="69"/>
                  </a:cubicBezTo>
                  <a:cubicBezTo>
                    <a:pt x="98" y="69"/>
                    <a:pt x="98" y="69"/>
                    <a:pt x="98" y="69"/>
                  </a:cubicBezTo>
                  <a:cubicBezTo>
                    <a:pt x="98" y="68"/>
                    <a:pt x="98" y="67"/>
                    <a:pt x="98" y="66"/>
                  </a:cubicBezTo>
                  <a:cubicBezTo>
                    <a:pt x="98" y="37"/>
                    <a:pt x="116" y="11"/>
                    <a:pt x="14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17" name="Freeform 302"/>
            <p:cNvSpPr>
              <a:spLocks/>
            </p:cNvSpPr>
            <p:nvPr userDrawn="1"/>
          </p:nvSpPr>
          <p:spPr bwMode="auto">
            <a:xfrm>
              <a:off x="2648" y="2353"/>
              <a:ext cx="37" cy="19"/>
            </a:xfrm>
            <a:custGeom>
              <a:avLst/>
              <a:gdLst>
                <a:gd name="T0" fmla="*/ 141 w 141"/>
                <a:gd name="T1" fmla="*/ 0 h 69"/>
                <a:gd name="T2" fmla="*/ 0 w 141"/>
                <a:gd name="T3" fmla="*/ 0 h 69"/>
                <a:gd name="T4" fmla="*/ 42 w 141"/>
                <a:gd name="T5" fmla="*/ 66 h 69"/>
                <a:gd name="T6" fmla="*/ 42 w 141"/>
                <a:gd name="T7" fmla="*/ 69 h 69"/>
                <a:gd name="T8" fmla="*/ 98 w 141"/>
                <a:gd name="T9" fmla="*/ 69 h 69"/>
                <a:gd name="T10" fmla="*/ 98 w 141"/>
                <a:gd name="T11" fmla="*/ 66 h 69"/>
                <a:gd name="T12" fmla="*/ 141 w 141"/>
                <a:gd name="T13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1" h="69">
                  <a:moveTo>
                    <a:pt x="14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5" y="11"/>
                    <a:pt x="42" y="37"/>
                    <a:pt x="42" y="66"/>
                  </a:cubicBezTo>
                  <a:cubicBezTo>
                    <a:pt x="42" y="67"/>
                    <a:pt x="42" y="68"/>
                    <a:pt x="42" y="69"/>
                  </a:cubicBezTo>
                  <a:cubicBezTo>
                    <a:pt x="98" y="69"/>
                    <a:pt x="98" y="69"/>
                    <a:pt x="98" y="69"/>
                  </a:cubicBezTo>
                  <a:cubicBezTo>
                    <a:pt x="98" y="68"/>
                    <a:pt x="98" y="67"/>
                    <a:pt x="98" y="66"/>
                  </a:cubicBezTo>
                  <a:cubicBezTo>
                    <a:pt x="98" y="37"/>
                    <a:pt x="116" y="11"/>
                    <a:pt x="14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18" name="Freeform 303"/>
            <p:cNvSpPr>
              <a:spLocks/>
            </p:cNvSpPr>
            <p:nvPr userDrawn="1"/>
          </p:nvSpPr>
          <p:spPr bwMode="auto">
            <a:xfrm>
              <a:off x="2701" y="2353"/>
              <a:ext cx="19" cy="17"/>
            </a:xfrm>
            <a:custGeom>
              <a:avLst/>
              <a:gdLst>
                <a:gd name="T0" fmla="*/ 0 w 71"/>
                <a:gd name="T1" fmla="*/ 0 h 61"/>
                <a:gd name="T2" fmla="*/ 43 w 71"/>
                <a:gd name="T3" fmla="*/ 61 h 61"/>
                <a:gd name="T4" fmla="*/ 71 w 71"/>
                <a:gd name="T5" fmla="*/ 11 h 61"/>
                <a:gd name="T6" fmla="*/ 70 w 71"/>
                <a:gd name="T7" fmla="*/ 0 h 61"/>
                <a:gd name="T8" fmla="*/ 0 w 71"/>
                <a:gd name="T9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1" h="61">
                  <a:moveTo>
                    <a:pt x="0" y="0"/>
                  </a:moveTo>
                  <a:cubicBezTo>
                    <a:pt x="24" y="10"/>
                    <a:pt x="41" y="33"/>
                    <a:pt x="43" y="61"/>
                  </a:cubicBezTo>
                  <a:cubicBezTo>
                    <a:pt x="59" y="50"/>
                    <a:pt x="71" y="32"/>
                    <a:pt x="71" y="11"/>
                  </a:cubicBezTo>
                  <a:cubicBezTo>
                    <a:pt x="71" y="7"/>
                    <a:pt x="70" y="3"/>
                    <a:pt x="70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19" name="Freeform 304"/>
            <p:cNvSpPr>
              <a:spLocks noEditPoints="1"/>
            </p:cNvSpPr>
            <p:nvPr userDrawn="1"/>
          </p:nvSpPr>
          <p:spPr bwMode="auto">
            <a:xfrm>
              <a:off x="2525" y="2244"/>
              <a:ext cx="664" cy="128"/>
            </a:xfrm>
            <a:custGeom>
              <a:avLst/>
              <a:gdLst>
                <a:gd name="T0" fmla="*/ 2450 w 2504"/>
                <a:gd name="T1" fmla="*/ 369 h 478"/>
                <a:gd name="T2" fmla="*/ 2427 w 2504"/>
                <a:gd name="T3" fmla="*/ 358 h 478"/>
                <a:gd name="T4" fmla="*/ 2387 w 2504"/>
                <a:gd name="T5" fmla="*/ 104 h 478"/>
                <a:gd name="T6" fmla="*/ 2177 w 2504"/>
                <a:gd name="T7" fmla="*/ 23 h 478"/>
                <a:gd name="T8" fmla="*/ 2218 w 2504"/>
                <a:gd name="T9" fmla="*/ 0 h 478"/>
                <a:gd name="T10" fmla="*/ 244 w 2504"/>
                <a:gd name="T11" fmla="*/ 23 h 478"/>
                <a:gd name="T12" fmla="*/ 167 w 2504"/>
                <a:gd name="T13" fmla="*/ 44 h 478"/>
                <a:gd name="T14" fmla="*/ 46 w 2504"/>
                <a:gd name="T15" fmla="*/ 134 h 478"/>
                <a:gd name="T16" fmla="*/ 117 w 2504"/>
                <a:gd name="T17" fmla="*/ 369 h 478"/>
                <a:gd name="T18" fmla="*/ 8 w 2504"/>
                <a:gd name="T19" fmla="*/ 362 h 478"/>
                <a:gd name="T20" fmla="*/ 8 w 2504"/>
                <a:gd name="T21" fmla="*/ 428 h 478"/>
                <a:gd name="T22" fmla="*/ 129 w 2504"/>
                <a:gd name="T23" fmla="*/ 420 h 478"/>
                <a:gd name="T24" fmla="*/ 795 w 2504"/>
                <a:gd name="T25" fmla="*/ 391 h 478"/>
                <a:gd name="T26" fmla="*/ 1268 w 2504"/>
                <a:gd name="T27" fmla="*/ 478 h 478"/>
                <a:gd name="T28" fmla="*/ 2305 w 2504"/>
                <a:gd name="T29" fmla="*/ 391 h 478"/>
                <a:gd name="T30" fmla="*/ 2450 w 2504"/>
                <a:gd name="T31" fmla="*/ 420 h 478"/>
                <a:gd name="T32" fmla="*/ 2504 w 2504"/>
                <a:gd name="T33" fmla="*/ 420 h 478"/>
                <a:gd name="T34" fmla="*/ 2181 w 2504"/>
                <a:gd name="T35" fmla="*/ 178 h 478"/>
                <a:gd name="T36" fmla="*/ 2128 w 2504"/>
                <a:gd name="T37" fmla="*/ 178 h 478"/>
                <a:gd name="T38" fmla="*/ 1988 w 2504"/>
                <a:gd name="T39" fmla="*/ 44 h 478"/>
                <a:gd name="T40" fmla="*/ 2152 w 2504"/>
                <a:gd name="T41" fmla="*/ 44 h 478"/>
                <a:gd name="T42" fmla="*/ 2046 w 2504"/>
                <a:gd name="T43" fmla="*/ 278 h 478"/>
                <a:gd name="T44" fmla="*/ 1798 w 2504"/>
                <a:gd name="T45" fmla="*/ 44 h 478"/>
                <a:gd name="T46" fmla="*/ 1963 w 2504"/>
                <a:gd name="T47" fmla="*/ 44 h 478"/>
                <a:gd name="T48" fmla="*/ 1909 w 2504"/>
                <a:gd name="T49" fmla="*/ 278 h 478"/>
                <a:gd name="T50" fmla="*/ 1909 w 2504"/>
                <a:gd name="T51" fmla="*/ 178 h 478"/>
                <a:gd name="T52" fmla="*/ 376 w 2504"/>
                <a:gd name="T53" fmla="*/ 278 h 478"/>
                <a:gd name="T54" fmla="*/ 474 w 2504"/>
                <a:gd name="T55" fmla="*/ 44 h 478"/>
                <a:gd name="T56" fmla="*/ 638 w 2504"/>
                <a:gd name="T57" fmla="*/ 44 h 478"/>
                <a:gd name="T58" fmla="*/ 682 w 2504"/>
                <a:gd name="T59" fmla="*/ 178 h 478"/>
                <a:gd name="T60" fmla="*/ 578 w 2504"/>
                <a:gd name="T61" fmla="*/ 178 h 478"/>
                <a:gd name="T62" fmla="*/ 827 w 2504"/>
                <a:gd name="T63" fmla="*/ 23 h 478"/>
                <a:gd name="T64" fmla="*/ 780 w 2504"/>
                <a:gd name="T65" fmla="*/ 178 h 478"/>
                <a:gd name="T66" fmla="*/ 780 w 2504"/>
                <a:gd name="T67" fmla="*/ 278 h 478"/>
                <a:gd name="T68" fmla="*/ 852 w 2504"/>
                <a:gd name="T69" fmla="*/ 23 h 478"/>
                <a:gd name="T70" fmla="*/ 852 w 2504"/>
                <a:gd name="T71" fmla="*/ 44 h 478"/>
                <a:gd name="T72" fmla="*/ 1086 w 2504"/>
                <a:gd name="T73" fmla="*/ 278 h 478"/>
                <a:gd name="T74" fmla="*/ 1042 w 2504"/>
                <a:gd name="T75" fmla="*/ 44 h 478"/>
                <a:gd name="T76" fmla="*/ 1206 w 2504"/>
                <a:gd name="T77" fmla="*/ 44 h 478"/>
                <a:gd name="T78" fmla="*/ 1288 w 2504"/>
                <a:gd name="T79" fmla="*/ 178 h 478"/>
                <a:gd name="T80" fmla="*/ 1184 w 2504"/>
                <a:gd name="T81" fmla="*/ 178 h 478"/>
                <a:gd name="T82" fmla="*/ 1395 w 2504"/>
                <a:gd name="T83" fmla="*/ 23 h 478"/>
                <a:gd name="T84" fmla="*/ 1386 w 2504"/>
                <a:gd name="T85" fmla="*/ 178 h 478"/>
                <a:gd name="T86" fmla="*/ 1386 w 2504"/>
                <a:gd name="T87" fmla="*/ 278 h 478"/>
                <a:gd name="T88" fmla="*/ 1420 w 2504"/>
                <a:gd name="T89" fmla="*/ 23 h 478"/>
                <a:gd name="T90" fmla="*/ 1420 w 2504"/>
                <a:gd name="T91" fmla="*/ 44 h 478"/>
                <a:gd name="T92" fmla="*/ 1692 w 2504"/>
                <a:gd name="T93" fmla="*/ 278 h 478"/>
                <a:gd name="T94" fmla="*/ 1609 w 2504"/>
                <a:gd name="T95" fmla="*/ 44 h 478"/>
                <a:gd name="T96" fmla="*/ 1773 w 2504"/>
                <a:gd name="T97" fmla="*/ 44 h 478"/>
                <a:gd name="T98" fmla="*/ 1826 w 2504"/>
                <a:gd name="T99" fmla="*/ 178 h 478"/>
                <a:gd name="T100" fmla="*/ 1774 w 2504"/>
                <a:gd name="T101" fmla="*/ 178 h 478"/>
                <a:gd name="T102" fmla="*/ 449 w 2504"/>
                <a:gd name="T103" fmla="*/ 44 h 478"/>
                <a:gd name="T104" fmla="*/ 234 w 2504"/>
                <a:gd name="T105" fmla="*/ 341 h 478"/>
                <a:gd name="T106" fmla="*/ 234 w 2504"/>
                <a:gd name="T107" fmla="*/ 134 h 478"/>
                <a:gd name="T108" fmla="*/ 244 w 2504"/>
                <a:gd name="T109" fmla="*/ 375 h 478"/>
                <a:gd name="T110" fmla="*/ 2244 w 2504"/>
                <a:gd name="T111" fmla="*/ 375 h 478"/>
                <a:gd name="T112" fmla="*/ 2347 w 2504"/>
                <a:gd name="T113" fmla="*/ 341 h 4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504" h="478">
                  <a:moveTo>
                    <a:pt x="2496" y="362"/>
                  </a:moveTo>
                  <a:cubicBezTo>
                    <a:pt x="2458" y="362"/>
                    <a:pt x="2458" y="362"/>
                    <a:pt x="2458" y="362"/>
                  </a:cubicBezTo>
                  <a:cubicBezTo>
                    <a:pt x="2454" y="362"/>
                    <a:pt x="2451" y="365"/>
                    <a:pt x="2450" y="369"/>
                  </a:cubicBezTo>
                  <a:cubicBezTo>
                    <a:pt x="2372" y="369"/>
                    <a:pt x="2372" y="369"/>
                    <a:pt x="2372" y="369"/>
                  </a:cubicBezTo>
                  <a:cubicBezTo>
                    <a:pt x="2376" y="366"/>
                    <a:pt x="2378" y="362"/>
                    <a:pt x="2381" y="358"/>
                  </a:cubicBezTo>
                  <a:cubicBezTo>
                    <a:pt x="2427" y="358"/>
                    <a:pt x="2427" y="358"/>
                    <a:pt x="2427" y="358"/>
                  </a:cubicBezTo>
                  <a:cubicBezTo>
                    <a:pt x="2427" y="134"/>
                    <a:pt x="2427" y="134"/>
                    <a:pt x="2427" y="134"/>
                  </a:cubicBezTo>
                  <a:cubicBezTo>
                    <a:pt x="2387" y="134"/>
                    <a:pt x="2387" y="134"/>
                    <a:pt x="2387" y="134"/>
                  </a:cubicBezTo>
                  <a:cubicBezTo>
                    <a:pt x="2387" y="104"/>
                    <a:pt x="2387" y="104"/>
                    <a:pt x="2387" y="104"/>
                  </a:cubicBezTo>
                  <a:cubicBezTo>
                    <a:pt x="2387" y="71"/>
                    <a:pt x="2358" y="44"/>
                    <a:pt x="2323" y="44"/>
                  </a:cubicBezTo>
                  <a:cubicBezTo>
                    <a:pt x="2177" y="44"/>
                    <a:pt x="2177" y="44"/>
                    <a:pt x="2177" y="44"/>
                  </a:cubicBezTo>
                  <a:cubicBezTo>
                    <a:pt x="2177" y="23"/>
                    <a:pt x="2177" y="23"/>
                    <a:pt x="2177" y="23"/>
                  </a:cubicBezTo>
                  <a:cubicBezTo>
                    <a:pt x="2218" y="23"/>
                    <a:pt x="2218" y="23"/>
                    <a:pt x="2218" y="23"/>
                  </a:cubicBezTo>
                  <a:cubicBezTo>
                    <a:pt x="2224" y="23"/>
                    <a:pt x="2230" y="18"/>
                    <a:pt x="2230" y="12"/>
                  </a:cubicBezTo>
                  <a:cubicBezTo>
                    <a:pt x="2230" y="5"/>
                    <a:pt x="2224" y="0"/>
                    <a:pt x="2218" y="0"/>
                  </a:cubicBezTo>
                  <a:cubicBezTo>
                    <a:pt x="244" y="0"/>
                    <a:pt x="244" y="0"/>
                    <a:pt x="244" y="0"/>
                  </a:cubicBezTo>
                  <a:cubicBezTo>
                    <a:pt x="237" y="0"/>
                    <a:pt x="232" y="5"/>
                    <a:pt x="232" y="12"/>
                  </a:cubicBezTo>
                  <a:cubicBezTo>
                    <a:pt x="232" y="18"/>
                    <a:pt x="237" y="23"/>
                    <a:pt x="244" y="23"/>
                  </a:cubicBezTo>
                  <a:cubicBezTo>
                    <a:pt x="260" y="23"/>
                    <a:pt x="260" y="23"/>
                    <a:pt x="260" y="23"/>
                  </a:cubicBezTo>
                  <a:cubicBezTo>
                    <a:pt x="260" y="44"/>
                    <a:pt x="260" y="44"/>
                    <a:pt x="260" y="44"/>
                  </a:cubicBezTo>
                  <a:cubicBezTo>
                    <a:pt x="167" y="44"/>
                    <a:pt x="167" y="44"/>
                    <a:pt x="167" y="44"/>
                  </a:cubicBezTo>
                  <a:cubicBezTo>
                    <a:pt x="131" y="44"/>
                    <a:pt x="102" y="71"/>
                    <a:pt x="102" y="104"/>
                  </a:cubicBezTo>
                  <a:cubicBezTo>
                    <a:pt x="102" y="134"/>
                    <a:pt x="102" y="134"/>
                    <a:pt x="102" y="134"/>
                  </a:cubicBezTo>
                  <a:cubicBezTo>
                    <a:pt x="46" y="134"/>
                    <a:pt x="46" y="134"/>
                    <a:pt x="46" y="134"/>
                  </a:cubicBezTo>
                  <a:cubicBezTo>
                    <a:pt x="46" y="358"/>
                    <a:pt x="46" y="358"/>
                    <a:pt x="46" y="358"/>
                  </a:cubicBezTo>
                  <a:cubicBezTo>
                    <a:pt x="109" y="358"/>
                    <a:pt x="109" y="358"/>
                    <a:pt x="109" y="358"/>
                  </a:cubicBezTo>
                  <a:cubicBezTo>
                    <a:pt x="111" y="362"/>
                    <a:pt x="114" y="366"/>
                    <a:pt x="117" y="369"/>
                  </a:cubicBezTo>
                  <a:cubicBezTo>
                    <a:pt x="54" y="369"/>
                    <a:pt x="54" y="369"/>
                    <a:pt x="54" y="369"/>
                  </a:cubicBezTo>
                  <a:cubicBezTo>
                    <a:pt x="54" y="365"/>
                    <a:pt x="50" y="362"/>
                    <a:pt x="46" y="362"/>
                  </a:cubicBezTo>
                  <a:cubicBezTo>
                    <a:pt x="8" y="362"/>
                    <a:pt x="8" y="362"/>
                    <a:pt x="8" y="362"/>
                  </a:cubicBezTo>
                  <a:cubicBezTo>
                    <a:pt x="4" y="362"/>
                    <a:pt x="0" y="366"/>
                    <a:pt x="0" y="370"/>
                  </a:cubicBezTo>
                  <a:cubicBezTo>
                    <a:pt x="0" y="420"/>
                    <a:pt x="0" y="420"/>
                    <a:pt x="0" y="420"/>
                  </a:cubicBezTo>
                  <a:cubicBezTo>
                    <a:pt x="0" y="424"/>
                    <a:pt x="4" y="428"/>
                    <a:pt x="8" y="428"/>
                  </a:cubicBezTo>
                  <a:cubicBezTo>
                    <a:pt x="46" y="428"/>
                    <a:pt x="46" y="428"/>
                    <a:pt x="46" y="428"/>
                  </a:cubicBezTo>
                  <a:cubicBezTo>
                    <a:pt x="50" y="428"/>
                    <a:pt x="54" y="425"/>
                    <a:pt x="54" y="420"/>
                  </a:cubicBezTo>
                  <a:cubicBezTo>
                    <a:pt x="129" y="420"/>
                    <a:pt x="129" y="420"/>
                    <a:pt x="129" y="420"/>
                  </a:cubicBezTo>
                  <a:cubicBezTo>
                    <a:pt x="129" y="441"/>
                    <a:pt x="140" y="459"/>
                    <a:pt x="157" y="470"/>
                  </a:cubicBezTo>
                  <a:cubicBezTo>
                    <a:pt x="159" y="445"/>
                    <a:pt x="178" y="406"/>
                    <a:pt x="200" y="391"/>
                  </a:cubicBezTo>
                  <a:cubicBezTo>
                    <a:pt x="795" y="391"/>
                    <a:pt x="795" y="391"/>
                    <a:pt x="795" y="391"/>
                  </a:cubicBezTo>
                  <a:cubicBezTo>
                    <a:pt x="1099" y="478"/>
                    <a:pt x="1099" y="478"/>
                    <a:pt x="1099" y="478"/>
                  </a:cubicBezTo>
                  <a:cubicBezTo>
                    <a:pt x="1242" y="478"/>
                    <a:pt x="1242" y="478"/>
                    <a:pt x="1242" y="478"/>
                  </a:cubicBezTo>
                  <a:cubicBezTo>
                    <a:pt x="1268" y="478"/>
                    <a:pt x="1268" y="478"/>
                    <a:pt x="1268" y="478"/>
                  </a:cubicBezTo>
                  <a:cubicBezTo>
                    <a:pt x="1390" y="478"/>
                    <a:pt x="1390" y="478"/>
                    <a:pt x="1390" y="478"/>
                  </a:cubicBezTo>
                  <a:cubicBezTo>
                    <a:pt x="1695" y="391"/>
                    <a:pt x="1695" y="391"/>
                    <a:pt x="1695" y="391"/>
                  </a:cubicBezTo>
                  <a:cubicBezTo>
                    <a:pt x="2305" y="391"/>
                    <a:pt x="2305" y="391"/>
                    <a:pt x="2305" y="391"/>
                  </a:cubicBezTo>
                  <a:cubicBezTo>
                    <a:pt x="2326" y="406"/>
                    <a:pt x="2346" y="445"/>
                    <a:pt x="2348" y="470"/>
                  </a:cubicBezTo>
                  <a:cubicBezTo>
                    <a:pt x="2364" y="459"/>
                    <a:pt x="2375" y="441"/>
                    <a:pt x="2375" y="420"/>
                  </a:cubicBezTo>
                  <a:cubicBezTo>
                    <a:pt x="2450" y="420"/>
                    <a:pt x="2450" y="420"/>
                    <a:pt x="2450" y="420"/>
                  </a:cubicBezTo>
                  <a:cubicBezTo>
                    <a:pt x="2451" y="425"/>
                    <a:pt x="2454" y="428"/>
                    <a:pt x="2458" y="428"/>
                  </a:cubicBezTo>
                  <a:cubicBezTo>
                    <a:pt x="2496" y="428"/>
                    <a:pt x="2496" y="428"/>
                    <a:pt x="2496" y="428"/>
                  </a:cubicBezTo>
                  <a:cubicBezTo>
                    <a:pt x="2501" y="428"/>
                    <a:pt x="2504" y="424"/>
                    <a:pt x="2504" y="420"/>
                  </a:cubicBezTo>
                  <a:cubicBezTo>
                    <a:pt x="2504" y="370"/>
                    <a:pt x="2504" y="370"/>
                    <a:pt x="2504" y="370"/>
                  </a:cubicBezTo>
                  <a:cubicBezTo>
                    <a:pt x="2504" y="366"/>
                    <a:pt x="2501" y="362"/>
                    <a:pt x="2496" y="362"/>
                  </a:cubicBezTo>
                  <a:close/>
                  <a:moveTo>
                    <a:pt x="2181" y="178"/>
                  </a:moveTo>
                  <a:cubicBezTo>
                    <a:pt x="2181" y="278"/>
                    <a:pt x="2181" y="278"/>
                    <a:pt x="2181" y="278"/>
                  </a:cubicBezTo>
                  <a:cubicBezTo>
                    <a:pt x="2128" y="278"/>
                    <a:pt x="2128" y="278"/>
                    <a:pt x="2128" y="278"/>
                  </a:cubicBezTo>
                  <a:cubicBezTo>
                    <a:pt x="2128" y="178"/>
                    <a:pt x="2128" y="178"/>
                    <a:pt x="2128" y="178"/>
                  </a:cubicBezTo>
                  <a:lnTo>
                    <a:pt x="2181" y="178"/>
                  </a:lnTo>
                  <a:close/>
                  <a:moveTo>
                    <a:pt x="2152" y="44"/>
                  </a:moveTo>
                  <a:cubicBezTo>
                    <a:pt x="1988" y="44"/>
                    <a:pt x="1988" y="44"/>
                    <a:pt x="1988" y="44"/>
                  </a:cubicBezTo>
                  <a:cubicBezTo>
                    <a:pt x="1988" y="23"/>
                    <a:pt x="1988" y="23"/>
                    <a:pt x="1988" y="23"/>
                  </a:cubicBezTo>
                  <a:cubicBezTo>
                    <a:pt x="2152" y="23"/>
                    <a:pt x="2152" y="23"/>
                    <a:pt x="2152" y="23"/>
                  </a:cubicBezTo>
                  <a:lnTo>
                    <a:pt x="2152" y="44"/>
                  </a:lnTo>
                  <a:close/>
                  <a:moveTo>
                    <a:pt x="2098" y="178"/>
                  </a:moveTo>
                  <a:cubicBezTo>
                    <a:pt x="2098" y="278"/>
                    <a:pt x="2098" y="278"/>
                    <a:pt x="2098" y="278"/>
                  </a:cubicBezTo>
                  <a:cubicBezTo>
                    <a:pt x="2046" y="278"/>
                    <a:pt x="2046" y="278"/>
                    <a:pt x="2046" y="278"/>
                  </a:cubicBezTo>
                  <a:cubicBezTo>
                    <a:pt x="2046" y="178"/>
                    <a:pt x="2046" y="178"/>
                    <a:pt x="2046" y="178"/>
                  </a:cubicBezTo>
                  <a:lnTo>
                    <a:pt x="2098" y="178"/>
                  </a:lnTo>
                  <a:close/>
                  <a:moveTo>
                    <a:pt x="1798" y="44"/>
                  </a:moveTo>
                  <a:cubicBezTo>
                    <a:pt x="1798" y="23"/>
                    <a:pt x="1798" y="23"/>
                    <a:pt x="1798" y="23"/>
                  </a:cubicBezTo>
                  <a:cubicBezTo>
                    <a:pt x="1963" y="23"/>
                    <a:pt x="1963" y="23"/>
                    <a:pt x="1963" y="23"/>
                  </a:cubicBezTo>
                  <a:cubicBezTo>
                    <a:pt x="1963" y="44"/>
                    <a:pt x="1963" y="44"/>
                    <a:pt x="1963" y="44"/>
                  </a:cubicBezTo>
                  <a:lnTo>
                    <a:pt x="1798" y="44"/>
                  </a:lnTo>
                  <a:close/>
                  <a:moveTo>
                    <a:pt x="1909" y="178"/>
                  </a:moveTo>
                  <a:cubicBezTo>
                    <a:pt x="1909" y="278"/>
                    <a:pt x="1909" y="278"/>
                    <a:pt x="1909" y="278"/>
                  </a:cubicBezTo>
                  <a:cubicBezTo>
                    <a:pt x="1856" y="278"/>
                    <a:pt x="1856" y="278"/>
                    <a:pt x="1856" y="278"/>
                  </a:cubicBezTo>
                  <a:cubicBezTo>
                    <a:pt x="1856" y="178"/>
                    <a:pt x="1856" y="178"/>
                    <a:pt x="1856" y="178"/>
                  </a:cubicBezTo>
                  <a:lnTo>
                    <a:pt x="1909" y="178"/>
                  </a:lnTo>
                  <a:close/>
                  <a:moveTo>
                    <a:pt x="480" y="178"/>
                  </a:moveTo>
                  <a:cubicBezTo>
                    <a:pt x="480" y="278"/>
                    <a:pt x="480" y="278"/>
                    <a:pt x="480" y="278"/>
                  </a:cubicBezTo>
                  <a:cubicBezTo>
                    <a:pt x="376" y="278"/>
                    <a:pt x="376" y="278"/>
                    <a:pt x="376" y="278"/>
                  </a:cubicBezTo>
                  <a:cubicBezTo>
                    <a:pt x="376" y="178"/>
                    <a:pt x="376" y="178"/>
                    <a:pt x="376" y="178"/>
                  </a:cubicBezTo>
                  <a:lnTo>
                    <a:pt x="480" y="178"/>
                  </a:lnTo>
                  <a:close/>
                  <a:moveTo>
                    <a:pt x="474" y="44"/>
                  </a:moveTo>
                  <a:cubicBezTo>
                    <a:pt x="474" y="23"/>
                    <a:pt x="474" y="23"/>
                    <a:pt x="474" y="23"/>
                  </a:cubicBezTo>
                  <a:cubicBezTo>
                    <a:pt x="638" y="23"/>
                    <a:pt x="638" y="23"/>
                    <a:pt x="638" y="23"/>
                  </a:cubicBezTo>
                  <a:cubicBezTo>
                    <a:pt x="638" y="44"/>
                    <a:pt x="638" y="44"/>
                    <a:pt x="638" y="44"/>
                  </a:cubicBezTo>
                  <a:lnTo>
                    <a:pt x="474" y="44"/>
                  </a:lnTo>
                  <a:close/>
                  <a:moveTo>
                    <a:pt x="578" y="178"/>
                  </a:moveTo>
                  <a:cubicBezTo>
                    <a:pt x="682" y="178"/>
                    <a:pt x="682" y="178"/>
                    <a:pt x="682" y="178"/>
                  </a:cubicBezTo>
                  <a:cubicBezTo>
                    <a:pt x="682" y="278"/>
                    <a:pt x="682" y="278"/>
                    <a:pt x="682" y="278"/>
                  </a:cubicBezTo>
                  <a:cubicBezTo>
                    <a:pt x="578" y="278"/>
                    <a:pt x="578" y="278"/>
                    <a:pt x="578" y="278"/>
                  </a:cubicBezTo>
                  <a:lnTo>
                    <a:pt x="578" y="178"/>
                  </a:lnTo>
                  <a:close/>
                  <a:moveTo>
                    <a:pt x="663" y="44"/>
                  </a:moveTo>
                  <a:cubicBezTo>
                    <a:pt x="663" y="23"/>
                    <a:pt x="663" y="23"/>
                    <a:pt x="663" y="23"/>
                  </a:cubicBezTo>
                  <a:cubicBezTo>
                    <a:pt x="827" y="23"/>
                    <a:pt x="827" y="23"/>
                    <a:pt x="827" y="23"/>
                  </a:cubicBezTo>
                  <a:cubicBezTo>
                    <a:pt x="827" y="44"/>
                    <a:pt x="827" y="44"/>
                    <a:pt x="827" y="44"/>
                  </a:cubicBezTo>
                  <a:lnTo>
                    <a:pt x="663" y="44"/>
                  </a:lnTo>
                  <a:close/>
                  <a:moveTo>
                    <a:pt x="780" y="178"/>
                  </a:moveTo>
                  <a:cubicBezTo>
                    <a:pt x="884" y="178"/>
                    <a:pt x="884" y="178"/>
                    <a:pt x="884" y="178"/>
                  </a:cubicBezTo>
                  <a:cubicBezTo>
                    <a:pt x="884" y="278"/>
                    <a:pt x="884" y="278"/>
                    <a:pt x="884" y="278"/>
                  </a:cubicBezTo>
                  <a:cubicBezTo>
                    <a:pt x="780" y="278"/>
                    <a:pt x="780" y="278"/>
                    <a:pt x="780" y="278"/>
                  </a:cubicBezTo>
                  <a:lnTo>
                    <a:pt x="780" y="178"/>
                  </a:lnTo>
                  <a:close/>
                  <a:moveTo>
                    <a:pt x="852" y="44"/>
                  </a:moveTo>
                  <a:cubicBezTo>
                    <a:pt x="852" y="23"/>
                    <a:pt x="852" y="23"/>
                    <a:pt x="852" y="23"/>
                  </a:cubicBezTo>
                  <a:cubicBezTo>
                    <a:pt x="1017" y="23"/>
                    <a:pt x="1017" y="23"/>
                    <a:pt x="1017" y="23"/>
                  </a:cubicBezTo>
                  <a:cubicBezTo>
                    <a:pt x="1017" y="44"/>
                    <a:pt x="1017" y="44"/>
                    <a:pt x="1017" y="44"/>
                  </a:cubicBezTo>
                  <a:lnTo>
                    <a:pt x="852" y="44"/>
                  </a:lnTo>
                  <a:close/>
                  <a:moveTo>
                    <a:pt x="982" y="178"/>
                  </a:moveTo>
                  <a:cubicBezTo>
                    <a:pt x="1086" y="178"/>
                    <a:pt x="1086" y="178"/>
                    <a:pt x="1086" y="178"/>
                  </a:cubicBezTo>
                  <a:cubicBezTo>
                    <a:pt x="1086" y="278"/>
                    <a:pt x="1086" y="278"/>
                    <a:pt x="1086" y="278"/>
                  </a:cubicBezTo>
                  <a:cubicBezTo>
                    <a:pt x="982" y="278"/>
                    <a:pt x="982" y="278"/>
                    <a:pt x="982" y="278"/>
                  </a:cubicBezTo>
                  <a:lnTo>
                    <a:pt x="982" y="178"/>
                  </a:lnTo>
                  <a:close/>
                  <a:moveTo>
                    <a:pt x="1042" y="44"/>
                  </a:moveTo>
                  <a:cubicBezTo>
                    <a:pt x="1042" y="23"/>
                    <a:pt x="1042" y="23"/>
                    <a:pt x="1042" y="23"/>
                  </a:cubicBezTo>
                  <a:cubicBezTo>
                    <a:pt x="1206" y="23"/>
                    <a:pt x="1206" y="23"/>
                    <a:pt x="1206" y="23"/>
                  </a:cubicBezTo>
                  <a:cubicBezTo>
                    <a:pt x="1206" y="44"/>
                    <a:pt x="1206" y="44"/>
                    <a:pt x="1206" y="44"/>
                  </a:cubicBezTo>
                  <a:lnTo>
                    <a:pt x="1042" y="44"/>
                  </a:lnTo>
                  <a:close/>
                  <a:moveTo>
                    <a:pt x="1184" y="178"/>
                  </a:moveTo>
                  <a:cubicBezTo>
                    <a:pt x="1288" y="178"/>
                    <a:pt x="1288" y="178"/>
                    <a:pt x="1288" y="178"/>
                  </a:cubicBezTo>
                  <a:cubicBezTo>
                    <a:pt x="1288" y="278"/>
                    <a:pt x="1288" y="278"/>
                    <a:pt x="1288" y="278"/>
                  </a:cubicBezTo>
                  <a:cubicBezTo>
                    <a:pt x="1184" y="278"/>
                    <a:pt x="1184" y="278"/>
                    <a:pt x="1184" y="278"/>
                  </a:cubicBezTo>
                  <a:lnTo>
                    <a:pt x="1184" y="178"/>
                  </a:lnTo>
                  <a:close/>
                  <a:moveTo>
                    <a:pt x="1231" y="44"/>
                  </a:moveTo>
                  <a:cubicBezTo>
                    <a:pt x="1231" y="23"/>
                    <a:pt x="1231" y="23"/>
                    <a:pt x="1231" y="23"/>
                  </a:cubicBezTo>
                  <a:cubicBezTo>
                    <a:pt x="1395" y="23"/>
                    <a:pt x="1395" y="23"/>
                    <a:pt x="1395" y="23"/>
                  </a:cubicBezTo>
                  <a:cubicBezTo>
                    <a:pt x="1395" y="44"/>
                    <a:pt x="1395" y="44"/>
                    <a:pt x="1395" y="44"/>
                  </a:cubicBezTo>
                  <a:lnTo>
                    <a:pt x="1231" y="44"/>
                  </a:lnTo>
                  <a:close/>
                  <a:moveTo>
                    <a:pt x="1386" y="178"/>
                  </a:moveTo>
                  <a:cubicBezTo>
                    <a:pt x="1490" y="178"/>
                    <a:pt x="1490" y="178"/>
                    <a:pt x="1490" y="178"/>
                  </a:cubicBezTo>
                  <a:cubicBezTo>
                    <a:pt x="1490" y="278"/>
                    <a:pt x="1490" y="278"/>
                    <a:pt x="1490" y="278"/>
                  </a:cubicBezTo>
                  <a:cubicBezTo>
                    <a:pt x="1386" y="278"/>
                    <a:pt x="1386" y="278"/>
                    <a:pt x="1386" y="278"/>
                  </a:cubicBezTo>
                  <a:lnTo>
                    <a:pt x="1386" y="178"/>
                  </a:lnTo>
                  <a:close/>
                  <a:moveTo>
                    <a:pt x="1420" y="44"/>
                  </a:moveTo>
                  <a:cubicBezTo>
                    <a:pt x="1420" y="23"/>
                    <a:pt x="1420" y="23"/>
                    <a:pt x="1420" y="23"/>
                  </a:cubicBezTo>
                  <a:cubicBezTo>
                    <a:pt x="1584" y="23"/>
                    <a:pt x="1584" y="23"/>
                    <a:pt x="1584" y="23"/>
                  </a:cubicBezTo>
                  <a:cubicBezTo>
                    <a:pt x="1584" y="44"/>
                    <a:pt x="1584" y="44"/>
                    <a:pt x="1584" y="44"/>
                  </a:cubicBezTo>
                  <a:lnTo>
                    <a:pt x="1420" y="44"/>
                  </a:lnTo>
                  <a:close/>
                  <a:moveTo>
                    <a:pt x="1588" y="178"/>
                  </a:moveTo>
                  <a:cubicBezTo>
                    <a:pt x="1692" y="178"/>
                    <a:pt x="1692" y="178"/>
                    <a:pt x="1692" y="178"/>
                  </a:cubicBezTo>
                  <a:cubicBezTo>
                    <a:pt x="1692" y="278"/>
                    <a:pt x="1692" y="278"/>
                    <a:pt x="1692" y="278"/>
                  </a:cubicBezTo>
                  <a:cubicBezTo>
                    <a:pt x="1588" y="278"/>
                    <a:pt x="1588" y="278"/>
                    <a:pt x="1588" y="278"/>
                  </a:cubicBezTo>
                  <a:lnTo>
                    <a:pt x="1588" y="178"/>
                  </a:lnTo>
                  <a:close/>
                  <a:moveTo>
                    <a:pt x="1609" y="44"/>
                  </a:moveTo>
                  <a:cubicBezTo>
                    <a:pt x="1609" y="23"/>
                    <a:pt x="1609" y="23"/>
                    <a:pt x="1609" y="23"/>
                  </a:cubicBezTo>
                  <a:cubicBezTo>
                    <a:pt x="1773" y="23"/>
                    <a:pt x="1773" y="23"/>
                    <a:pt x="1773" y="23"/>
                  </a:cubicBezTo>
                  <a:cubicBezTo>
                    <a:pt x="1773" y="44"/>
                    <a:pt x="1773" y="44"/>
                    <a:pt x="1773" y="44"/>
                  </a:cubicBezTo>
                  <a:lnTo>
                    <a:pt x="1609" y="44"/>
                  </a:lnTo>
                  <a:close/>
                  <a:moveTo>
                    <a:pt x="1774" y="178"/>
                  </a:moveTo>
                  <a:cubicBezTo>
                    <a:pt x="1826" y="178"/>
                    <a:pt x="1826" y="178"/>
                    <a:pt x="1826" y="178"/>
                  </a:cubicBezTo>
                  <a:cubicBezTo>
                    <a:pt x="1826" y="278"/>
                    <a:pt x="1826" y="278"/>
                    <a:pt x="1826" y="278"/>
                  </a:cubicBezTo>
                  <a:cubicBezTo>
                    <a:pt x="1774" y="278"/>
                    <a:pt x="1774" y="278"/>
                    <a:pt x="1774" y="278"/>
                  </a:cubicBezTo>
                  <a:lnTo>
                    <a:pt x="1774" y="178"/>
                  </a:lnTo>
                  <a:close/>
                  <a:moveTo>
                    <a:pt x="285" y="23"/>
                  </a:moveTo>
                  <a:cubicBezTo>
                    <a:pt x="449" y="23"/>
                    <a:pt x="449" y="23"/>
                    <a:pt x="449" y="23"/>
                  </a:cubicBezTo>
                  <a:cubicBezTo>
                    <a:pt x="449" y="44"/>
                    <a:pt x="449" y="44"/>
                    <a:pt x="449" y="44"/>
                  </a:cubicBezTo>
                  <a:cubicBezTo>
                    <a:pt x="285" y="44"/>
                    <a:pt x="285" y="44"/>
                    <a:pt x="285" y="44"/>
                  </a:cubicBezTo>
                  <a:lnTo>
                    <a:pt x="285" y="23"/>
                  </a:lnTo>
                  <a:close/>
                  <a:moveTo>
                    <a:pt x="234" y="341"/>
                  </a:moveTo>
                  <a:cubicBezTo>
                    <a:pt x="159" y="341"/>
                    <a:pt x="159" y="341"/>
                    <a:pt x="159" y="341"/>
                  </a:cubicBezTo>
                  <a:cubicBezTo>
                    <a:pt x="159" y="134"/>
                    <a:pt x="159" y="134"/>
                    <a:pt x="159" y="134"/>
                  </a:cubicBezTo>
                  <a:cubicBezTo>
                    <a:pt x="234" y="134"/>
                    <a:pt x="234" y="134"/>
                    <a:pt x="234" y="134"/>
                  </a:cubicBezTo>
                  <a:lnTo>
                    <a:pt x="234" y="341"/>
                  </a:lnTo>
                  <a:close/>
                  <a:moveTo>
                    <a:pt x="2244" y="375"/>
                  </a:moveTo>
                  <a:cubicBezTo>
                    <a:pt x="244" y="375"/>
                    <a:pt x="244" y="375"/>
                    <a:pt x="244" y="375"/>
                  </a:cubicBezTo>
                  <a:cubicBezTo>
                    <a:pt x="244" y="358"/>
                    <a:pt x="244" y="358"/>
                    <a:pt x="244" y="358"/>
                  </a:cubicBezTo>
                  <a:cubicBezTo>
                    <a:pt x="2244" y="358"/>
                    <a:pt x="2244" y="358"/>
                    <a:pt x="2244" y="358"/>
                  </a:cubicBezTo>
                  <a:lnTo>
                    <a:pt x="2244" y="375"/>
                  </a:lnTo>
                  <a:close/>
                  <a:moveTo>
                    <a:pt x="2273" y="134"/>
                  </a:moveTo>
                  <a:cubicBezTo>
                    <a:pt x="2347" y="134"/>
                    <a:pt x="2347" y="134"/>
                    <a:pt x="2347" y="134"/>
                  </a:cubicBezTo>
                  <a:cubicBezTo>
                    <a:pt x="2347" y="341"/>
                    <a:pt x="2347" y="341"/>
                    <a:pt x="2347" y="341"/>
                  </a:cubicBezTo>
                  <a:cubicBezTo>
                    <a:pt x="2273" y="341"/>
                    <a:pt x="2273" y="341"/>
                    <a:pt x="2273" y="341"/>
                  </a:cubicBezTo>
                  <a:lnTo>
                    <a:pt x="2273" y="1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0" name="Oval 305"/>
            <p:cNvSpPr>
              <a:spLocks noChangeArrowheads="1"/>
            </p:cNvSpPr>
            <p:nvPr userDrawn="1"/>
          </p:nvSpPr>
          <p:spPr bwMode="auto">
            <a:xfrm>
              <a:off x="3007" y="2356"/>
              <a:ext cx="29" cy="3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1" name="Oval 306"/>
            <p:cNvSpPr>
              <a:spLocks noChangeArrowheads="1"/>
            </p:cNvSpPr>
            <p:nvPr userDrawn="1"/>
          </p:nvSpPr>
          <p:spPr bwMode="auto">
            <a:xfrm>
              <a:off x="3060" y="2356"/>
              <a:ext cx="30" cy="3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2" name="Oval 307"/>
            <p:cNvSpPr>
              <a:spLocks noChangeArrowheads="1"/>
            </p:cNvSpPr>
            <p:nvPr userDrawn="1"/>
          </p:nvSpPr>
          <p:spPr bwMode="auto">
            <a:xfrm>
              <a:off x="3114" y="2356"/>
              <a:ext cx="29" cy="3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3" name="Freeform 308"/>
            <p:cNvSpPr>
              <a:spLocks/>
            </p:cNvSpPr>
            <p:nvPr userDrawn="1"/>
          </p:nvSpPr>
          <p:spPr bwMode="auto">
            <a:xfrm>
              <a:off x="3083" y="2353"/>
              <a:ext cx="38" cy="19"/>
            </a:xfrm>
            <a:custGeom>
              <a:avLst/>
              <a:gdLst>
                <a:gd name="T0" fmla="*/ 142 w 142"/>
                <a:gd name="T1" fmla="*/ 0 h 69"/>
                <a:gd name="T2" fmla="*/ 0 w 142"/>
                <a:gd name="T3" fmla="*/ 0 h 69"/>
                <a:gd name="T4" fmla="*/ 43 w 142"/>
                <a:gd name="T5" fmla="*/ 66 h 69"/>
                <a:gd name="T6" fmla="*/ 43 w 142"/>
                <a:gd name="T7" fmla="*/ 69 h 69"/>
                <a:gd name="T8" fmla="*/ 99 w 142"/>
                <a:gd name="T9" fmla="*/ 69 h 69"/>
                <a:gd name="T10" fmla="*/ 99 w 142"/>
                <a:gd name="T11" fmla="*/ 66 h 69"/>
                <a:gd name="T12" fmla="*/ 142 w 142"/>
                <a:gd name="T13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2" h="69">
                  <a:moveTo>
                    <a:pt x="14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6" y="11"/>
                    <a:pt x="43" y="37"/>
                    <a:pt x="43" y="66"/>
                  </a:cubicBezTo>
                  <a:cubicBezTo>
                    <a:pt x="43" y="67"/>
                    <a:pt x="43" y="68"/>
                    <a:pt x="43" y="69"/>
                  </a:cubicBezTo>
                  <a:cubicBezTo>
                    <a:pt x="99" y="69"/>
                    <a:pt x="99" y="69"/>
                    <a:pt x="99" y="69"/>
                  </a:cubicBezTo>
                  <a:cubicBezTo>
                    <a:pt x="99" y="68"/>
                    <a:pt x="99" y="67"/>
                    <a:pt x="99" y="66"/>
                  </a:cubicBezTo>
                  <a:cubicBezTo>
                    <a:pt x="99" y="37"/>
                    <a:pt x="116" y="11"/>
                    <a:pt x="14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4" name="Freeform 309"/>
            <p:cNvSpPr>
              <a:spLocks/>
            </p:cNvSpPr>
            <p:nvPr userDrawn="1"/>
          </p:nvSpPr>
          <p:spPr bwMode="auto">
            <a:xfrm>
              <a:off x="3030" y="2353"/>
              <a:ext cx="37" cy="19"/>
            </a:xfrm>
            <a:custGeom>
              <a:avLst/>
              <a:gdLst>
                <a:gd name="T0" fmla="*/ 141 w 141"/>
                <a:gd name="T1" fmla="*/ 0 h 69"/>
                <a:gd name="T2" fmla="*/ 0 w 141"/>
                <a:gd name="T3" fmla="*/ 0 h 69"/>
                <a:gd name="T4" fmla="*/ 42 w 141"/>
                <a:gd name="T5" fmla="*/ 66 h 69"/>
                <a:gd name="T6" fmla="*/ 42 w 141"/>
                <a:gd name="T7" fmla="*/ 69 h 69"/>
                <a:gd name="T8" fmla="*/ 98 w 141"/>
                <a:gd name="T9" fmla="*/ 69 h 69"/>
                <a:gd name="T10" fmla="*/ 98 w 141"/>
                <a:gd name="T11" fmla="*/ 66 h 69"/>
                <a:gd name="T12" fmla="*/ 141 w 141"/>
                <a:gd name="T13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1" h="69">
                  <a:moveTo>
                    <a:pt x="14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5" y="11"/>
                    <a:pt x="42" y="37"/>
                    <a:pt x="42" y="66"/>
                  </a:cubicBezTo>
                  <a:cubicBezTo>
                    <a:pt x="42" y="67"/>
                    <a:pt x="42" y="68"/>
                    <a:pt x="42" y="69"/>
                  </a:cubicBezTo>
                  <a:cubicBezTo>
                    <a:pt x="98" y="69"/>
                    <a:pt x="98" y="69"/>
                    <a:pt x="98" y="69"/>
                  </a:cubicBezTo>
                  <a:cubicBezTo>
                    <a:pt x="98" y="68"/>
                    <a:pt x="98" y="67"/>
                    <a:pt x="98" y="66"/>
                  </a:cubicBezTo>
                  <a:cubicBezTo>
                    <a:pt x="98" y="37"/>
                    <a:pt x="116" y="11"/>
                    <a:pt x="14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5" name="Freeform 310"/>
            <p:cNvSpPr>
              <a:spLocks/>
            </p:cNvSpPr>
            <p:nvPr userDrawn="1"/>
          </p:nvSpPr>
          <p:spPr bwMode="auto">
            <a:xfrm>
              <a:off x="2995" y="2353"/>
              <a:ext cx="18" cy="17"/>
            </a:xfrm>
            <a:custGeom>
              <a:avLst/>
              <a:gdLst>
                <a:gd name="T0" fmla="*/ 70 w 70"/>
                <a:gd name="T1" fmla="*/ 0 h 61"/>
                <a:gd name="T2" fmla="*/ 1 w 70"/>
                <a:gd name="T3" fmla="*/ 0 h 61"/>
                <a:gd name="T4" fmla="*/ 0 w 70"/>
                <a:gd name="T5" fmla="*/ 11 h 61"/>
                <a:gd name="T6" fmla="*/ 28 w 70"/>
                <a:gd name="T7" fmla="*/ 61 h 61"/>
                <a:gd name="T8" fmla="*/ 70 w 70"/>
                <a:gd name="T9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61">
                  <a:moveTo>
                    <a:pt x="7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3"/>
                    <a:pt x="0" y="7"/>
                    <a:pt x="0" y="11"/>
                  </a:cubicBezTo>
                  <a:cubicBezTo>
                    <a:pt x="0" y="32"/>
                    <a:pt x="11" y="50"/>
                    <a:pt x="28" y="61"/>
                  </a:cubicBezTo>
                  <a:cubicBezTo>
                    <a:pt x="30" y="33"/>
                    <a:pt x="47" y="10"/>
                    <a:pt x="7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6" name="Oval 311"/>
            <p:cNvSpPr>
              <a:spLocks noChangeArrowheads="1"/>
            </p:cNvSpPr>
            <p:nvPr userDrawn="1"/>
          </p:nvSpPr>
          <p:spPr bwMode="auto">
            <a:xfrm>
              <a:off x="2010" y="2356"/>
              <a:ext cx="29" cy="3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7" name="Oval 312"/>
            <p:cNvSpPr>
              <a:spLocks noChangeArrowheads="1"/>
            </p:cNvSpPr>
            <p:nvPr userDrawn="1"/>
          </p:nvSpPr>
          <p:spPr bwMode="auto">
            <a:xfrm>
              <a:off x="1956" y="2356"/>
              <a:ext cx="29" cy="3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8" name="Oval 313"/>
            <p:cNvSpPr>
              <a:spLocks noChangeArrowheads="1"/>
            </p:cNvSpPr>
            <p:nvPr userDrawn="1"/>
          </p:nvSpPr>
          <p:spPr bwMode="auto">
            <a:xfrm>
              <a:off x="1903" y="2356"/>
              <a:ext cx="29" cy="3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9" name="Freeform 314"/>
            <p:cNvSpPr>
              <a:spLocks/>
            </p:cNvSpPr>
            <p:nvPr userDrawn="1"/>
          </p:nvSpPr>
          <p:spPr bwMode="auto">
            <a:xfrm>
              <a:off x="1925" y="2353"/>
              <a:ext cx="38" cy="19"/>
            </a:xfrm>
            <a:custGeom>
              <a:avLst/>
              <a:gdLst>
                <a:gd name="T0" fmla="*/ 141 w 141"/>
                <a:gd name="T1" fmla="*/ 0 h 69"/>
                <a:gd name="T2" fmla="*/ 0 w 141"/>
                <a:gd name="T3" fmla="*/ 0 h 69"/>
                <a:gd name="T4" fmla="*/ 42 w 141"/>
                <a:gd name="T5" fmla="*/ 66 h 69"/>
                <a:gd name="T6" fmla="*/ 42 w 141"/>
                <a:gd name="T7" fmla="*/ 69 h 69"/>
                <a:gd name="T8" fmla="*/ 98 w 141"/>
                <a:gd name="T9" fmla="*/ 69 h 69"/>
                <a:gd name="T10" fmla="*/ 98 w 141"/>
                <a:gd name="T11" fmla="*/ 66 h 69"/>
                <a:gd name="T12" fmla="*/ 141 w 141"/>
                <a:gd name="T13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1" h="69">
                  <a:moveTo>
                    <a:pt x="14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5" y="11"/>
                    <a:pt x="42" y="37"/>
                    <a:pt x="42" y="66"/>
                  </a:cubicBezTo>
                  <a:cubicBezTo>
                    <a:pt x="42" y="67"/>
                    <a:pt x="42" y="68"/>
                    <a:pt x="42" y="69"/>
                  </a:cubicBezTo>
                  <a:cubicBezTo>
                    <a:pt x="98" y="69"/>
                    <a:pt x="98" y="69"/>
                    <a:pt x="98" y="69"/>
                  </a:cubicBezTo>
                  <a:cubicBezTo>
                    <a:pt x="98" y="68"/>
                    <a:pt x="98" y="67"/>
                    <a:pt x="98" y="66"/>
                  </a:cubicBezTo>
                  <a:cubicBezTo>
                    <a:pt x="98" y="37"/>
                    <a:pt x="116" y="11"/>
                    <a:pt x="14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0" name="Freeform 315"/>
            <p:cNvSpPr>
              <a:spLocks/>
            </p:cNvSpPr>
            <p:nvPr userDrawn="1"/>
          </p:nvSpPr>
          <p:spPr bwMode="auto">
            <a:xfrm>
              <a:off x="1979" y="2353"/>
              <a:ext cx="37" cy="19"/>
            </a:xfrm>
            <a:custGeom>
              <a:avLst/>
              <a:gdLst>
                <a:gd name="T0" fmla="*/ 141 w 141"/>
                <a:gd name="T1" fmla="*/ 0 h 69"/>
                <a:gd name="T2" fmla="*/ 0 w 141"/>
                <a:gd name="T3" fmla="*/ 0 h 69"/>
                <a:gd name="T4" fmla="*/ 42 w 141"/>
                <a:gd name="T5" fmla="*/ 66 h 69"/>
                <a:gd name="T6" fmla="*/ 42 w 141"/>
                <a:gd name="T7" fmla="*/ 69 h 69"/>
                <a:gd name="T8" fmla="*/ 98 w 141"/>
                <a:gd name="T9" fmla="*/ 69 h 69"/>
                <a:gd name="T10" fmla="*/ 98 w 141"/>
                <a:gd name="T11" fmla="*/ 66 h 69"/>
                <a:gd name="T12" fmla="*/ 141 w 141"/>
                <a:gd name="T13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1" h="69">
                  <a:moveTo>
                    <a:pt x="14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5" y="11"/>
                    <a:pt x="42" y="37"/>
                    <a:pt x="42" y="66"/>
                  </a:cubicBezTo>
                  <a:cubicBezTo>
                    <a:pt x="42" y="67"/>
                    <a:pt x="42" y="68"/>
                    <a:pt x="42" y="69"/>
                  </a:cubicBezTo>
                  <a:cubicBezTo>
                    <a:pt x="98" y="69"/>
                    <a:pt x="98" y="69"/>
                    <a:pt x="98" y="69"/>
                  </a:cubicBezTo>
                  <a:cubicBezTo>
                    <a:pt x="98" y="68"/>
                    <a:pt x="98" y="67"/>
                    <a:pt x="98" y="66"/>
                  </a:cubicBezTo>
                  <a:cubicBezTo>
                    <a:pt x="98" y="37"/>
                    <a:pt x="116" y="11"/>
                    <a:pt x="14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1" name="Freeform 316"/>
            <p:cNvSpPr>
              <a:spLocks/>
            </p:cNvSpPr>
            <p:nvPr userDrawn="1"/>
          </p:nvSpPr>
          <p:spPr bwMode="auto">
            <a:xfrm>
              <a:off x="2032" y="2353"/>
              <a:ext cx="19" cy="17"/>
            </a:xfrm>
            <a:custGeom>
              <a:avLst/>
              <a:gdLst>
                <a:gd name="T0" fmla="*/ 0 w 71"/>
                <a:gd name="T1" fmla="*/ 0 h 61"/>
                <a:gd name="T2" fmla="*/ 43 w 71"/>
                <a:gd name="T3" fmla="*/ 61 h 61"/>
                <a:gd name="T4" fmla="*/ 71 w 71"/>
                <a:gd name="T5" fmla="*/ 11 h 61"/>
                <a:gd name="T6" fmla="*/ 70 w 71"/>
                <a:gd name="T7" fmla="*/ 0 h 61"/>
                <a:gd name="T8" fmla="*/ 0 w 71"/>
                <a:gd name="T9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1" h="61">
                  <a:moveTo>
                    <a:pt x="0" y="0"/>
                  </a:moveTo>
                  <a:cubicBezTo>
                    <a:pt x="24" y="10"/>
                    <a:pt x="41" y="33"/>
                    <a:pt x="43" y="61"/>
                  </a:cubicBezTo>
                  <a:cubicBezTo>
                    <a:pt x="59" y="50"/>
                    <a:pt x="71" y="32"/>
                    <a:pt x="71" y="11"/>
                  </a:cubicBezTo>
                  <a:cubicBezTo>
                    <a:pt x="71" y="7"/>
                    <a:pt x="70" y="3"/>
                    <a:pt x="70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2" name="Freeform 317"/>
            <p:cNvSpPr>
              <a:spLocks noEditPoints="1"/>
            </p:cNvSpPr>
            <p:nvPr userDrawn="1"/>
          </p:nvSpPr>
          <p:spPr bwMode="auto">
            <a:xfrm>
              <a:off x="1856" y="2248"/>
              <a:ext cx="664" cy="124"/>
            </a:xfrm>
            <a:custGeom>
              <a:avLst/>
              <a:gdLst>
                <a:gd name="T0" fmla="*/ 2372 w 2504"/>
                <a:gd name="T1" fmla="*/ 354 h 463"/>
                <a:gd name="T2" fmla="*/ 2387 w 2504"/>
                <a:gd name="T3" fmla="*/ 119 h 463"/>
                <a:gd name="T4" fmla="*/ 2102 w 2504"/>
                <a:gd name="T5" fmla="*/ 15 h 463"/>
                <a:gd name="T6" fmla="*/ 1884 w 2504"/>
                <a:gd name="T7" fmla="*/ 29 h 463"/>
                <a:gd name="T8" fmla="*/ 1855 w 2504"/>
                <a:gd name="T9" fmla="*/ 29 h 463"/>
                <a:gd name="T10" fmla="*/ 1637 w 2504"/>
                <a:gd name="T11" fmla="*/ 15 h 463"/>
                <a:gd name="T12" fmla="*/ 1434 w 2504"/>
                <a:gd name="T13" fmla="*/ 0 h 463"/>
                <a:gd name="T14" fmla="*/ 1231 w 2504"/>
                <a:gd name="T15" fmla="*/ 15 h 463"/>
                <a:gd name="T16" fmla="*/ 1013 w 2504"/>
                <a:gd name="T17" fmla="*/ 29 h 463"/>
                <a:gd name="T18" fmla="*/ 984 w 2504"/>
                <a:gd name="T19" fmla="*/ 29 h 463"/>
                <a:gd name="T20" fmla="*/ 766 w 2504"/>
                <a:gd name="T21" fmla="*/ 15 h 463"/>
                <a:gd name="T22" fmla="*/ 563 w 2504"/>
                <a:gd name="T23" fmla="*/ 0 h 463"/>
                <a:gd name="T24" fmla="*/ 360 w 2504"/>
                <a:gd name="T25" fmla="*/ 15 h 463"/>
                <a:gd name="T26" fmla="*/ 167 w 2504"/>
                <a:gd name="T27" fmla="*/ 29 h 463"/>
                <a:gd name="T28" fmla="*/ 46 w 2504"/>
                <a:gd name="T29" fmla="*/ 343 h 463"/>
                <a:gd name="T30" fmla="*/ 46 w 2504"/>
                <a:gd name="T31" fmla="*/ 347 h 463"/>
                <a:gd name="T32" fmla="*/ 8 w 2504"/>
                <a:gd name="T33" fmla="*/ 413 h 463"/>
                <a:gd name="T34" fmla="*/ 157 w 2504"/>
                <a:gd name="T35" fmla="*/ 455 h 463"/>
                <a:gd name="T36" fmla="*/ 1242 w 2504"/>
                <a:gd name="T37" fmla="*/ 463 h 463"/>
                <a:gd name="T38" fmla="*/ 2305 w 2504"/>
                <a:gd name="T39" fmla="*/ 376 h 463"/>
                <a:gd name="T40" fmla="*/ 2458 w 2504"/>
                <a:gd name="T41" fmla="*/ 413 h 463"/>
                <a:gd name="T42" fmla="*/ 2496 w 2504"/>
                <a:gd name="T43" fmla="*/ 347 h 463"/>
                <a:gd name="T44" fmla="*/ 2355 w 2504"/>
                <a:gd name="T45" fmla="*/ 85 h 463"/>
                <a:gd name="T46" fmla="*/ 2181 w 2504"/>
                <a:gd name="T47" fmla="*/ 163 h 463"/>
                <a:gd name="T48" fmla="*/ 2181 w 2504"/>
                <a:gd name="T49" fmla="*/ 163 h 463"/>
                <a:gd name="T50" fmla="*/ 2046 w 2504"/>
                <a:gd name="T51" fmla="*/ 163 h 463"/>
                <a:gd name="T52" fmla="*/ 1856 w 2504"/>
                <a:gd name="T53" fmla="*/ 263 h 463"/>
                <a:gd name="T54" fmla="*/ 1826 w 2504"/>
                <a:gd name="T55" fmla="*/ 263 h 463"/>
                <a:gd name="T56" fmla="*/ 1672 w 2504"/>
                <a:gd name="T57" fmla="*/ 215 h 463"/>
                <a:gd name="T58" fmla="*/ 1588 w 2504"/>
                <a:gd name="T59" fmla="*/ 263 h 463"/>
                <a:gd name="T60" fmla="*/ 1672 w 2504"/>
                <a:gd name="T61" fmla="*/ 215 h 463"/>
                <a:gd name="T62" fmla="*/ 1490 w 2504"/>
                <a:gd name="T63" fmla="*/ 263 h 463"/>
                <a:gd name="T64" fmla="*/ 1410 w 2504"/>
                <a:gd name="T65" fmla="*/ 215 h 463"/>
                <a:gd name="T66" fmla="*/ 1288 w 2504"/>
                <a:gd name="T67" fmla="*/ 163 h 463"/>
                <a:gd name="T68" fmla="*/ 1208 w 2504"/>
                <a:gd name="T69" fmla="*/ 163 h 463"/>
                <a:gd name="T70" fmla="*/ 1067 w 2504"/>
                <a:gd name="T71" fmla="*/ 163 h 463"/>
                <a:gd name="T72" fmla="*/ 982 w 2504"/>
                <a:gd name="T73" fmla="*/ 163 h 463"/>
                <a:gd name="T74" fmla="*/ 865 w 2504"/>
                <a:gd name="T75" fmla="*/ 215 h 463"/>
                <a:gd name="T76" fmla="*/ 780 w 2504"/>
                <a:gd name="T77" fmla="*/ 263 h 463"/>
                <a:gd name="T78" fmla="*/ 865 w 2504"/>
                <a:gd name="T79" fmla="*/ 215 h 463"/>
                <a:gd name="T80" fmla="*/ 682 w 2504"/>
                <a:gd name="T81" fmla="*/ 263 h 463"/>
                <a:gd name="T82" fmla="*/ 603 w 2504"/>
                <a:gd name="T83" fmla="*/ 215 h 463"/>
                <a:gd name="T84" fmla="*/ 480 w 2504"/>
                <a:gd name="T85" fmla="*/ 163 h 463"/>
                <a:gd name="T86" fmla="*/ 401 w 2504"/>
                <a:gd name="T87" fmla="*/ 163 h 463"/>
                <a:gd name="T88" fmla="*/ 159 w 2504"/>
                <a:gd name="T89" fmla="*/ 326 h 463"/>
                <a:gd name="T90" fmla="*/ 2244 w 2504"/>
                <a:gd name="T91" fmla="*/ 360 h 463"/>
                <a:gd name="T92" fmla="*/ 2244 w 2504"/>
                <a:gd name="T93" fmla="*/ 360 h 463"/>
                <a:gd name="T94" fmla="*/ 2273 w 2504"/>
                <a:gd name="T95" fmla="*/ 326 h 4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504" h="463">
                  <a:moveTo>
                    <a:pt x="2496" y="347"/>
                  </a:moveTo>
                  <a:cubicBezTo>
                    <a:pt x="2458" y="347"/>
                    <a:pt x="2458" y="347"/>
                    <a:pt x="2458" y="347"/>
                  </a:cubicBezTo>
                  <a:cubicBezTo>
                    <a:pt x="2454" y="347"/>
                    <a:pt x="2451" y="350"/>
                    <a:pt x="2450" y="354"/>
                  </a:cubicBezTo>
                  <a:cubicBezTo>
                    <a:pt x="2372" y="354"/>
                    <a:pt x="2372" y="354"/>
                    <a:pt x="2372" y="354"/>
                  </a:cubicBezTo>
                  <a:cubicBezTo>
                    <a:pt x="2376" y="351"/>
                    <a:pt x="2378" y="347"/>
                    <a:pt x="2381" y="343"/>
                  </a:cubicBezTo>
                  <a:cubicBezTo>
                    <a:pt x="2427" y="343"/>
                    <a:pt x="2427" y="343"/>
                    <a:pt x="2427" y="343"/>
                  </a:cubicBezTo>
                  <a:cubicBezTo>
                    <a:pt x="2427" y="119"/>
                    <a:pt x="2427" y="119"/>
                    <a:pt x="2427" y="119"/>
                  </a:cubicBezTo>
                  <a:cubicBezTo>
                    <a:pt x="2387" y="119"/>
                    <a:pt x="2387" y="119"/>
                    <a:pt x="2387" y="119"/>
                  </a:cubicBezTo>
                  <a:cubicBezTo>
                    <a:pt x="2387" y="89"/>
                    <a:pt x="2387" y="89"/>
                    <a:pt x="2387" y="89"/>
                  </a:cubicBezTo>
                  <a:cubicBezTo>
                    <a:pt x="2387" y="56"/>
                    <a:pt x="2358" y="29"/>
                    <a:pt x="2323" y="29"/>
                  </a:cubicBezTo>
                  <a:cubicBezTo>
                    <a:pt x="2102" y="29"/>
                    <a:pt x="2102" y="29"/>
                    <a:pt x="2102" y="29"/>
                  </a:cubicBezTo>
                  <a:cubicBezTo>
                    <a:pt x="2102" y="15"/>
                    <a:pt x="2102" y="15"/>
                    <a:pt x="2102" y="15"/>
                  </a:cubicBezTo>
                  <a:cubicBezTo>
                    <a:pt x="2102" y="6"/>
                    <a:pt x="2096" y="0"/>
                    <a:pt x="2087" y="0"/>
                  </a:cubicBezTo>
                  <a:cubicBezTo>
                    <a:pt x="2079" y="0"/>
                    <a:pt x="2073" y="6"/>
                    <a:pt x="2073" y="15"/>
                  </a:cubicBezTo>
                  <a:cubicBezTo>
                    <a:pt x="2073" y="29"/>
                    <a:pt x="2073" y="29"/>
                    <a:pt x="2073" y="29"/>
                  </a:cubicBezTo>
                  <a:cubicBezTo>
                    <a:pt x="1884" y="29"/>
                    <a:pt x="1884" y="29"/>
                    <a:pt x="1884" y="29"/>
                  </a:cubicBezTo>
                  <a:cubicBezTo>
                    <a:pt x="1884" y="15"/>
                    <a:pt x="1884" y="15"/>
                    <a:pt x="1884" y="15"/>
                  </a:cubicBezTo>
                  <a:cubicBezTo>
                    <a:pt x="1884" y="6"/>
                    <a:pt x="1878" y="0"/>
                    <a:pt x="1870" y="0"/>
                  </a:cubicBezTo>
                  <a:cubicBezTo>
                    <a:pt x="1862" y="0"/>
                    <a:pt x="1855" y="6"/>
                    <a:pt x="1855" y="15"/>
                  </a:cubicBezTo>
                  <a:cubicBezTo>
                    <a:pt x="1855" y="29"/>
                    <a:pt x="1855" y="29"/>
                    <a:pt x="1855" y="29"/>
                  </a:cubicBezTo>
                  <a:cubicBezTo>
                    <a:pt x="1667" y="29"/>
                    <a:pt x="1667" y="29"/>
                    <a:pt x="1667" y="29"/>
                  </a:cubicBezTo>
                  <a:cubicBezTo>
                    <a:pt x="1667" y="15"/>
                    <a:pt x="1667" y="15"/>
                    <a:pt x="1667" y="15"/>
                  </a:cubicBezTo>
                  <a:cubicBezTo>
                    <a:pt x="1667" y="6"/>
                    <a:pt x="1660" y="0"/>
                    <a:pt x="1652" y="0"/>
                  </a:cubicBezTo>
                  <a:cubicBezTo>
                    <a:pt x="1644" y="0"/>
                    <a:pt x="1637" y="6"/>
                    <a:pt x="1637" y="15"/>
                  </a:cubicBezTo>
                  <a:cubicBezTo>
                    <a:pt x="1637" y="29"/>
                    <a:pt x="1637" y="29"/>
                    <a:pt x="1637" y="29"/>
                  </a:cubicBezTo>
                  <a:cubicBezTo>
                    <a:pt x="1449" y="29"/>
                    <a:pt x="1449" y="29"/>
                    <a:pt x="1449" y="29"/>
                  </a:cubicBezTo>
                  <a:cubicBezTo>
                    <a:pt x="1449" y="15"/>
                    <a:pt x="1449" y="15"/>
                    <a:pt x="1449" y="15"/>
                  </a:cubicBezTo>
                  <a:cubicBezTo>
                    <a:pt x="1449" y="6"/>
                    <a:pt x="1442" y="0"/>
                    <a:pt x="1434" y="0"/>
                  </a:cubicBezTo>
                  <a:cubicBezTo>
                    <a:pt x="1426" y="0"/>
                    <a:pt x="1419" y="6"/>
                    <a:pt x="1419" y="15"/>
                  </a:cubicBezTo>
                  <a:cubicBezTo>
                    <a:pt x="1419" y="29"/>
                    <a:pt x="1419" y="29"/>
                    <a:pt x="1419" y="29"/>
                  </a:cubicBezTo>
                  <a:cubicBezTo>
                    <a:pt x="1231" y="29"/>
                    <a:pt x="1231" y="29"/>
                    <a:pt x="1231" y="29"/>
                  </a:cubicBezTo>
                  <a:cubicBezTo>
                    <a:pt x="1231" y="15"/>
                    <a:pt x="1231" y="15"/>
                    <a:pt x="1231" y="15"/>
                  </a:cubicBezTo>
                  <a:cubicBezTo>
                    <a:pt x="1231" y="6"/>
                    <a:pt x="1224" y="0"/>
                    <a:pt x="1216" y="0"/>
                  </a:cubicBezTo>
                  <a:cubicBezTo>
                    <a:pt x="1208" y="0"/>
                    <a:pt x="1202" y="6"/>
                    <a:pt x="1202" y="15"/>
                  </a:cubicBezTo>
                  <a:cubicBezTo>
                    <a:pt x="1202" y="29"/>
                    <a:pt x="1202" y="29"/>
                    <a:pt x="1202" y="29"/>
                  </a:cubicBezTo>
                  <a:cubicBezTo>
                    <a:pt x="1013" y="29"/>
                    <a:pt x="1013" y="29"/>
                    <a:pt x="1013" y="29"/>
                  </a:cubicBezTo>
                  <a:cubicBezTo>
                    <a:pt x="1013" y="15"/>
                    <a:pt x="1013" y="15"/>
                    <a:pt x="1013" y="15"/>
                  </a:cubicBezTo>
                  <a:cubicBezTo>
                    <a:pt x="1013" y="6"/>
                    <a:pt x="1007" y="0"/>
                    <a:pt x="999" y="0"/>
                  </a:cubicBezTo>
                  <a:cubicBezTo>
                    <a:pt x="990" y="0"/>
                    <a:pt x="984" y="6"/>
                    <a:pt x="984" y="15"/>
                  </a:cubicBezTo>
                  <a:cubicBezTo>
                    <a:pt x="984" y="29"/>
                    <a:pt x="984" y="29"/>
                    <a:pt x="984" y="29"/>
                  </a:cubicBezTo>
                  <a:cubicBezTo>
                    <a:pt x="795" y="29"/>
                    <a:pt x="795" y="29"/>
                    <a:pt x="795" y="29"/>
                  </a:cubicBezTo>
                  <a:cubicBezTo>
                    <a:pt x="795" y="15"/>
                    <a:pt x="795" y="15"/>
                    <a:pt x="795" y="15"/>
                  </a:cubicBezTo>
                  <a:cubicBezTo>
                    <a:pt x="795" y="6"/>
                    <a:pt x="789" y="0"/>
                    <a:pt x="781" y="0"/>
                  </a:cubicBezTo>
                  <a:cubicBezTo>
                    <a:pt x="773" y="0"/>
                    <a:pt x="766" y="6"/>
                    <a:pt x="766" y="15"/>
                  </a:cubicBezTo>
                  <a:cubicBezTo>
                    <a:pt x="766" y="29"/>
                    <a:pt x="766" y="29"/>
                    <a:pt x="766" y="29"/>
                  </a:cubicBezTo>
                  <a:cubicBezTo>
                    <a:pt x="578" y="29"/>
                    <a:pt x="578" y="29"/>
                    <a:pt x="578" y="29"/>
                  </a:cubicBezTo>
                  <a:cubicBezTo>
                    <a:pt x="578" y="15"/>
                    <a:pt x="578" y="15"/>
                    <a:pt x="578" y="15"/>
                  </a:cubicBezTo>
                  <a:cubicBezTo>
                    <a:pt x="578" y="6"/>
                    <a:pt x="571" y="0"/>
                    <a:pt x="563" y="0"/>
                  </a:cubicBezTo>
                  <a:cubicBezTo>
                    <a:pt x="555" y="0"/>
                    <a:pt x="548" y="6"/>
                    <a:pt x="548" y="15"/>
                  </a:cubicBezTo>
                  <a:cubicBezTo>
                    <a:pt x="548" y="29"/>
                    <a:pt x="548" y="29"/>
                    <a:pt x="548" y="29"/>
                  </a:cubicBezTo>
                  <a:cubicBezTo>
                    <a:pt x="360" y="29"/>
                    <a:pt x="360" y="29"/>
                    <a:pt x="360" y="29"/>
                  </a:cubicBezTo>
                  <a:cubicBezTo>
                    <a:pt x="360" y="15"/>
                    <a:pt x="360" y="15"/>
                    <a:pt x="360" y="15"/>
                  </a:cubicBezTo>
                  <a:cubicBezTo>
                    <a:pt x="360" y="6"/>
                    <a:pt x="353" y="0"/>
                    <a:pt x="345" y="0"/>
                  </a:cubicBezTo>
                  <a:cubicBezTo>
                    <a:pt x="337" y="0"/>
                    <a:pt x="330" y="6"/>
                    <a:pt x="330" y="15"/>
                  </a:cubicBezTo>
                  <a:cubicBezTo>
                    <a:pt x="330" y="29"/>
                    <a:pt x="330" y="29"/>
                    <a:pt x="330" y="29"/>
                  </a:cubicBezTo>
                  <a:cubicBezTo>
                    <a:pt x="167" y="29"/>
                    <a:pt x="167" y="29"/>
                    <a:pt x="167" y="29"/>
                  </a:cubicBezTo>
                  <a:cubicBezTo>
                    <a:pt x="131" y="29"/>
                    <a:pt x="102" y="56"/>
                    <a:pt x="102" y="89"/>
                  </a:cubicBezTo>
                  <a:cubicBezTo>
                    <a:pt x="102" y="119"/>
                    <a:pt x="102" y="119"/>
                    <a:pt x="102" y="119"/>
                  </a:cubicBezTo>
                  <a:cubicBezTo>
                    <a:pt x="46" y="119"/>
                    <a:pt x="46" y="119"/>
                    <a:pt x="46" y="119"/>
                  </a:cubicBezTo>
                  <a:cubicBezTo>
                    <a:pt x="46" y="343"/>
                    <a:pt x="46" y="343"/>
                    <a:pt x="46" y="343"/>
                  </a:cubicBezTo>
                  <a:cubicBezTo>
                    <a:pt x="109" y="343"/>
                    <a:pt x="109" y="343"/>
                    <a:pt x="109" y="343"/>
                  </a:cubicBezTo>
                  <a:cubicBezTo>
                    <a:pt x="111" y="347"/>
                    <a:pt x="114" y="351"/>
                    <a:pt x="117" y="354"/>
                  </a:cubicBezTo>
                  <a:cubicBezTo>
                    <a:pt x="54" y="354"/>
                    <a:pt x="54" y="354"/>
                    <a:pt x="54" y="354"/>
                  </a:cubicBezTo>
                  <a:cubicBezTo>
                    <a:pt x="54" y="350"/>
                    <a:pt x="50" y="347"/>
                    <a:pt x="46" y="347"/>
                  </a:cubicBezTo>
                  <a:cubicBezTo>
                    <a:pt x="8" y="347"/>
                    <a:pt x="8" y="347"/>
                    <a:pt x="8" y="347"/>
                  </a:cubicBezTo>
                  <a:cubicBezTo>
                    <a:pt x="4" y="347"/>
                    <a:pt x="0" y="351"/>
                    <a:pt x="0" y="355"/>
                  </a:cubicBezTo>
                  <a:cubicBezTo>
                    <a:pt x="0" y="405"/>
                    <a:pt x="0" y="405"/>
                    <a:pt x="0" y="405"/>
                  </a:cubicBezTo>
                  <a:cubicBezTo>
                    <a:pt x="0" y="409"/>
                    <a:pt x="4" y="413"/>
                    <a:pt x="8" y="413"/>
                  </a:cubicBezTo>
                  <a:cubicBezTo>
                    <a:pt x="46" y="413"/>
                    <a:pt x="46" y="413"/>
                    <a:pt x="46" y="413"/>
                  </a:cubicBezTo>
                  <a:cubicBezTo>
                    <a:pt x="50" y="413"/>
                    <a:pt x="54" y="410"/>
                    <a:pt x="54" y="405"/>
                  </a:cubicBezTo>
                  <a:cubicBezTo>
                    <a:pt x="129" y="405"/>
                    <a:pt x="129" y="405"/>
                    <a:pt x="129" y="405"/>
                  </a:cubicBezTo>
                  <a:cubicBezTo>
                    <a:pt x="129" y="426"/>
                    <a:pt x="140" y="444"/>
                    <a:pt x="157" y="455"/>
                  </a:cubicBezTo>
                  <a:cubicBezTo>
                    <a:pt x="159" y="430"/>
                    <a:pt x="178" y="391"/>
                    <a:pt x="200" y="376"/>
                  </a:cubicBezTo>
                  <a:cubicBezTo>
                    <a:pt x="795" y="376"/>
                    <a:pt x="795" y="376"/>
                    <a:pt x="795" y="376"/>
                  </a:cubicBezTo>
                  <a:cubicBezTo>
                    <a:pt x="1099" y="463"/>
                    <a:pt x="1099" y="463"/>
                    <a:pt x="1099" y="463"/>
                  </a:cubicBezTo>
                  <a:cubicBezTo>
                    <a:pt x="1242" y="463"/>
                    <a:pt x="1242" y="463"/>
                    <a:pt x="1242" y="463"/>
                  </a:cubicBezTo>
                  <a:cubicBezTo>
                    <a:pt x="1268" y="463"/>
                    <a:pt x="1268" y="463"/>
                    <a:pt x="1268" y="463"/>
                  </a:cubicBezTo>
                  <a:cubicBezTo>
                    <a:pt x="1390" y="463"/>
                    <a:pt x="1390" y="463"/>
                    <a:pt x="1390" y="463"/>
                  </a:cubicBezTo>
                  <a:cubicBezTo>
                    <a:pt x="1695" y="376"/>
                    <a:pt x="1695" y="376"/>
                    <a:pt x="1695" y="376"/>
                  </a:cubicBezTo>
                  <a:cubicBezTo>
                    <a:pt x="2305" y="376"/>
                    <a:pt x="2305" y="376"/>
                    <a:pt x="2305" y="376"/>
                  </a:cubicBezTo>
                  <a:cubicBezTo>
                    <a:pt x="2326" y="391"/>
                    <a:pt x="2346" y="430"/>
                    <a:pt x="2348" y="455"/>
                  </a:cubicBezTo>
                  <a:cubicBezTo>
                    <a:pt x="2364" y="444"/>
                    <a:pt x="2375" y="426"/>
                    <a:pt x="2375" y="405"/>
                  </a:cubicBezTo>
                  <a:cubicBezTo>
                    <a:pt x="2450" y="405"/>
                    <a:pt x="2450" y="405"/>
                    <a:pt x="2450" y="405"/>
                  </a:cubicBezTo>
                  <a:cubicBezTo>
                    <a:pt x="2451" y="410"/>
                    <a:pt x="2454" y="413"/>
                    <a:pt x="2458" y="413"/>
                  </a:cubicBezTo>
                  <a:cubicBezTo>
                    <a:pt x="2496" y="413"/>
                    <a:pt x="2496" y="413"/>
                    <a:pt x="2496" y="413"/>
                  </a:cubicBezTo>
                  <a:cubicBezTo>
                    <a:pt x="2501" y="413"/>
                    <a:pt x="2504" y="409"/>
                    <a:pt x="2504" y="405"/>
                  </a:cubicBezTo>
                  <a:cubicBezTo>
                    <a:pt x="2504" y="355"/>
                    <a:pt x="2504" y="355"/>
                    <a:pt x="2504" y="355"/>
                  </a:cubicBezTo>
                  <a:cubicBezTo>
                    <a:pt x="2504" y="351"/>
                    <a:pt x="2501" y="347"/>
                    <a:pt x="2496" y="347"/>
                  </a:cubicBezTo>
                  <a:close/>
                  <a:moveTo>
                    <a:pt x="134" y="69"/>
                  </a:moveTo>
                  <a:cubicBezTo>
                    <a:pt x="2355" y="69"/>
                    <a:pt x="2355" y="69"/>
                    <a:pt x="2355" y="69"/>
                  </a:cubicBezTo>
                  <a:cubicBezTo>
                    <a:pt x="2360" y="69"/>
                    <a:pt x="2364" y="72"/>
                    <a:pt x="2364" y="77"/>
                  </a:cubicBezTo>
                  <a:cubicBezTo>
                    <a:pt x="2364" y="81"/>
                    <a:pt x="2360" y="85"/>
                    <a:pt x="2355" y="85"/>
                  </a:cubicBezTo>
                  <a:cubicBezTo>
                    <a:pt x="134" y="85"/>
                    <a:pt x="134" y="85"/>
                    <a:pt x="134" y="85"/>
                  </a:cubicBezTo>
                  <a:cubicBezTo>
                    <a:pt x="130" y="85"/>
                    <a:pt x="126" y="81"/>
                    <a:pt x="126" y="77"/>
                  </a:cubicBezTo>
                  <a:cubicBezTo>
                    <a:pt x="126" y="72"/>
                    <a:pt x="130" y="69"/>
                    <a:pt x="134" y="69"/>
                  </a:cubicBezTo>
                  <a:close/>
                  <a:moveTo>
                    <a:pt x="2181" y="163"/>
                  </a:moveTo>
                  <a:cubicBezTo>
                    <a:pt x="2181" y="263"/>
                    <a:pt x="2181" y="263"/>
                    <a:pt x="2181" y="263"/>
                  </a:cubicBezTo>
                  <a:cubicBezTo>
                    <a:pt x="2128" y="263"/>
                    <a:pt x="2128" y="263"/>
                    <a:pt x="2128" y="263"/>
                  </a:cubicBezTo>
                  <a:cubicBezTo>
                    <a:pt x="2128" y="163"/>
                    <a:pt x="2128" y="163"/>
                    <a:pt x="2128" y="163"/>
                  </a:cubicBezTo>
                  <a:lnTo>
                    <a:pt x="2181" y="163"/>
                  </a:lnTo>
                  <a:close/>
                  <a:moveTo>
                    <a:pt x="2098" y="163"/>
                  </a:moveTo>
                  <a:cubicBezTo>
                    <a:pt x="2098" y="263"/>
                    <a:pt x="2098" y="263"/>
                    <a:pt x="2098" y="263"/>
                  </a:cubicBezTo>
                  <a:cubicBezTo>
                    <a:pt x="2046" y="263"/>
                    <a:pt x="2046" y="263"/>
                    <a:pt x="2046" y="263"/>
                  </a:cubicBezTo>
                  <a:cubicBezTo>
                    <a:pt x="2046" y="163"/>
                    <a:pt x="2046" y="163"/>
                    <a:pt x="2046" y="163"/>
                  </a:cubicBezTo>
                  <a:lnTo>
                    <a:pt x="2098" y="163"/>
                  </a:lnTo>
                  <a:close/>
                  <a:moveTo>
                    <a:pt x="1909" y="163"/>
                  </a:moveTo>
                  <a:cubicBezTo>
                    <a:pt x="1909" y="263"/>
                    <a:pt x="1909" y="263"/>
                    <a:pt x="1909" y="263"/>
                  </a:cubicBezTo>
                  <a:cubicBezTo>
                    <a:pt x="1856" y="263"/>
                    <a:pt x="1856" y="263"/>
                    <a:pt x="1856" y="263"/>
                  </a:cubicBezTo>
                  <a:cubicBezTo>
                    <a:pt x="1856" y="163"/>
                    <a:pt x="1856" y="163"/>
                    <a:pt x="1856" y="163"/>
                  </a:cubicBezTo>
                  <a:lnTo>
                    <a:pt x="1909" y="163"/>
                  </a:lnTo>
                  <a:close/>
                  <a:moveTo>
                    <a:pt x="1826" y="163"/>
                  </a:moveTo>
                  <a:cubicBezTo>
                    <a:pt x="1826" y="263"/>
                    <a:pt x="1826" y="263"/>
                    <a:pt x="1826" y="263"/>
                  </a:cubicBezTo>
                  <a:cubicBezTo>
                    <a:pt x="1774" y="263"/>
                    <a:pt x="1774" y="263"/>
                    <a:pt x="1774" y="263"/>
                  </a:cubicBezTo>
                  <a:cubicBezTo>
                    <a:pt x="1774" y="163"/>
                    <a:pt x="1774" y="163"/>
                    <a:pt x="1774" y="163"/>
                  </a:cubicBezTo>
                  <a:lnTo>
                    <a:pt x="1826" y="163"/>
                  </a:lnTo>
                  <a:close/>
                  <a:moveTo>
                    <a:pt x="1672" y="215"/>
                  </a:moveTo>
                  <a:cubicBezTo>
                    <a:pt x="1672" y="163"/>
                    <a:pt x="1672" y="163"/>
                    <a:pt x="1672" y="163"/>
                  </a:cubicBezTo>
                  <a:cubicBezTo>
                    <a:pt x="1692" y="163"/>
                    <a:pt x="1692" y="163"/>
                    <a:pt x="1692" y="163"/>
                  </a:cubicBezTo>
                  <a:cubicBezTo>
                    <a:pt x="1692" y="263"/>
                    <a:pt x="1692" y="263"/>
                    <a:pt x="1692" y="263"/>
                  </a:cubicBezTo>
                  <a:cubicBezTo>
                    <a:pt x="1588" y="263"/>
                    <a:pt x="1588" y="263"/>
                    <a:pt x="1588" y="263"/>
                  </a:cubicBezTo>
                  <a:cubicBezTo>
                    <a:pt x="1588" y="163"/>
                    <a:pt x="1588" y="163"/>
                    <a:pt x="1588" y="163"/>
                  </a:cubicBezTo>
                  <a:cubicBezTo>
                    <a:pt x="1611" y="163"/>
                    <a:pt x="1611" y="163"/>
                    <a:pt x="1611" y="163"/>
                  </a:cubicBezTo>
                  <a:cubicBezTo>
                    <a:pt x="1611" y="215"/>
                    <a:pt x="1611" y="215"/>
                    <a:pt x="1611" y="215"/>
                  </a:cubicBezTo>
                  <a:lnTo>
                    <a:pt x="1672" y="215"/>
                  </a:lnTo>
                  <a:close/>
                  <a:moveTo>
                    <a:pt x="1470" y="215"/>
                  </a:moveTo>
                  <a:cubicBezTo>
                    <a:pt x="1470" y="163"/>
                    <a:pt x="1470" y="163"/>
                    <a:pt x="1470" y="163"/>
                  </a:cubicBezTo>
                  <a:cubicBezTo>
                    <a:pt x="1490" y="163"/>
                    <a:pt x="1490" y="163"/>
                    <a:pt x="1490" y="163"/>
                  </a:cubicBezTo>
                  <a:cubicBezTo>
                    <a:pt x="1490" y="263"/>
                    <a:pt x="1490" y="263"/>
                    <a:pt x="1490" y="263"/>
                  </a:cubicBezTo>
                  <a:cubicBezTo>
                    <a:pt x="1386" y="263"/>
                    <a:pt x="1386" y="263"/>
                    <a:pt x="1386" y="263"/>
                  </a:cubicBezTo>
                  <a:cubicBezTo>
                    <a:pt x="1386" y="163"/>
                    <a:pt x="1386" y="163"/>
                    <a:pt x="1386" y="163"/>
                  </a:cubicBezTo>
                  <a:cubicBezTo>
                    <a:pt x="1410" y="163"/>
                    <a:pt x="1410" y="163"/>
                    <a:pt x="1410" y="163"/>
                  </a:cubicBezTo>
                  <a:cubicBezTo>
                    <a:pt x="1410" y="215"/>
                    <a:pt x="1410" y="215"/>
                    <a:pt x="1410" y="215"/>
                  </a:cubicBezTo>
                  <a:lnTo>
                    <a:pt x="1470" y="215"/>
                  </a:lnTo>
                  <a:close/>
                  <a:moveTo>
                    <a:pt x="1268" y="215"/>
                  </a:moveTo>
                  <a:cubicBezTo>
                    <a:pt x="1268" y="163"/>
                    <a:pt x="1268" y="163"/>
                    <a:pt x="1268" y="163"/>
                  </a:cubicBezTo>
                  <a:cubicBezTo>
                    <a:pt x="1288" y="163"/>
                    <a:pt x="1288" y="163"/>
                    <a:pt x="1288" y="163"/>
                  </a:cubicBezTo>
                  <a:cubicBezTo>
                    <a:pt x="1288" y="263"/>
                    <a:pt x="1288" y="263"/>
                    <a:pt x="1288" y="263"/>
                  </a:cubicBezTo>
                  <a:cubicBezTo>
                    <a:pt x="1184" y="263"/>
                    <a:pt x="1184" y="263"/>
                    <a:pt x="1184" y="263"/>
                  </a:cubicBezTo>
                  <a:cubicBezTo>
                    <a:pt x="1184" y="163"/>
                    <a:pt x="1184" y="163"/>
                    <a:pt x="1184" y="163"/>
                  </a:cubicBezTo>
                  <a:cubicBezTo>
                    <a:pt x="1208" y="163"/>
                    <a:pt x="1208" y="163"/>
                    <a:pt x="1208" y="163"/>
                  </a:cubicBezTo>
                  <a:cubicBezTo>
                    <a:pt x="1208" y="215"/>
                    <a:pt x="1208" y="215"/>
                    <a:pt x="1208" y="215"/>
                  </a:cubicBezTo>
                  <a:lnTo>
                    <a:pt x="1268" y="215"/>
                  </a:lnTo>
                  <a:close/>
                  <a:moveTo>
                    <a:pt x="1067" y="215"/>
                  </a:moveTo>
                  <a:cubicBezTo>
                    <a:pt x="1067" y="163"/>
                    <a:pt x="1067" y="163"/>
                    <a:pt x="1067" y="163"/>
                  </a:cubicBezTo>
                  <a:cubicBezTo>
                    <a:pt x="1086" y="163"/>
                    <a:pt x="1086" y="163"/>
                    <a:pt x="1086" y="163"/>
                  </a:cubicBezTo>
                  <a:cubicBezTo>
                    <a:pt x="1086" y="263"/>
                    <a:pt x="1086" y="263"/>
                    <a:pt x="1086" y="263"/>
                  </a:cubicBezTo>
                  <a:cubicBezTo>
                    <a:pt x="982" y="263"/>
                    <a:pt x="982" y="263"/>
                    <a:pt x="982" y="263"/>
                  </a:cubicBezTo>
                  <a:cubicBezTo>
                    <a:pt x="982" y="163"/>
                    <a:pt x="982" y="163"/>
                    <a:pt x="982" y="163"/>
                  </a:cubicBezTo>
                  <a:cubicBezTo>
                    <a:pt x="1006" y="163"/>
                    <a:pt x="1006" y="163"/>
                    <a:pt x="1006" y="163"/>
                  </a:cubicBezTo>
                  <a:cubicBezTo>
                    <a:pt x="1006" y="215"/>
                    <a:pt x="1006" y="215"/>
                    <a:pt x="1006" y="215"/>
                  </a:cubicBezTo>
                  <a:lnTo>
                    <a:pt x="1067" y="215"/>
                  </a:lnTo>
                  <a:close/>
                  <a:moveTo>
                    <a:pt x="865" y="215"/>
                  </a:moveTo>
                  <a:cubicBezTo>
                    <a:pt x="865" y="163"/>
                    <a:pt x="865" y="163"/>
                    <a:pt x="865" y="163"/>
                  </a:cubicBezTo>
                  <a:cubicBezTo>
                    <a:pt x="884" y="163"/>
                    <a:pt x="884" y="163"/>
                    <a:pt x="884" y="163"/>
                  </a:cubicBezTo>
                  <a:cubicBezTo>
                    <a:pt x="884" y="263"/>
                    <a:pt x="884" y="263"/>
                    <a:pt x="884" y="263"/>
                  </a:cubicBezTo>
                  <a:cubicBezTo>
                    <a:pt x="780" y="263"/>
                    <a:pt x="780" y="263"/>
                    <a:pt x="780" y="263"/>
                  </a:cubicBezTo>
                  <a:cubicBezTo>
                    <a:pt x="780" y="163"/>
                    <a:pt x="780" y="163"/>
                    <a:pt x="780" y="163"/>
                  </a:cubicBezTo>
                  <a:cubicBezTo>
                    <a:pt x="804" y="163"/>
                    <a:pt x="804" y="163"/>
                    <a:pt x="804" y="163"/>
                  </a:cubicBezTo>
                  <a:cubicBezTo>
                    <a:pt x="804" y="215"/>
                    <a:pt x="804" y="215"/>
                    <a:pt x="804" y="215"/>
                  </a:cubicBezTo>
                  <a:lnTo>
                    <a:pt x="865" y="215"/>
                  </a:lnTo>
                  <a:close/>
                  <a:moveTo>
                    <a:pt x="663" y="215"/>
                  </a:moveTo>
                  <a:cubicBezTo>
                    <a:pt x="663" y="163"/>
                    <a:pt x="663" y="163"/>
                    <a:pt x="663" y="163"/>
                  </a:cubicBezTo>
                  <a:cubicBezTo>
                    <a:pt x="682" y="163"/>
                    <a:pt x="682" y="163"/>
                    <a:pt x="682" y="163"/>
                  </a:cubicBezTo>
                  <a:cubicBezTo>
                    <a:pt x="682" y="263"/>
                    <a:pt x="682" y="263"/>
                    <a:pt x="682" y="263"/>
                  </a:cubicBezTo>
                  <a:cubicBezTo>
                    <a:pt x="578" y="263"/>
                    <a:pt x="578" y="263"/>
                    <a:pt x="578" y="263"/>
                  </a:cubicBezTo>
                  <a:cubicBezTo>
                    <a:pt x="578" y="163"/>
                    <a:pt x="578" y="163"/>
                    <a:pt x="578" y="163"/>
                  </a:cubicBezTo>
                  <a:cubicBezTo>
                    <a:pt x="603" y="163"/>
                    <a:pt x="603" y="163"/>
                    <a:pt x="603" y="163"/>
                  </a:cubicBezTo>
                  <a:cubicBezTo>
                    <a:pt x="603" y="215"/>
                    <a:pt x="603" y="215"/>
                    <a:pt x="603" y="215"/>
                  </a:cubicBezTo>
                  <a:lnTo>
                    <a:pt x="663" y="215"/>
                  </a:lnTo>
                  <a:close/>
                  <a:moveTo>
                    <a:pt x="462" y="215"/>
                  </a:moveTo>
                  <a:cubicBezTo>
                    <a:pt x="462" y="163"/>
                    <a:pt x="462" y="163"/>
                    <a:pt x="462" y="163"/>
                  </a:cubicBezTo>
                  <a:cubicBezTo>
                    <a:pt x="480" y="163"/>
                    <a:pt x="480" y="163"/>
                    <a:pt x="480" y="163"/>
                  </a:cubicBezTo>
                  <a:cubicBezTo>
                    <a:pt x="480" y="263"/>
                    <a:pt x="480" y="263"/>
                    <a:pt x="480" y="263"/>
                  </a:cubicBezTo>
                  <a:cubicBezTo>
                    <a:pt x="376" y="263"/>
                    <a:pt x="376" y="263"/>
                    <a:pt x="376" y="263"/>
                  </a:cubicBezTo>
                  <a:cubicBezTo>
                    <a:pt x="376" y="163"/>
                    <a:pt x="376" y="163"/>
                    <a:pt x="376" y="163"/>
                  </a:cubicBezTo>
                  <a:cubicBezTo>
                    <a:pt x="401" y="163"/>
                    <a:pt x="401" y="163"/>
                    <a:pt x="401" y="163"/>
                  </a:cubicBezTo>
                  <a:cubicBezTo>
                    <a:pt x="401" y="215"/>
                    <a:pt x="401" y="215"/>
                    <a:pt x="401" y="215"/>
                  </a:cubicBezTo>
                  <a:lnTo>
                    <a:pt x="462" y="215"/>
                  </a:lnTo>
                  <a:close/>
                  <a:moveTo>
                    <a:pt x="234" y="326"/>
                  </a:moveTo>
                  <a:cubicBezTo>
                    <a:pt x="159" y="326"/>
                    <a:pt x="159" y="326"/>
                    <a:pt x="159" y="326"/>
                  </a:cubicBezTo>
                  <a:cubicBezTo>
                    <a:pt x="159" y="119"/>
                    <a:pt x="159" y="119"/>
                    <a:pt x="159" y="119"/>
                  </a:cubicBezTo>
                  <a:cubicBezTo>
                    <a:pt x="234" y="119"/>
                    <a:pt x="234" y="119"/>
                    <a:pt x="234" y="119"/>
                  </a:cubicBezTo>
                  <a:lnTo>
                    <a:pt x="234" y="326"/>
                  </a:lnTo>
                  <a:close/>
                  <a:moveTo>
                    <a:pt x="2244" y="360"/>
                  </a:moveTo>
                  <a:cubicBezTo>
                    <a:pt x="244" y="360"/>
                    <a:pt x="244" y="360"/>
                    <a:pt x="244" y="360"/>
                  </a:cubicBezTo>
                  <a:cubicBezTo>
                    <a:pt x="244" y="343"/>
                    <a:pt x="244" y="343"/>
                    <a:pt x="244" y="343"/>
                  </a:cubicBezTo>
                  <a:cubicBezTo>
                    <a:pt x="2244" y="343"/>
                    <a:pt x="2244" y="343"/>
                    <a:pt x="2244" y="343"/>
                  </a:cubicBezTo>
                  <a:lnTo>
                    <a:pt x="2244" y="360"/>
                  </a:lnTo>
                  <a:close/>
                  <a:moveTo>
                    <a:pt x="2273" y="119"/>
                  </a:moveTo>
                  <a:cubicBezTo>
                    <a:pt x="2347" y="119"/>
                    <a:pt x="2347" y="119"/>
                    <a:pt x="2347" y="119"/>
                  </a:cubicBezTo>
                  <a:cubicBezTo>
                    <a:pt x="2347" y="326"/>
                    <a:pt x="2347" y="326"/>
                    <a:pt x="2347" y="326"/>
                  </a:cubicBezTo>
                  <a:cubicBezTo>
                    <a:pt x="2273" y="326"/>
                    <a:pt x="2273" y="326"/>
                    <a:pt x="2273" y="326"/>
                  </a:cubicBezTo>
                  <a:lnTo>
                    <a:pt x="2273" y="1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3" name="Oval 318"/>
            <p:cNvSpPr>
              <a:spLocks noChangeArrowheads="1"/>
            </p:cNvSpPr>
            <p:nvPr userDrawn="1"/>
          </p:nvSpPr>
          <p:spPr bwMode="auto">
            <a:xfrm>
              <a:off x="2338" y="2356"/>
              <a:ext cx="29" cy="3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4" name="Oval 319"/>
            <p:cNvSpPr>
              <a:spLocks noChangeArrowheads="1"/>
            </p:cNvSpPr>
            <p:nvPr userDrawn="1"/>
          </p:nvSpPr>
          <p:spPr bwMode="auto">
            <a:xfrm>
              <a:off x="2391" y="2356"/>
              <a:ext cx="29" cy="3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5" name="Oval 320"/>
            <p:cNvSpPr>
              <a:spLocks noChangeArrowheads="1"/>
            </p:cNvSpPr>
            <p:nvPr userDrawn="1"/>
          </p:nvSpPr>
          <p:spPr bwMode="auto">
            <a:xfrm>
              <a:off x="2445" y="2356"/>
              <a:ext cx="29" cy="3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6" name="Freeform 321"/>
            <p:cNvSpPr>
              <a:spLocks/>
            </p:cNvSpPr>
            <p:nvPr userDrawn="1"/>
          </p:nvSpPr>
          <p:spPr bwMode="auto">
            <a:xfrm>
              <a:off x="2414" y="2353"/>
              <a:ext cx="37" cy="19"/>
            </a:xfrm>
            <a:custGeom>
              <a:avLst/>
              <a:gdLst>
                <a:gd name="T0" fmla="*/ 142 w 142"/>
                <a:gd name="T1" fmla="*/ 0 h 69"/>
                <a:gd name="T2" fmla="*/ 0 w 142"/>
                <a:gd name="T3" fmla="*/ 0 h 69"/>
                <a:gd name="T4" fmla="*/ 43 w 142"/>
                <a:gd name="T5" fmla="*/ 66 h 69"/>
                <a:gd name="T6" fmla="*/ 43 w 142"/>
                <a:gd name="T7" fmla="*/ 69 h 69"/>
                <a:gd name="T8" fmla="*/ 99 w 142"/>
                <a:gd name="T9" fmla="*/ 69 h 69"/>
                <a:gd name="T10" fmla="*/ 99 w 142"/>
                <a:gd name="T11" fmla="*/ 66 h 69"/>
                <a:gd name="T12" fmla="*/ 142 w 142"/>
                <a:gd name="T13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2" h="69">
                  <a:moveTo>
                    <a:pt x="14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6" y="11"/>
                    <a:pt x="43" y="37"/>
                    <a:pt x="43" y="66"/>
                  </a:cubicBezTo>
                  <a:cubicBezTo>
                    <a:pt x="43" y="67"/>
                    <a:pt x="43" y="68"/>
                    <a:pt x="43" y="69"/>
                  </a:cubicBezTo>
                  <a:cubicBezTo>
                    <a:pt x="99" y="69"/>
                    <a:pt x="99" y="69"/>
                    <a:pt x="99" y="69"/>
                  </a:cubicBezTo>
                  <a:cubicBezTo>
                    <a:pt x="99" y="68"/>
                    <a:pt x="99" y="67"/>
                    <a:pt x="99" y="66"/>
                  </a:cubicBezTo>
                  <a:cubicBezTo>
                    <a:pt x="99" y="37"/>
                    <a:pt x="116" y="11"/>
                    <a:pt x="14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7" name="Freeform 322"/>
            <p:cNvSpPr>
              <a:spLocks/>
            </p:cNvSpPr>
            <p:nvPr userDrawn="1"/>
          </p:nvSpPr>
          <p:spPr bwMode="auto">
            <a:xfrm>
              <a:off x="2361" y="2353"/>
              <a:ext cx="37" cy="19"/>
            </a:xfrm>
            <a:custGeom>
              <a:avLst/>
              <a:gdLst>
                <a:gd name="T0" fmla="*/ 141 w 141"/>
                <a:gd name="T1" fmla="*/ 0 h 69"/>
                <a:gd name="T2" fmla="*/ 0 w 141"/>
                <a:gd name="T3" fmla="*/ 0 h 69"/>
                <a:gd name="T4" fmla="*/ 42 w 141"/>
                <a:gd name="T5" fmla="*/ 66 h 69"/>
                <a:gd name="T6" fmla="*/ 42 w 141"/>
                <a:gd name="T7" fmla="*/ 69 h 69"/>
                <a:gd name="T8" fmla="*/ 98 w 141"/>
                <a:gd name="T9" fmla="*/ 69 h 69"/>
                <a:gd name="T10" fmla="*/ 98 w 141"/>
                <a:gd name="T11" fmla="*/ 66 h 69"/>
                <a:gd name="T12" fmla="*/ 141 w 141"/>
                <a:gd name="T13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1" h="69">
                  <a:moveTo>
                    <a:pt x="14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5" y="11"/>
                    <a:pt x="42" y="37"/>
                    <a:pt x="42" y="66"/>
                  </a:cubicBezTo>
                  <a:cubicBezTo>
                    <a:pt x="42" y="67"/>
                    <a:pt x="42" y="68"/>
                    <a:pt x="42" y="69"/>
                  </a:cubicBezTo>
                  <a:cubicBezTo>
                    <a:pt x="98" y="69"/>
                    <a:pt x="98" y="69"/>
                    <a:pt x="98" y="69"/>
                  </a:cubicBezTo>
                  <a:cubicBezTo>
                    <a:pt x="98" y="68"/>
                    <a:pt x="98" y="67"/>
                    <a:pt x="98" y="66"/>
                  </a:cubicBezTo>
                  <a:cubicBezTo>
                    <a:pt x="98" y="37"/>
                    <a:pt x="116" y="11"/>
                    <a:pt x="14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8" name="Freeform 323"/>
            <p:cNvSpPr>
              <a:spLocks/>
            </p:cNvSpPr>
            <p:nvPr userDrawn="1"/>
          </p:nvSpPr>
          <p:spPr bwMode="auto">
            <a:xfrm>
              <a:off x="2326" y="2353"/>
              <a:ext cx="18" cy="17"/>
            </a:xfrm>
            <a:custGeom>
              <a:avLst/>
              <a:gdLst>
                <a:gd name="T0" fmla="*/ 70 w 70"/>
                <a:gd name="T1" fmla="*/ 0 h 61"/>
                <a:gd name="T2" fmla="*/ 1 w 70"/>
                <a:gd name="T3" fmla="*/ 0 h 61"/>
                <a:gd name="T4" fmla="*/ 0 w 70"/>
                <a:gd name="T5" fmla="*/ 11 h 61"/>
                <a:gd name="T6" fmla="*/ 28 w 70"/>
                <a:gd name="T7" fmla="*/ 61 h 61"/>
                <a:gd name="T8" fmla="*/ 70 w 70"/>
                <a:gd name="T9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61">
                  <a:moveTo>
                    <a:pt x="7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3"/>
                    <a:pt x="0" y="7"/>
                    <a:pt x="0" y="11"/>
                  </a:cubicBezTo>
                  <a:cubicBezTo>
                    <a:pt x="0" y="32"/>
                    <a:pt x="11" y="50"/>
                    <a:pt x="28" y="61"/>
                  </a:cubicBezTo>
                  <a:cubicBezTo>
                    <a:pt x="30" y="33"/>
                    <a:pt x="47" y="10"/>
                    <a:pt x="7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9" name="Rectangle 324"/>
            <p:cNvSpPr>
              <a:spLocks noChangeArrowheads="1"/>
            </p:cNvSpPr>
            <p:nvPr userDrawn="1"/>
          </p:nvSpPr>
          <p:spPr bwMode="auto">
            <a:xfrm>
              <a:off x="1833" y="2386"/>
              <a:ext cx="1973" cy="1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7" name="Группа 463"/>
          <p:cNvGrpSpPr/>
          <p:nvPr userDrawn="1"/>
        </p:nvGrpSpPr>
        <p:grpSpPr>
          <a:xfrm>
            <a:off x="2814840" y="1741611"/>
            <a:ext cx="2886999" cy="295543"/>
            <a:chOff x="1182688" y="4068571"/>
            <a:chExt cx="2700000" cy="235142"/>
          </a:xfrm>
          <a:solidFill>
            <a:srgbClr val="BFF9FD"/>
          </a:solidFill>
        </p:grpSpPr>
        <p:sp>
          <p:nvSpPr>
            <p:cNvPr id="372" name="Freeform 358"/>
            <p:cNvSpPr>
              <a:spLocks noEditPoints="1"/>
            </p:cNvSpPr>
            <p:nvPr userDrawn="1"/>
          </p:nvSpPr>
          <p:spPr bwMode="auto">
            <a:xfrm>
              <a:off x="3786959" y="4242714"/>
              <a:ext cx="44274" cy="44274"/>
            </a:xfrm>
            <a:custGeom>
              <a:avLst/>
              <a:gdLst>
                <a:gd name="T0" fmla="*/ 51 w 101"/>
                <a:gd name="T1" fmla="*/ 0 h 101"/>
                <a:gd name="T2" fmla="*/ 0 w 101"/>
                <a:gd name="T3" fmla="*/ 51 h 101"/>
                <a:gd name="T4" fmla="*/ 51 w 101"/>
                <a:gd name="T5" fmla="*/ 101 h 101"/>
                <a:gd name="T6" fmla="*/ 101 w 101"/>
                <a:gd name="T7" fmla="*/ 51 h 101"/>
                <a:gd name="T8" fmla="*/ 51 w 101"/>
                <a:gd name="T9" fmla="*/ 0 h 101"/>
                <a:gd name="T10" fmla="*/ 51 w 101"/>
                <a:gd name="T11" fmla="*/ 86 h 101"/>
                <a:gd name="T12" fmla="*/ 15 w 101"/>
                <a:gd name="T13" fmla="*/ 51 h 101"/>
                <a:gd name="T14" fmla="*/ 51 w 101"/>
                <a:gd name="T15" fmla="*/ 15 h 101"/>
                <a:gd name="T16" fmla="*/ 86 w 101"/>
                <a:gd name="T17" fmla="*/ 51 h 101"/>
                <a:gd name="T18" fmla="*/ 51 w 101"/>
                <a:gd name="T19" fmla="*/ 86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1" h="101">
                  <a:moveTo>
                    <a:pt x="51" y="0"/>
                  </a:moveTo>
                  <a:cubicBezTo>
                    <a:pt x="23" y="0"/>
                    <a:pt x="0" y="23"/>
                    <a:pt x="0" y="51"/>
                  </a:cubicBezTo>
                  <a:cubicBezTo>
                    <a:pt x="0" y="78"/>
                    <a:pt x="23" y="101"/>
                    <a:pt x="51" y="101"/>
                  </a:cubicBezTo>
                  <a:cubicBezTo>
                    <a:pt x="78" y="101"/>
                    <a:pt x="101" y="78"/>
                    <a:pt x="101" y="51"/>
                  </a:cubicBezTo>
                  <a:cubicBezTo>
                    <a:pt x="101" y="23"/>
                    <a:pt x="78" y="0"/>
                    <a:pt x="51" y="0"/>
                  </a:cubicBezTo>
                  <a:close/>
                  <a:moveTo>
                    <a:pt x="51" y="86"/>
                  </a:moveTo>
                  <a:cubicBezTo>
                    <a:pt x="31" y="86"/>
                    <a:pt x="15" y="70"/>
                    <a:pt x="15" y="51"/>
                  </a:cubicBezTo>
                  <a:cubicBezTo>
                    <a:pt x="15" y="31"/>
                    <a:pt x="31" y="15"/>
                    <a:pt x="51" y="15"/>
                  </a:cubicBezTo>
                  <a:cubicBezTo>
                    <a:pt x="70" y="15"/>
                    <a:pt x="86" y="31"/>
                    <a:pt x="86" y="51"/>
                  </a:cubicBezTo>
                  <a:cubicBezTo>
                    <a:pt x="86" y="70"/>
                    <a:pt x="70" y="86"/>
                    <a:pt x="51" y="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73" name="Oval 359"/>
            <p:cNvSpPr>
              <a:spLocks noChangeArrowheads="1"/>
            </p:cNvSpPr>
            <p:nvPr userDrawn="1"/>
          </p:nvSpPr>
          <p:spPr bwMode="auto">
            <a:xfrm>
              <a:off x="3795814" y="4252552"/>
              <a:ext cx="25580" cy="2558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74" name="Freeform 360"/>
            <p:cNvSpPr>
              <a:spLocks noEditPoints="1"/>
            </p:cNvSpPr>
            <p:nvPr userDrawn="1"/>
          </p:nvSpPr>
          <p:spPr bwMode="auto">
            <a:xfrm>
              <a:off x="3714154" y="4242714"/>
              <a:ext cx="44274" cy="44274"/>
            </a:xfrm>
            <a:custGeom>
              <a:avLst/>
              <a:gdLst>
                <a:gd name="T0" fmla="*/ 51 w 101"/>
                <a:gd name="T1" fmla="*/ 0 h 101"/>
                <a:gd name="T2" fmla="*/ 0 w 101"/>
                <a:gd name="T3" fmla="*/ 51 h 101"/>
                <a:gd name="T4" fmla="*/ 51 w 101"/>
                <a:gd name="T5" fmla="*/ 101 h 101"/>
                <a:gd name="T6" fmla="*/ 101 w 101"/>
                <a:gd name="T7" fmla="*/ 51 h 101"/>
                <a:gd name="T8" fmla="*/ 51 w 101"/>
                <a:gd name="T9" fmla="*/ 0 h 101"/>
                <a:gd name="T10" fmla="*/ 51 w 101"/>
                <a:gd name="T11" fmla="*/ 86 h 101"/>
                <a:gd name="T12" fmla="*/ 15 w 101"/>
                <a:gd name="T13" fmla="*/ 51 h 101"/>
                <a:gd name="T14" fmla="*/ 51 w 101"/>
                <a:gd name="T15" fmla="*/ 15 h 101"/>
                <a:gd name="T16" fmla="*/ 86 w 101"/>
                <a:gd name="T17" fmla="*/ 51 h 101"/>
                <a:gd name="T18" fmla="*/ 51 w 101"/>
                <a:gd name="T19" fmla="*/ 86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1" h="101">
                  <a:moveTo>
                    <a:pt x="51" y="0"/>
                  </a:moveTo>
                  <a:cubicBezTo>
                    <a:pt x="23" y="0"/>
                    <a:pt x="0" y="23"/>
                    <a:pt x="0" y="51"/>
                  </a:cubicBezTo>
                  <a:cubicBezTo>
                    <a:pt x="0" y="78"/>
                    <a:pt x="23" y="101"/>
                    <a:pt x="51" y="101"/>
                  </a:cubicBezTo>
                  <a:cubicBezTo>
                    <a:pt x="78" y="101"/>
                    <a:pt x="101" y="78"/>
                    <a:pt x="101" y="51"/>
                  </a:cubicBezTo>
                  <a:cubicBezTo>
                    <a:pt x="101" y="23"/>
                    <a:pt x="78" y="0"/>
                    <a:pt x="51" y="0"/>
                  </a:cubicBezTo>
                  <a:close/>
                  <a:moveTo>
                    <a:pt x="51" y="86"/>
                  </a:moveTo>
                  <a:cubicBezTo>
                    <a:pt x="31" y="86"/>
                    <a:pt x="15" y="70"/>
                    <a:pt x="15" y="51"/>
                  </a:cubicBezTo>
                  <a:cubicBezTo>
                    <a:pt x="15" y="31"/>
                    <a:pt x="31" y="15"/>
                    <a:pt x="51" y="15"/>
                  </a:cubicBezTo>
                  <a:cubicBezTo>
                    <a:pt x="70" y="15"/>
                    <a:pt x="86" y="31"/>
                    <a:pt x="86" y="51"/>
                  </a:cubicBezTo>
                  <a:cubicBezTo>
                    <a:pt x="86" y="70"/>
                    <a:pt x="70" y="86"/>
                    <a:pt x="51" y="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75" name="Oval 361"/>
            <p:cNvSpPr>
              <a:spLocks noChangeArrowheads="1"/>
            </p:cNvSpPr>
            <p:nvPr userDrawn="1"/>
          </p:nvSpPr>
          <p:spPr bwMode="auto">
            <a:xfrm>
              <a:off x="3723992" y="4252552"/>
              <a:ext cx="24596" cy="2558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76" name="Freeform 362"/>
            <p:cNvSpPr>
              <a:spLocks noEditPoints="1"/>
            </p:cNvSpPr>
            <p:nvPr userDrawn="1"/>
          </p:nvSpPr>
          <p:spPr bwMode="auto">
            <a:xfrm>
              <a:off x="3613800" y="4242714"/>
              <a:ext cx="44274" cy="44274"/>
            </a:xfrm>
            <a:custGeom>
              <a:avLst/>
              <a:gdLst>
                <a:gd name="T0" fmla="*/ 50 w 100"/>
                <a:gd name="T1" fmla="*/ 0 h 101"/>
                <a:gd name="T2" fmla="*/ 0 w 100"/>
                <a:gd name="T3" fmla="*/ 51 h 101"/>
                <a:gd name="T4" fmla="*/ 50 w 100"/>
                <a:gd name="T5" fmla="*/ 101 h 101"/>
                <a:gd name="T6" fmla="*/ 100 w 100"/>
                <a:gd name="T7" fmla="*/ 51 h 101"/>
                <a:gd name="T8" fmla="*/ 50 w 100"/>
                <a:gd name="T9" fmla="*/ 0 h 101"/>
                <a:gd name="T10" fmla="*/ 50 w 100"/>
                <a:gd name="T11" fmla="*/ 86 h 101"/>
                <a:gd name="T12" fmla="*/ 14 w 100"/>
                <a:gd name="T13" fmla="*/ 51 h 101"/>
                <a:gd name="T14" fmla="*/ 50 w 100"/>
                <a:gd name="T15" fmla="*/ 15 h 101"/>
                <a:gd name="T16" fmla="*/ 85 w 100"/>
                <a:gd name="T17" fmla="*/ 51 h 101"/>
                <a:gd name="T18" fmla="*/ 50 w 100"/>
                <a:gd name="T19" fmla="*/ 86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0" h="101">
                  <a:moveTo>
                    <a:pt x="50" y="0"/>
                  </a:moveTo>
                  <a:cubicBezTo>
                    <a:pt x="22" y="0"/>
                    <a:pt x="0" y="23"/>
                    <a:pt x="0" y="51"/>
                  </a:cubicBezTo>
                  <a:cubicBezTo>
                    <a:pt x="0" y="78"/>
                    <a:pt x="22" y="101"/>
                    <a:pt x="50" y="101"/>
                  </a:cubicBezTo>
                  <a:cubicBezTo>
                    <a:pt x="78" y="101"/>
                    <a:pt x="100" y="78"/>
                    <a:pt x="100" y="51"/>
                  </a:cubicBezTo>
                  <a:cubicBezTo>
                    <a:pt x="100" y="23"/>
                    <a:pt x="78" y="0"/>
                    <a:pt x="50" y="0"/>
                  </a:cubicBezTo>
                  <a:close/>
                  <a:moveTo>
                    <a:pt x="50" y="86"/>
                  </a:moveTo>
                  <a:cubicBezTo>
                    <a:pt x="30" y="86"/>
                    <a:pt x="14" y="70"/>
                    <a:pt x="14" y="51"/>
                  </a:cubicBezTo>
                  <a:cubicBezTo>
                    <a:pt x="14" y="31"/>
                    <a:pt x="30" y="15"/>
                    <a:pt x="50" y="15"/>
                  </a:cubicBezTo>
                  <a:cubicBezTo>
                    <a:pt x="69" y="15"/>
                    <a:pt x="85" y="31"/>
                    <a:pt x="85" y="51"/>
                  </a:cubicBezTo>
                  <a:cubicBezTo>
                    <a:pt x="85" y="70"/>
                    <a:pt x="69" y="86"/>
                    <a:pt x="50" y="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77" name="Oval 363"/>
            <p:cNvSpPr>
              <a:spLocks noChangeArrowheads="1"/>
            </p:cNvSpPr>
            <p:nvPr userDrawn="1"/>
          </p:nvSpPr>
          <p:spPr bwMode="auto">
            <a:xfrm>
              <a:off x="3623639" y="4252552"/>
              <a:ext cx="25580" cy="2558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78" name="Freeform 364"/>
            <p:cNvSpPr>
              <a:spLocks noEditPoints="1"/>
            </p:cNvSpPr>
            <p:nvPr userDrawn="1"/>
          </p:nvSpPr>
          <p:spPr bwMode="auto">
            <a:xfrm>
              <a:off x="3541979" y="4242714"/>
              <a:ext cx="44274" cy="44274"/>
            </a:xfrm>
            <a:custGeom>
              <a:avLst/>
              <a:gdLst>
                <a:gd name="T0" fmla="*/ 50 w 100"/>
                <a:gd name="T1" fmla="*/ 0 h 101"/>
                <a:gd name="T2" fmla="*/ 0 w 100"/>
                <a:gd name="T3" fmla="*/ 51 h 101"/>
                <a:gd name="T4" fmla="*/ 50 w 100"/>
                <a:gd name="T5" fmla="*/ 101 h 101"/>
                <a:gd name="T6" fmla="*/ 100 w 100"/>
                <a:gd name="T7" fmla="*/ 51 h 101"/>
                <a:gd name="T8" fmla="*/ 50 w 100"/>
                <a:gd name="T9" fmla="*/ 0 h 101"/>
                <a:gd name="T10" fmla="*/ 50 w 100"/>
                <a:gd name="T11" fmla="*/ 86 h 101"/>
                <a:gd name="T12" fmla="*/ 14 w 100"/>
                <a:gd name="T13" fmla="*/ 51 h 101"/>
                <a:gd name="T14" fmla="*/ 50 w 100"/>
                <a:gd name="T15" fmla="*/ 15 h 101"/>
                <a:gd name="T16" fmla="*/ 85 w 100"/>
                <a:gd name="T17" fmla="*/ 51 h 101"/>
                <a:gd name="T18" fmla="*/ 50 w 100"/>
                <a:gd name="T19" fmla="*/ 86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0" h="101">
                  <a:moveTo>
                    <a:pt x="50" y="0"/>
                  </a:moveTo>
                  <a:cubicBezTo>
                    <a:pt x="22" y="0"/>
                    <a:pt x="0" y="23"/>
                    <a:pt x="0" y="51"/>
                  </a:cubicBezTo>
                  <a:cubicBezTo>
                    <a:pt x="0" y="78"/>
                    <a:pt x="22" y="101"/>
                    <a:pt x="50" y="101"/>
                  </a:cubicBezTo>
                  <a:cubicBezTo>
                    <a:pt x="78" y="101"/>
                    <a:pt x="100" y="78"/>
                    <a:pt x="100" y="51"/>
                  </a:cubicBezTo>
                  <a:cubicBezTo>
                    <a:pt x="100" y="23"/>
                    <a:pt x="78" y="0"/>
                    <a:pt x="50" y="0"/>
                  </a:cubicBezTo>
                  <a:close/>
                  <a:moveTo>
                    <a:pt x="50" y="86"/>
                  </a:moveTo>
                  <a:cubicBezTo>
                    <a:pt x="30" y="86"/>
                    <a:pt x="14" y="70"/>
                    <a:pt x="14" y="51"/>
                  </a:cubicBezTo>
                  <a:cubicBezTo>
                    <a:pt x="14" y="31"/>
                    <a:pt x="30" y="15"/>
                    <a:pt x="50" y="15"/>
                  </a:cubicBezTo>
                  <a:cubicBezTo>
                    <a:pt x="69" y="15"/>
                    <a:pt x="85" y="31"/>
                    <a:pt x="85" y="51"/>
                  </a:cubicBezTo>
                  <a:cubicBezTo>
                    <a:pt x="85" y="70"/>
                    <a:pt x="69" y="86"/>
                    <a:pt x="50" y="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79" name="Oval 365"/>
            <p:cNvSpPr>
              <a:spLocks noChangeArrowheads="1"/>
            </p:cNvSpPr>
            <p:nvPr userDrawn="1"/>
          </p:nvSpPr>
          <p:spPr bwMode="auto">
            <a:xfrm>
              <a:off x="3550833" y="4252552"/>
              <a:ext cx="25580" cy="2558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80" name="Freeform 366"/>
            <p:cNvSpPr>
              <a:spLocks/>
            </p:cNvSpPr>
            <p:nvPr userDrawn="1"/>
          </p:nvSpPr>
          <p:spPr bwMode="auto">
            <a:xfrm>
              <a:off x="3494754" y="4217133"/>
              <a:ext cx="365011" cy="39354"/>
            </a:xfrm>
            <a:custGeom>
              <a:avLst/>
              <a:gdLst>
                <a:gd name="T0" fmla="*/ 824 w 835"/>
                <a:gd name="T1" fmla="*/ 19 h 90"/>
                <a:gd name="T2" fmla="*/ 814 w 835"/>
                <a:gd name="T3" fmla="*/ 30 h 90"/>
                <a:gd name="T4" fmla="*/ 814 w 835"/>
                <a:gd name="T5" fmla="*/ 30 h 90"/>
                <a:gd name="T6" fmla="*/ 789 w 835"/>
                <a:gd name="T7" fmla="*/ 30 h 90"/>
                <a:gd name="T8" fmla="*/ 789 w 835"/>
                <a:gd name="T9" fmla="*/ 13 h 90"/>
                <a:gd name="T10" fmla="*/ 775 w 835"/>
                <a:gd name="T11" fmla="*/ 0 h 90"/>
                <a:gd name="T12" fmla="*/ 66 w 835"/>
                <a:gd name="T13" fmla="*/ 0 h 90"/>
                <a:gd name="T14" fmla="*/ 53 w 835"/>
                <a:gd name="T15" fmla="*/ 13 h 90"/>
                <a:gd name="T16" fmla="*/ 53 w 835"/>
                <a:gd name="T17" fmla="*/ 44 h 90"/>
                <a:gd name="T18" fmla="*/ 22 w 835"/>
                <a:gd name="T19" fmla="*/ 44 h 90"/>
                <a:gd name="T20" fmla="*/ 22 w 835"/>
                <a:gd name="T21" fmla="*/ 44 h 90"/>
                <a:gd name="T22" fmla="*/ 11 w 835"/>
                <a:gd name="T23" fmla="*/ 33 h 90"/>
                <a:gd name="T24" fmla="*/ 0 w 835"/>
                <a:gd name="T25" fmla="*/ 44 h 90"/>
                <a:gd name="T26" fmla="*/ 0 w 835"/>
                <a:gd name="T27" fmla="*/ 75 h 90"/>
                <a:gd name="T28" fmla="*/ 11 w 835"/>
                <a:gd name="T29" fmla="*/ 85 h 90"/>
                <a:gd name="T30" fmla="*/ 22 w 835"/>
                <a:gd name="T31" fmla="*/ 75 h 90"/>
                <a:gd name="T32" fmla="*/ 22 w 835"/>
                <a:gd name="T33" fmla="*/ 74 h 90"/>
                <a:gd name="T34" fmla="*/ 53 w 835"/>
                <a:gd name="T35" fmla="*/ 74 h 90"/>
                <a:gd name="T36" fmla="*/ 53 w 835"/>
                <a:gd name="T37" fmla="*/ 77 h 90"/>
                <a:gd name="T38" fmla="*/ 66 w 835"/>
                <a:gd name="T39" fmla="*/ 90 h 90"/>
                <a:gd name="T40" fmla="*/ 99 w 835"/>
                <a:gd name="T41" fmla="*/ 90 h 90"/>
                <a:gd name="T42" fmla="*/ 158 w 835"/>
                <a:gd name="T43" fmla="*/ 48 h 90"/>
                <a:gd name="T44" fmla="*/ 216 w 835"/>
                <a:gd name="T45" fmla="*/ 90 h 90"/>
                <a:gd name="T46" fmla="*/ 264 w 835"/>
                <a:gd name="T47" fmla="*/ 90 h 90"/>
                <a:gd name="T48" fmla="*/ 323 w 835"/>
                <a:gd name="T49" fmla="*/ 48 h 90"/>
                <a:gd name="T50" fmla="*/ 381 w 835"/>
                <a:gd name="T51" fmla="*/ 90 h 90"/>
                <a:gd name="T52" fmla="*/ 494 w 835"/>
                <a:gd name="T53" fmla="*/ 90 h 90"/>
                <a:gd name="T54" fmla="*/ 553 w 835"/>
                <a:gd name="T55" fmla="*/ 48 h 90"/>
                <a:gd name="T56" fmla="*/ 611 w 835"/>
                <a:gd name="T57" fmla="*/ 90 h 90"/>
                <a:gd name="T58" fmla="*/ 659 w 835"/>
                <a:gd name="T59" fmla="*/ 90 h 90"/>
                <a:gd name="T60" fmla="*/ 718 w 835"/>
                <a:gd name="T61" fmla="*/ 48 h 90"/>
                <a:gd name="T62" fmla="*/ 776 w 835"/>
                <a:gd name="T63" fmla="*/ 90 h 90"/>
                <a:gd name="T64" fmla="*/ 789 w 835"/>
                <a:gd name="T65" fmla="*/ 77 h 90"/>
                <a:gd name="T66" fmla="*/ 789 w 835"/>
                <a:gd name="T67" fmla="*/ 60 h 90"/>
                <a:gd name="T68" fmla="*/ 814 w 835"/>
                <a:gd name="T69" fmla="*/ 60 h 90"/>
                <a:gd name="T70" fmla="*/ 814 w 835"/>
                <a:gd name="T71" fmla="*/ 61 h 90"/>
                <a:gd name="T72" fmla="*/ 824 w 835"/>
                <a:gd name="T73" fmla="*/ 71 h 90"/>
                <a:gd name="T74" fmla="*/ 835 w 835"/>
                <a:gd name="T75" fmla="*/ 61 h 90"/>
                <a:gd name="T76" fmla="*/ 835 w 835"/>
                <a:gd name="T77" fmla="*/ 30 h 90"/>
                <a:gd name="T78" fmla="*/ 824 w 835"/>
                <a:gd name="T79" fmla="*/ 19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835" h="90">
                  <a:moveTo>
                    <a:pt x="824" y="19"/>
                  </a:moveTo>
                  <a:cubicBezTo>
                    <a:pt x="818" y="19"/>
                    <a:pt x="814" y="24"/>
                    <a:pt x="814" y="30"/>
                  </a:cubicBezTo>
                  <a:cubicBezTo>
                    <a:pt x="814" y="30"/>
                    <a:pt x="814" y="30"/>
                    <a:pt x="814" y="30"/>
                  </a:cubicBezTo>
                  <a:cubicBezTo>
                    <a:pt x="789" y="30"/>
                    <a:pt x="789" y="30"/>
                    <a:pt x="789" y="30"/>
                  </a:cubicBezTo>
                  <a:cubicBezTo>
                    <a:pt x="789" y="13"/>
                    <a:pt x="789" y="13"/>
                    <a:pt x="789" y="13"/>
                  </a:cubicBezTo>
                  <a:cubicBezTo>
                    <a:pt x="789" y="6"/>
                    <a:pt x="783" y="0"/>
                    <a:pt x="775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59" y="0"/>
                    <a:pt x="53" y="6"/>
                    <a:pt x="53" y="13"/>
                  </a:cubicBezTo>
                  <a:cubicBezTo>
                    <a:pt x="53" y="44"/>
                    <a:pt x="53" y="44"/>
                    <a:pt x="53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38"/>
                    <a:pt x="17" y="33"/>
                    <a:pt x="11" y="33"/>
                  </a:cubicBezTo>
                  <a:cubicBezTo>
                    <a:pt x="5" y="33"/>
                    <a:pt x="0" y="38"/>
                    <a:pt x="0" y="44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81"/>
                    <a:pt x="5" y="85"/>
                    <a:pt x="11" y="85"/>
                  </a:cubicBezTo>
                  <a:cubicBezTo>
                    <a:pt x="17" y="85"/>
                    <a:pt x="22" y="81"/>
                    <a:pt x="22" y="75"/>
                  </a:cubicBezTo>
                  <a:cubicBezTo>
                    <a:pt x="22" y="74"/>
                    <a:pt x="22" y="74"/>
                    <a:pt x="22" y="74"/>
                  </a:cubicBezTo>
                  <a:cubicBezTo>
                    <a:pt x="53" y="74"/>
                    <a:pt x="53" y="74"/>
                    <a:pt x="53" y="74"/>
                  </a:cubicBezTo>
                  <a:cubicBezTo>
                    <a:pt x="53" y="77"/>
                    <a:pt x="53" y="77"/>
                    <a:pt x="53" y="77"/>
                  </a:cubicBezTo>
                  <a:cubicBezTo>
                    <a:pt x="53" y="84"/>
                    <a:pt x="59" y="90"/>
                    <a:pt x="66" y="90"/>
                  </a:cubicBezTo>
                  <a:cubicBezTo>
                    <a:pt x="99" y="90"/>
                    <a:pt x="99" y="90"/>
                    <a:pt x="99" y="90"/>
                  </a:cubicBezTo>
                  <a:cubicBezTo>
                    <a:pt x="108" y="66"/>
                    <a:pt x="131" y="48"/>
                    <a:pt x="158" y="48"/>
                  </a:cubicBezTo>
                  <a:cubicBezTo>
                    <a:pt x="185" y="48"/>
                    <a:pt x="208" y="66"/>
                    <a:pt x="216" y="90"/>
                  </a:cubicBezTo>
                  <a:cubicBezTo>
                    <a:pt x="264" y="90"/>
                    <a:pt x="264" y="90"/>
                    <a:pt x="264" y="90"/>
                  </a:cubicBezTo>
                  <a:cubicBezTo>
                    <a:pt x="273" y="66"/>
                    <a:pt x="296" y="48"/>
                    <a:pt x="323" y="48"/>
                  </a:cubicBezTo>
                  <a:cubicBezTo>
                    <a:pt x="350" y="48"/>
                    <a:pt x="373" y="66"/>
                    <a:pt x="381" y="90"/>
                  </a:cubicBezTo>
                  <a:cubicBezTo>
                    <a:pt x="494" y="90"/>
                    <a:pt x="494" y="90"/>
                    <a:pt x="494" y="90"/>
                  </a:cubicBezTo>
                  <a:cubicBezTo>
                    <a:pt x="502" y="66"/>
                    <a:pt x="525" y="48"/>
                    <a:pt x="553" y="48"/>
                  </a:cubicBezTo>
                  <a:cubicBezTo>
                    <a:pt x="580" y="48"/>
                    <a:pt x="603" y="66"/>
                    <a:pt x="611" y="90"/>
                  </a:cubicBezTo>
                  <a:cubicBezTo>
                    <a:pt x="659" y="90"/>
                    <a:pt x="659" y="90"/>
                    <a:pt x="659" y="90"/>
                  </a:cubicBezTo>
                  <a:cubicBezTo>
                    <a:pt x="667" y="66"/>
                    <a:pt x="690" y="48"/>
                    <a:pt x="718" y="48"/>
                  </a:cubicBezTo>
                  <a:cubicBezTo>
                    <a:pt x="745" y="48"/>
                    <a:pt x="768" y="66"/>
                    <a:pt x="776" y="90"/>
                  </a:cubicBezTo>
                  <a:cubicBezTo>
                    <a:pt x="783" y="90"/>
                    <a:pt x="789" y="84"/>
                    <a:pt x="789" y="77"/>
                  </a:cubicBezTo>
                  <a:cubicBezTo>
                    <a:pt x="789" y="60"/>
                    <a:pt x="789" y="60"/>
                    <a:pt x="789" y="60"/>
                  </a:cubicBezTo>
                  <a:cubicBezTo>
                    <a:pt x="814" y="60"/>
                    <a:pt x="814" y="60"/>
                    <a:pt x="814" y="60"/>
                  </a:cubicBezTo>
                  <a:cubicBezTo>
                    <a:pt x="814" y="61"/>
                    <a:pt x="814" y="61"/>
                    <a:pt x="814" y="61"/>
                  </a:cubicBezTo>
                  <a:cubicBezTo>
                    <a:pt x="814" y="67"/>
                    <a:pt x="818" y="71"/>
                    <a:pt x="824" y="71"/>
                  </a:cubicBezTo>
                  <a:cubicBezTo>
                    <a:pt x="830" y="71"/>
                    <a:pt x="835" y="67"/>
                    <a:pt x="835" y="61"/>
                  </a:cubicBezTo>
                  <a:cubicBezTo>
                    <a:pt x="835" y="30"/>
                    <a:pt x="835" y="30"/>
                    <a:pt x="835" y="30"/>
                  </a:cubicBezTo>
                  <a:cubicBezTo>
                    <a:pt x="835" y="24"/>
                    <a:pt x="830" y="19"/>
                    <a:pt x="824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81" name="Freeform 367"/>
            <p:cNvSpPr>
              <a:spLocks/>
            </p:cNvSpPr>
            <p:nvPr userDrawn="1"/>
          </p:nvSpPr>
          <p:spPr bwMode="auto">
            <a:xfrm>
              <a:off x="3541979" y="4144328"/>
              <a:ext cx="289254" cy="66902"/>
            </a:xfrm>
            <a:custGeom>
              <a:avLst/>
              <a:gdLst>
                <a:gd name="T0" fmla="*/ 660 w 660"/>
                <a:gd name="T1" fmla="*/ 13 h 152"/>
                <a:gd name="T2" fmla="*/ 647 w 660"/>
                <a:gd name="T3" fmla="*/ 0 h 152"/>
                <a:gd name="T4" fmla="*/ 13 w 660"/>
                <a:gd name="T5" fmla="*/ 0 h 152"/>
                <a:gd name="T6" fmla="*/ 0 w 660"/>
                <a:gd name="T7" fmla="*/ 13 h 152"/>
                <a:gd name="T8" fmla="*/ 0 w 660"/>
                <a:gd name="T9" fmla="*/ 152 h 152"/>
                <a:gd name="T10" fmla="*/ 660 w 660"/>
                <a:gd name="T11" fmla="*/ 152 h 152"/>
                <a:gd name="T12" fmla="*/ 660 w 660"/>
                <a:gd name="T13" fmla="*/ 13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0" h="152">
                  <a:moveTo>
                    <a:pt x="660" y="13"/>
                  </a:moveTo>
                  <a:cubicBezTo>
                    <a:pt x="660" y="6"/>
                    <a:pt x="654" y="0"/>
                    <a:pt x="647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6" y="0"/>
                    <a:pt x="0" y="6"/>
                    <a:pt x="0" y="13"/>
                  </a:cubicBezTo>
                  <a:cubicBezTo>
                    <a:pt x="0" y="152"/>
                    <a:pt x="0" y="152"/>
                    <a:pt x="0" y="152"/>
                  </a:cubicBezTo>
                  <a:cubicBezTo>
                    <a:pt x="660" y="152"/>
                    <a:pt x="660" y="152"/>
                    <a:pt x="660" y="152"/>
                  </a:cubicBezTo>
                  <a:lnTo>
                    <a:pt x="66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82" name="Freeform 368"/>
            <p:cNvSpPr>
              <a:spLocks/>
            </p:cNvSpPr>
            <p:nvPr userDrawn="1"/>
          </p:nvSpPr>
          <p:spPr bwMode="auto">
            <a:xfrm>
              <a:off x="3592155" y="4092183"/>
              <a:ext cx="114127" cy="48209"/>
            </a:xfrm>
            <a:custGeom>
              <a:avLst/>
              <a:gdLst>
                <a:gd name="T0" fmla="*/ 261 w 261"/>
                <a:gd name="T1" fmla="*/ 85 h 109"/>
                <a:gd name="T2" fmla="*/ 248 w 261"/>
                <a:gd name="T3" fmla="*/ 72 h 109"/>
                <a:gd name="T4" fmla="*/ 138 w 261"/>
                <a:gd name="T5" fmla="*/ 72 h 109"/>
                <a:gd name="T6" fmla="*/ 138 w 261"/>
                <a:gd name="T7" fmla="*/ 13 h 109"/>
                <a:gd name="T8" fmla="*/ 128 w 261"/>
                <a:gd name="T9" fmla="*/ 0 h 109"/>
                <a:gd name="T10" fmla="*/ 117 w 261"/>
                <a:gd name="T11" fmla="*/ 13 h 109"/>
                <a:gd name="T12" fmla="*/ 117 w 261"/>
                <a:gd name="T13" fmla="*/ 72 h 109"/>
                <a:gd name="T14" fmla="*/ 13 w 261"/>
                <a:gd name="T15" fmla="*/ 72 h 109"/>
                <a:gd name="T16" fmla="*/ 0 w 261"/>
                <a:gd name="T17" fmla="*/ 85 h 109"/>
                <a:gd name="T18" fmla="*/ 0 w 261"/>
                <a:gd name="T19" fmla="*/ 109 h 109"/>
                <a:gd name="T20" fmla="*/ 261 w 261"/>
                <a:gd name="T21" fmla="*/ 109 h 109"/>
                <a:gd name="T22" fmla="*/ 261 w 261"/>
                <a:gd name="T23" fmla="*/ 85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1" h="109">
                  <a:moveTo>
                    <a:pt x="261" y="85"/>
                  </a:moveTo>
                  <a:cubicBezTo>
                    <a:pt x="261" y="77"/>
                    <a:pt x="255" y="72"/>
                    <a:pt x="248" y="72"/>
                  </a:cubicBezTo>
                  <a:cubicBezTo>
                    <a:pt x="138" y="72"/>
                    <a:pt x="138" y="72"/>
                    <a:pt x="138" y="72"/>
                  </a:cubicBezTo>
                  <a:cubicBezTo>
                    <a:pt x="138" y="13"/>
                    <a:pt x="138" y="13"/>
                    <a:pt x="138" y="13"/>
                  </a:cubicBezTo>
                  <a:cubicBezTo>
                    <a:pt x="138" y="6"/>
                    <a:pt x="133" y="0"/>
                    <a:pt x="128" y="0"/>
                  </a:cubicBezTo>
                  <a:cubicBezTo>
                    <a:pt x="122" y="0"/>
                    <a:pt x="117" y="6"/>
                    <a:pt x="117" y="13"/>
                  </a:cubicBezTo>
                  <a:cubicBezTo>
                    <a:pt x="117" y="72"/>
                    <a:pt x="117" y="72"/>
                    <a:pt x="117" y="72"/>
                  </a:cubicBezTo>
                  <a:cubicBezTo>
                    <a:pt x="13" y="72"/>
                    <a:pt x="13" y="72"/>
                    <a:pt x="13" y="72"/>
                  </a:cubicBezTo>
                  <a:cubicBezTo>
                    <a:pt x="6" y="72"/>
                    <a:pt x="0" y="77"/>
                    <a:pt x="0" y="85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261" y="109"/>
                    <a:pt x="261" y="109"/>
                    <a:pt x="261" y="109"/>
                  </a:cubicBezTo>
                  <a:lnTo>
                    <a:pt x="261" y="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83" name="Freeform 369"/>
            <p:cNvSpPr>
              <a:spLocks/>
            </p:cNvSpPr>
            <p:nvPr userDrawn="1"/>
          </p:nvSpPr>
          <p:spPr bwMode="auto">
            <a:xfrm>
              <a:off x="3714154" y="4092183"/>
              <a:ext cx="107240" cy="48209"/>
            </a:xfrm>
            <a:custGeom>
              <a:avLst/>
              <a:gdLst>
                <a:gd name="T0" fmla="*/ 244 w 244"/>
                <a:gd name="T1" fmla="*/ 69 h 109"/>
                <a:gd name="T2" fmla="*/ 231 w 244"/>
                <a:gd name="T3" fmla="*/ 56 h 109"/>
                <a:gd name="T4" fmla="*/ 139 w 244"/>
                <a:gd name="T5" fmla="*/ 56 h 109"/>
                <a:gd name="T6" fmla="*/ 139 w 244"/>
                <a:gd name="T7" fmla="*/ 13 h 109"/>
                <a:gd name="T8" fmla="*/ 131 w 244"/>
                <a:gd name="T9" fmla="*/ 0 h 109"/>
                <a:gd name="T10" fmla="*/ 122 w 244"/>
                <a:gd name="T11" fmla="*/ 13 h 109"/>
                <a:gd name="T12" fmla="*/ 122 w 244"/>
                <a:gd name="T13" fmla="*/ 56 h 109"/>
                <a:gd name="T14" fmla="*/ 13 w 244"/>
                <a:gd name="T15" fmla="*/ 56 h 109"/>
                <a:gd name="T16" fmla="*/ 0 w 244"/>
                <a:gd name="T17" fmla="*/ 69 h 109"/>
                <a:gd name="T18" fmla="*/ 0 w 244"/>
                <a:gd name="T19" fmla="*/ 109 h 109"/>
                <a:gd name="T20" fmla="*/ 244 w 244"/>
                <a:gd name="T21" fmla="*/ 109 h 109"/>
                <a:gd name="T22" fmla="*/ 244 w 244"/>
                <a:gd name="T23" fmla="*/ 69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4" h="109">
                  <a:moveTo>
                    <a:pt x="244" y="69"/>
                  </a:moveTo>
                  <a:cubicBezTo>
                    <a:pt x="244" y="62"/>
                    <a:pt x="238" y="56"/>
                    <a:pt x="231" y="56"/>
                  </a:cubicBezTo>
                  <a:cubicBezTo>
                    <a:pt x="139" y="56"/>
                    <a:pt x="139" y="56"/>
                    <a:pt x="139" y="56"/>
                  </a:cubicBezTo>
                  <a:cubicBezTo>
                    <a:pt x="139" y="13"/>
                    <a:pt x="139" y="13"/>
                    <a:pt x="139" y="13"/>
                  </a:cubicBezTo>
                  <a:cubicBezTo>
                    <a:pt x="139" y="6"/>
                    <a:pt x="135" y="0"/>
                    <a:pt x="131" y="0"/>
                  </a:cubicBezTo>
                  <a:cubicBezTo>
                    <a:pt x="126" y="0"/>
                    <a:pt x="122" y="6"/>
                    <a:pt x="122" y="13"/>
                  </a:cubicBezTo>
                  <a:cubicBezTo>
                    <a:pt x="122" y="56"/>
                    <a:pt x="122" y="56"/>
                    <a:pt x="122" y="56"/>
                  </a:cubicBezTo>
                  <a:cubicBezTo>
                    <a:pt x="13" y="56"/>
                    <a:pt x="13" y="56"/>
                    <a:pt x="13" y="56"/>
                  </a:cubicBezTo>
                  <a:cubicBezTo>
                    <a:pt x="6" y="56"/>
                    <a:pt x="0" y="62"/>
                    <a:pt x="0" y="69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244" y="109"/>
                    <a:pt x="244" y="109"/>
                    <a:pt x="244" y="109"/>
                  </a:cubicBezTo>
                  <a:lnTo>
                    <a:pt x="244" y="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84" name="Freeform 370"/>
            <p:cNvSpPr>
              <a:spLocks noEditPoints="1"/>
            </p:cNvSpPr>
            <p:nvPr userDrawn="1"/>
          </p:nvSpPr>
          <p:spPr bwMode="auto">
            <a:xfrm>
              <a:off x="1590005" y="4250585"/>
              <a:ext cx="36403" cy="36403"/>
            </a:xfrm>
            <a:custGeom>
              <a:avLst/>
              <a:gdLst>
                <a:gd name="T0" fmla="*/ 42 w 83"/>
                <a:gd name="T1" fmla="*/ 0 h 84"/>
                <a:gd name="T2" fmla="*/ 0 w 83"/>
                <a:gd name="T3" fmla="*/ 42 h 84"/>
                <a:gd name="T4" fmla="*/ 42 w 83"/>
                <a:gd name="T5" fmla="*/ 84 h 84"/>
                <a:gd name="T6" fmla="*/ 83 w 83"/>
                <a:gd name="T7" fmla="*/ 42 h 84"/>
                <a:gd name="T8" fmla="*/ 42 w 83"/>
                <a:gd name="T9" fmla="*/ 0 h 84"/>
                <a:gd name="T10" fmla="*/ 42 w 83"/>
                <a:gd name="T11" fmla="*/ 72 h 84"/>
                <a:gd name="T12" fmla="*/ 12 w 83"/>
                <a:gd name="T13" fmla="*/ 42 h 84"/>
                <a:gd name="T14" fmla="*/ 42 w 83"/>
                <a:gd name="T15" fmla="*/ 13 h 84"/>
                <a:gd name="T16" fmla="*/ 71 w 83"/>
                <a:gd name="T17" fmla="*/ 42 h 84"/>
                <a:gd name="T18" fmla="*/ 42 w 83"/>
                <a:gd name="T19" fmla="*/ 7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3" h="84">
                  <a:moveTo>
                    <a:pt x="42" y="0"/>
                  </a:moveTo>
                  <a:cubicBezTo>
                    <a:pt x="18" y="0"/>
                    <a:pt x="0" y="19"/>
                    <a:pt x="0" y="42"/>
                  </a:cubicBezTo>
                  <a:cubicBezTo>
                    <a:pt x="0" y="65"/>
                    <a:pt x="18" y="84"/>
                    <a:pt x="42" y="84"/>
                  </a:cubicBezTo>
                  <a:cubicBezTo>
                    <a:pt x="65" y="84"/>
                    <a:pt x="83" y="65"/>
                    <a:pt x="83" y="42"/>
                  </a:cubicBezTo>
                  <a:cubicBezTo>
                    <a:pt x="83" y="19"/>
                    <a:pt x="65" y="0"/>
                    <a:pt x="42" y="0"/>
                  </a:cubicBezTo>
                  <a:close/>
                  <a:moveTo>
                    <a:pt x="42" y="72"/>
                  </a:moveTo>
                  <a:cubicBezTo>
                    <a:pt x="25" y="72"/>
                    <a:pt x="12" y="58"/>
                    <a:pt x="12" y="42"/>
                  </a:cubicBezTo>
                  <a:cubicBezTo>
                    <a:pt x="12" y="26"/>
                    <a:pt x="25" y="13"/>
                    <a:pt x="42" y="13"/>
                  </a:cubicBezTo>
                  <a:cubicBezTo>
                    <a:pt x="58" y="13"/>
                    <a:pt x="71" y="26"/>
                    <a:pt x="71" y="42"/>
                  </a:cubicBezTo>
                  <a:cubicBezTo>
                    <a:pt x="71" y="58"/>
                    <a:pt x="58" y="72"/>
                    <a:pt x="42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85" name="Oval 371"/>
            <p:cNvSpPr>
              <a:spLocks noChangeArrowheads="1"/>
            </p:cNvSpPr>
            <p:nvPr userDrawn="1"/>
          </p:nvSpPr>
          <p:spPr bwMode="auto">
            <a:xfrm>
              <a:off x="1597876" y="4258455"/>
              <a:ext cx="21645" cy="2066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86" name="Freeform 372"/>
            <p:cNvSpPr>
              <a:spLocks noEditPoints="1"/>
            </p:cNvSpPr>
            <p:nvPr userDrawn="1"/>
          </p:nvSpPr>
          <p:spPr bwMode="auto">
            <a:xfrm>
              <a:off x="1547699" y="4250585"/>
              <a:ext cx="36403" cy="36403"/>
            </a:xfrm>
            <a:custGeom>
              <a:avLst/>
              <a:gdLst>
                <a:gd name="T0" fmla="*/ 42 w 84"/>
                <a:gd name="T1" fmla="*/ 0 h 84"/>
                <a:gd name="T2" fmla="*/ 0 w 84"/>
                <a:gd name="T3" fmla="*/ 42 h 84"/>
                <a:gd name="T4" fmla="*/ 42 w 84"/>
                <a:gd name="T5" fmla="*/ 84 h 84"/>
                <a:gd name="T6" fmla="*/ 84 w 84"/>
                <a:gd name="T7" fmla="*/ 42 h 84"/>
                <a:gd name="T8" fmla="*/ 42 w 84"/>
                <a:gd name="T9" fmla="*/ 0 h 84"/>
                <a:gd name="T10" fmla="*/ 42 w 84"/>
                <a:gd name="T11" fmla="*/ 72 h 84"/>
                <a:gd name="T12" fmla="*/ 12 w 84"/>
                <a:gd name="T13" fmla="*/ 42 h 84"/>
                <a:gd name="T14" fmla="*/ 42 w 84"/>
                <a:gd name="T15" fmla="*/ 13 h 84"/>
                <a:gd name="T16" fmla="*/ 71 w 84"/>
                <a:gd name="T17" fmla="*/ 42 h 84"/>
                <a:gd name="T18" fmla="*/ 42 w 84"/>
                <a:gd name="T19" fmla="*/ 7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65"/>
                    <a:pt x="19" y="84"/>
                    <a:pt x="42" y="84"/>
                  </a:cubicBezTo>
                  <a:cubicBezTo>
                    <a:pt x="65" y="84"/>
                    <a:pt x="84" y="65"/>
                    <a:pt x="84" y="42"/>
                  </a:cubicBezTo>
                  <a:cubicBezTo>
                    <a:pt x="84" y="19"/>
                    <a:pt x="65" y="0"/>
                    <a:pt x="42" y="0"/>
                  </a:cubicBezTo>
                  <a:close/>
                  <a:moveTo>
                    <a:pt x="42" y="72"/>
                  </a:moveTo>
                  <a:cubicBezTo>
                    <a:pt x="26" y="72"/>
                    <a:pt x="12" y="58"/>
                    <a:pt x="12" y="42"/>
                  </a:cubicBezTo>
                  <a:cubicBezTo>
                    <a:pt x="12" y="26"/>
                    <a:pt x="26" y="13"/>
                    <a:pt x="42" y="13"/>
                  </a:cubicBezTo>
                  <a:cubicBezTo>
                    <a:pt x="58" y="13"/>
                    <a:pt x="71" y="26"/>
                    <a:pt x="71" y="42"/>
                  </a:cubicBezTo>
                  <a:cubicBezTo>
                    <a:pt x="71" y="58"/>
                    <a:pt x="58" y="72"/>
                    <a:pt x="42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87" name="Oval 373"/>
            <p:cNvSpPr>
              <a:spLocks noChangeArrowheads="1"/>
            </p:cNvSpPr>
            <p:nvPr userDrawn="1"/>
          </p:nvSpPr>
          <p:spPr bwMode="auto">
            <a:xfrm>
              <a:off x="1555570" y="4258455"/>
              <a:ext cx="20661" cy="2066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88" name="Freeform 374"/>
            <p:cNvSpPr>
              <a:spLocks noEditPoints="1"/>
            </p:cNvSpPr>
            <p:nvPr userDrawn="1"/>
          </p:nvSpPr>
          <p:spPr bwMode="auto">
            <a:xfrm>
              <a:off x="1504409" y="4250585"/>
              <a:ext cx="37387" cy="36403"/>
            </a:xfrm>
            <a:custGeom>
              <a:avLst/>
              <a:gdLst>
                <a:gd name="T0" fmla="*/ 42 w 84"/>
                <a:gd name="T1" fmla="*/ 0 h 84"/>
                <a:gd name="T2" fmla="*/ 0 w 84"/>
                <a:gd name="T3" fmla="*/ 42 h 84"/>
                <a:gd name="T4" fmla="*/ 42 w 84"/>
                <a:gd name="T5" fmla="*/ 84 h 84"/>
                <a:gd name="T6" fmla="*/ 84 w 84"/>
                <a:gd name="T7" fmla="*/ 42 h 84"/>
                <a:gd name="T8" fmla="*/ 42 w 84"/>
                <a:gd name="T9" fmla="*/ 0 h 84"/>
                <a:gd name="T10" fmla="*/ 42 w 84"/>
                <a:gd name="T11" fmla="*/ 72 h 84"/>
                <a:gd name="T12" fmla="*/ 13 w 84"/>
                <a:gd name="T13" fmla="*/ 42 h 84"/>
                <a:gd name="T14" fmla="*/ 42 w 84"/>
                <a:gd name="T15" fmla="*/ 13 h 84"/>
                <a:gd name="T16" fmla="*/ 72 w 84"/>
                <a:gd name="T17" fmla="*/ 42 h 84"/>
                <a:gd name="T18" fmla="*/ 42 w 84"/>
                <a:gd name="T19" fmla="*/ 7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65"/>
                    <a:pt x="19" y="84"/>
                    <a:pt x="42" y="84"/>
                  </a:cubicBezTo>
                  <a:cubicBezTo>
                    <a:pt x="65" y="84"/>
                    <a:pt x="84" y="65"/>
                    <a:pt x="84" y="42"/>
                  </a:cubicBezTo>
                  <a:cubicBezTo>
                    <a:pt x="84" y="19"/>
                    <a:pt x="65" y="0"/>
                    <a:pt x="42" y="0"/>
                  </a:cubicBezTo>
                  <a:close/>
                  <a:moveTo>
                    <a:pt x="42" y="72"/>
                  </a:moveTo>
                  <a:cubicBezTo>
                    <a:pt x="26" y="72"/>
                    <a:pt x="13" y="58"/>
                    <a:pt x="13" y="42"/>
                  </a:cubicBezTo>
                  <a:cubicBezTo>
                    <a:pt x="13" y="26"/>
                    <a:pt x="26" y="13"/>
                    <a:pt x="42" y="13"/>
                  </a:cubicBezTo>
                  <a:cubicBezTo>
                    <a:pt x="58" y="13"/>
                    <a:pt x="72" y="26"/>
                    <a:pt x="72" y="42"/>
                  </a:cubicBezTo>
                  <a:cubicBezTo>
                    <a:pt x="72" y="58"/>
                    <a:pt x="58" y="72"/>
                    <a:pt x="42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89" name="Oval 375"/>
            <p:cNvSpPr>
              <a:spLocks noChangeArrowheads="1"/>
            </p:cNvSpPr>
            <p:nvPr userDrawn="1"/>
          </p:nvSpPr>
          <p:spPr bwMode="auto">
            <a:xfrm>
              <a:off x="1512280" y="4258455"/>
              <a:ext cx="21645" cy="2066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90" name="Freeform 376"/>
            <p:cNvSpPr>
              <a:spLocks noEditPoints="1"/>
            </p:cNvSpPr>
            <p:nvPr userDrawn="1"/>
          </p:nvSpPr>
          <p:spPr bwMode="auto">
            <a:xfrm>
              <a:off x="1372573" y="4250585"/>
              <a:ext cx="35419" cy="36403"/>
            </a:xfrm>
            <a:custGeom>
              <a:avLst/>
              <a:gdLst>
                <a:gd name="T0" fmla="*/ 41 w 83"/>
                <a:gd name="T1" fmla="*/ 0 h 84"/>
                <a:gd name="T2" fmla="*/ 0 w 83"/>
                <a:gd name="T3" fmla="*/ 42 h 84"/>
                <a:gd name="T4" fmla="*/ 41 w 83"/>
                <a:gd name="T5" fmla="*/ 84 h 84"/>
                <a:gd name="T6" fmla="*/ 83 w 83"/>
                <a:gd name="T7" fmla="*/ 42 h 84"/>
                <a:gd name="T8" fmla="*/ 41 w 83"/>
                <a:gd name="T9" fmla="*/ 0 h 84"/>
                <a:gd name="T10" fmla="*/ 41 w 83"/>
                <a:gd name="T11" fmla="*/ 72 h 84"/>
                <a:gd name="T12" fmla="*/ 12 w 83"/>
                <a:gd name="T13" fmla="*/ 42 h 84"/>
                <a:gd name="T14" fmla="*/ 41 w 83"/>
                <a:gd name="T15" fmla="*/ 13 h 84"/>
                <a:gd name="T16" fmla="*/ 71 w 83"/>
                <a:gd name="T17" fmla="*/ 42 h 84"/>
                <a:gd name="T18" fmla="*/ 41 w 83"/>
                <a:gd name="T19" fmla="*/ 7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3" h="84">
                  <a:moveTo>
                    <a:pt x="41" y="0"/>
                  </a:moveTo>
                  <a:cubicBezTo>
                    <a:pt x="18" y="0"/>
                    <a:pt x="0" y="19"/>
                    <a:pt x="0" y="42"/>
                  </a:cubicBezTo>
                  <a:cubicBezTo>
                    <a:pt x="0" y="65"/>
                    <a:pt x="18" y="84"/>
                    <a:pt x="41" y="84"/>
                  </a:cubicBezTo>
                  <a:cubicBezTo>
                    <a:pt x="65" y="84"/>
                    <a:pt x="83" y="65"/>
                    <a:pt x="83" y="42"/>
                  </a:cubicBezTo>
                  <a:cubicBezTo>
                    <a:pt x="83" y="19"/>
                    <a:pt x="65" y="0"/>
                    <a:pt x="41" y="0"/>
                  </a:cubicBezTo>
                  <a:close/>
                  <a:moveTo>
                    <a:pt x="41" y="72"/>
                  </a:moveTo>
                  <a:cubicBezTo>
                    <a:pt x="25" y="72"/>
                    <a:pt x="12" y="58"/>
                    <a:pt x="12" y="42"/>
                  </a:cubicBezTo>
                  <a:cubicBezTo>
                    <a:pt x="12" y="26"/>
                    <a:pt x="25" y="13"/>
                    <a:pt x="41" y="13"/>
                  </a:cubicBezTo>
                  <a:cubicBezTo>
                    <a:pt x="58" y="13"/>
                    <a:pt x="71" y="26"/>
                    <a:pt x="71" y="42"/>
                  </a:cubicBezTo>
                  <a:cubicBezTo>
                    <a:pt x="71" y="58"/>
                    <a:pt x="58" y="72"/>
                    <a:pt x="41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91" name="Oval 377"/>
            <p:cNvSpPr>
              <a:spLocks noChangeArrowheads="1"/>
            </p:cNvSpPr>
            <p:nvPr userDrawn="1"/>
          </p:nvSpPr>
          <p:spPr bwMode="auto">
            <a:xfrm>
              <a:off x="1379460" y="4258455"/>
              <a:ext cx="20661" cy="2066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92" name="Freeform 378"/>
            <p:cNvSpPr>
              <a:spLocks noEditPoints="1"/>
            </p:cNvSpPr>
            <p:nvPr userDrawn="1"/>
          </p:nvSpPr>
          <p:spPr bwMode="auto">
            <a:xfrm>
              <a:off x="1329283" y="4250585"/>
              <a:ext cx="36403" cy="36403"/>
            </a:xfrm>
            <a:custGeom>
              <a:avLst/>
              <a:gdLst>
                <a:gd name="T0" fmla="*/ 42 w 84"/>
                <a:gd name="T1" fmla="*/ 0 h 84"/>
                <a:gd name="T2" fmla="*/ 0 w 84"/>
                <a:gd name="T3" fmla="*/ 42 h 84"/>
                <a:gd name="T4" fmla="*/ 42 w 84"/>
                <a:gd name="T5" fmla="*/ 84 h 84"/>
                <a:gd name="T6" fmla="*/ 84 w 84"/>
                <a:gd name="T7" fmla="*/ 42 h 84"/>
                <a:gd name="T8" fmla="*/ 42 w 84"/>
                <a:gd name="T9" fmla="*/ 0 h 84"/>
                <a:gd name="T10" fmla="*/ 42 w 84"/>
                <a:gd name="T11" fmla="*/ 72 h 84"/>
                <a:gd name="T12" fmla="*/ 12 w 84"/>
                <a:gd name="T13" fmla="*/ 42 h 84"/>
                <a:gd name="T14" fmla="*/ 42 w 84"/>
                <a:gd name="T15" fmla="*/ 13 h 84"/>
                <a:gd name="T16" fmla="*/ 71 w 84"/>
                <a:gd name="T17" fmla="*/ 42 h 84"/>
                <a:gd name="T18" fmla="*/ 42 w 84"/>
                <a:gd name="T19" fmla="*/ 7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65"/>
                    <a:pt x="19" y="84"/>
                    <a:pt x="42" y="84"/>
                  </a:cubicBezTo>
                  <a:cubicBezTo>
                    <a:pt x="65" y="84"/>
                    <a:pt x="84" y="65"/>
                    <a:pt x="84" y="42"/>
                  </a:cubicBezTo>
                  <a:cubicBezTo>
                    <a:pt x="84" y="19"/>
                    <a:pt x="65" y="0"/>
                    <a:pt x="42" y="0"/>
                  </a:cubicBezTo>
                  <a:close/>
                  <a:moveTo>
                    <a:pt x="42" y="72"/>
                  </a:moveTo>
                  <a:cubicBezTo>
                    <a:pt x="25" y="72"/>
                    <a:pt x="12" y="58"/>
                    <a:pt x="12" y="42"/>
                  </a:cubicBezTo>
                  <a:cubicBezTo>
                    <a:pt x="12" y="26"/>
                    <a:pt x="25" y="13"/>
                    <a:pt x="42" y="13"/>
                  </a:cubicBezTo>
                  <a:cubicBezTo>
                    <a:pt x="58" y="13"/>
                    <a:pt x="71" y="26"/>
                    <a:pt x="71" y="42"/>
                  </a:cubicBezTo>
                  <a:cubicBezTo>
                    <a:pt x="71" y="58"/>
                    <a:pt x="58" y="72"/>
                    <a:pt x="42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93" name="Oval 379"/>
            <p:cNvSpPr>
              <a:spLocks noChangeArrowheads="1"/>
            </p:cNvSpPr>
            <p:nvPr userDrawn="1"/>
          </p:nvSpPr>
          <p:spPr bwMode="auto">
            <a:xfrm>
              <a:off x="1337154" y="4258455"/>
              <a:ext cx="20661" cy="2066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94" name="Freeform 380"/>
            <p:cNvSpPr>
              <a:spLocks noEditPoints="1"/>
            </p:cNvSpPr>
            <p:nvPr userDrawn="1"/>
          </p:nvSpPr>
          <p:spPr bwMode="auto">
            <a:xfrm>
              <a:off x="1285993" y="4250585"/>
              <a:ext cx="37387" cy="36403"/>
            </a:xfrm>
            <a:custGeom>
              <a:avLst/>
              <a:gdLst>
                <a:gd name="T0" fmla="*/ 42 w 84"/>
                <a:gd name="T1" fmla="*/ 0 h 84"/>
                <a:gd name="T2" fmla="*/ 0 w 84"/>
                <a:gd name="T3" fmla="*/ 42 h 84"/>
                <a:gd name="T4" fmla="*/ 42 w 84"/>
                <a:gd name="T5" fmla="*/ 84 h 84"/>
                <a:gd name="T6" fmla="*/ 84 w 84"/>
                <a:gd name="T7" fmla="*/ 42 h 84"/>
                <a:gd name="T8" fmla="*/ 42 w 84"/>
                <a:gd name="T9" fmla="*/ 0 h 84"/>
                <a:gd name="T10" fmla="*/ 42 w 84"/>
                <a:gd name="T11" fmla="*/ 72 h 84"/>
                <a:gd name="T12" fmla="*/ 13 w 84"/>
                <a:gd name="T13" fmla="*/ 42 h 84"/>
                <a:gd name="T14" fmla="*/ 42 w 84"/>
                <a:gd name="T15" fmla="*/ 13 h 84"/>
                <a:gd name="T16" fmla="*/ 72 w 84"/>
                <a:gd name="T17" fmla="*/ 42 h 84"/>
                <a:gd name="T18" fmla="*/ 42 w 84"/>
                <a:gd name="T19" fmla="*/ 7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65"/>
                    <a:pt x="19" y="84"/>
                    <a:pt x="42" y="84"/>
                  </a:cubicBezTo>
                  <a:cubicBezTo>
                    <a:pt x="65" y="84"/>
                    <a:pt x="84" y="65"/>
                    <a:pt x="84" y="42"/>
                  </a:cubicBezTo>
                  <a:cubicBezTo>
                    <a:pt x="84" y="19"/>
                    <a:pt x="65" y="0"/>
                    <a:pt x="42" y="0"/>
                  </a:cubicBezTo>
                  <a:close/>
                  <a:moveTo>
                    <a:pt x="42" y="72"/>
                  </a:moveTo>
                  <a:cubicBezTo>
                    <a:pt x="26" y="72"/>
                    <a:pt x="13" y="58"/>
                    <a:pt x="13" y="42"/>
                  </a:cubicBezTo>
                  <a:cubicBezTo>
                    <a:pt x="13" y="26"/>
                    <a:pt x="26" y="13"/>
                    <a:pt x="42" y="13"/>
                  </a:cubicBezTo>
                  <a:cubicBezTo>
                    <a:pt x="58" y="13"/>
                    <a:pt x="72" y="26"/>
                    <a:pt x="72" y="42"/>
                  </a:cubicBezTo>
                  <a:cubicBezTo>
                    <a:pt x="72" y="58"/>
                    <a:pt x="58" y="72"/>
                    <a:pt x="42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95" name="Oval 381"/>
            <p:cNvSpPr>
              <a:spLocks noChangeArrowheads="1"/>
            </p:cNvSpPr>
            <p:nvPr userDrawn="1"/>
          </p:nvSpPr>
          <p:spPr bwMode="auto">
            <a:xfrm>
              <a:off x="1293864" y="4258455"/>
              <a:ext cx="21645" cy="2066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96" name="Freeform 382"/>
            <p:cNvSpPr>
              <a:spLocks noEditPoints="1"/>
            </p:cNvSpPr>
            <p:nvPr userDrawn="1"/>
          </p:nvSpPr>
          <p:spPr bwMode="auto">
            <a:xfrm>
              <a:off x="1208268" y="4068571"/>
              <a:ext cx="491929" cy="199723"/>
            </a:xfrm>
            <a:custGeom>
              <a:avLst/>
              <a:gdLst>
                <a:gd name="T0" fmla="*/ 1079 w 1125"/>
                <a:gd name="T1" fmla="*/ 348 h 455"/>
                <a:gd name="T2" fmla="*/ 1008 w 1125"/>
                <a:gd name="T3" fmla="*/ 355 h 455"/>
                <a:gd name="T4" fmla="*/ 1079 w 1125"/>
                <a:gd name="T5" fmla="*/ 343 h 455"/>
                <a:gd name="T6" fmla="*/ 1023 w 1125"/>
                <a:gd name="T7" fmla="*/ 120 h 455"/>
                <a:gd name="T8" fmla="*/ 958 w 1125"/>
                <a:gd name="T9" fmla="*/ 29 h 455"/>
                <a:gd name="T10" fmla="*/ 796 w 1125"/>
                <a:gd name="T11" fmla="*/ 29 h 455"/>
                <a:gd name="T12" fmla="*/ 781 w 1125"/>
                <a:gd name="T13" fmla="*/ 0 h 455"/>
                <a:gd name="T14" fmla="*/ 780 w 1125"/>
                <a:gd name="T15" fmla="*/ 0 h 455"/>
                <a:gd name="T16" fmla="*/ 765 w 1125"/>
                <a:gd name="T17" fmla="*/ 29 h 455"/>
                <a:gd name="T18" fmla="*/ 578 w 1125"/>
                <a:gd name="T19" fmla="*/ 15 h 455"/>
                <a:gd name="T20" fmla="*/ 563 w 1125"/>
                <a:gd name="T21" fmla="*/ 1 h 455"/>
                <a:gd name="T22" fmla="*/ 547 w 1125"/>
                <a:gd name="T23" fmla="*/ 15 h 455"/>
                <a:gd name="T24" fmla="*/ 360 w 1125"/>
                <a:gd name="T25" fmla="*/ 29 h 455"/>
                <a:gd name="T26" fmla="*/ 345 w 1125"/>
                <a:gd name="T27" fmla="*/ 0 h 455"/>
                <a:gd name="T28" fmla="*/ 344 w 1125"/>
                <a:gd name="T29" fmla="*/ 0 h 455"/>
                <a:gd name="T30" fmla="*/ 329 w 1125"/>
                <a:gd name="T31" fmla="*/ 29 h 455"/>
                <a:gd name="T32" fmla="*/ 167 w 1125"/>
                <a:gd name="T33" fmla="*/ 29 h 455"/>
                <a:gd name="T34" fmla="*/ 102 w 1125"/>
                <a:gd name="T35" fmla="*/ 120 h 455"/>
                <a:gd name="T36" fmla="*/ 46 w 1125"/>
                <a:gd name="T37" fmla="*/ 343 h 455"/>
                <a:gd name="T38" fmla="*/ 117 w 1125"/>
                <a:gd name="T39" fmla="*/ 355 h 455"/>
                <a:gd name="T40" fmla="*/ 46 w 1125"/>
                <a:gd name="T41" fmla="*/ 348 h 455"/>
                <a:gd name="T42" fmla="*/ 0 w 1125"/>
                <a:gd name="T43" fmla="*/ 356 h 455"/>
                <a:gd name="T44" fmla="*/ 8 w 1125"/>
                <a:gd name="T45" fmla="*/ 413 h 455"/>
                <a:gd name="T46" fmla="*/ 54 w 1125"/>
                <a:gd name="T47" fmla="*/ 406 h 455"/>
                <a:gd name="T48" fmla="*/ 157 w 1125"/>
                <a:gd name="T49" fmla="*/ 455 h 455"/>
                <a:gd name="T50" fmla="*/ 158 w 1125"/>
                <a:gd name="T51" fmla="*/ 455 h 455"/>
                <a:gd name="T52" fmla="*/ 269 w 1125"/>
                <a:gd name="T53" fmla="*/ 417 h 455"/>
                <a:gd name="T54" fmla="*/ 367 w 1125"/>
                <a:gd name="T55" fmla="*/ 417 h 455"/>
                <a:gd name="T56" fmla="*/ 477 w 1125"/>
                <a:gd name="T57" fmla="*/ 455 h 455"/>
                <a:gd name="T58" fmla="*/ 657 w 1125"/>
                <a:gd name="T59" fmla="*/ 455 h 455"/>
                <a:gd name="T60" fmla="*/ 719 w 1125"/>
                <a:gd name="T61" fmla="*/ 393 h 455"/>
                <a:gd name="T62" fmla="*/ 817 w 1125"/>
                <a:gd name="T63" fmla="*/ 393 h 455"/>
                <a:gd name="T64" fmla="*/ 915 w 1125"/>
                <a:gd name="T65" fmla="*/ 393 h 455"/>
                <a:gd name="T66" fmla="*/ 996 w 1125"/>
                <a:gd name="T67" fmla="*/ 406 h 455"/>
                <a:gd name="T68" fmla="*/ 1079 w 1125"/>
                <a:gd name="T69" fmla="*/ 413 h 455"/>
                <a:gd name="T70" fmla="*/ 1125 w 1125"/>
                <a:gd name="T71" fmla="*/ 405 h 455"/>
                <a:gd name="T72" fmla="*/ 1117 w 1125"/>
                <a:gd name="T73" fmla="*/ 348 h 455"/>
                <a:gd name="T74" fmla="*/ 157 w 1125"/>
                <a:gd name="T75" fmla="*/ 368 h 455"/>
                <a:gd name="T76" fmla="*/ 969 w 1125"/>
                <a:gd name="T77" fmla="*/ 344 h 455"/>
                <a:gd name="T78" fmla="*/ 159 w 1125"/>
                <a:gd name="T79" fmla="*/ 326 h 455"/>
                <a:gd name="T80" fmla="*/ 210 w 1125"/>
                <a:gd name="T81" fmla="*/ 120 h 455"/>
                <a:gd name="T82" fmla="*/ 159 w 1125"/>
                <a:gd name="T83" fmla="*/ 326 h 455"/>
                <a:gd name="T84" fmla="*/ 915 w 1125"/>
                <a:gd name="T85" fmla="*/ 120 h 455"/>
                <a:gd name="T86" fmla="*/ 966 w 1125"/>
                <a:gd name="T87" fmla="*/ 326 h 455"/>
                <a:gd name="T88" fmla="*/ 991 w 1125"/>
                <a:gd name="T89" fmla="*/ 86 h 455"/>
                <a:gd name="T90" fmla="*/ 745 w 1125"/>
                <a:gd name="T91" fmla="*/ 86 h 455"/>
                <a:gd name="T92" fmla="*/ 729 w 1125"/>
                <a:gd name="T93" fmla="*/ 340 h 455"/>
                <a:gd name="T94" fmla="*/ 571 w 1125"/>
                <a:gd name="T95" fmla="*/ 86 h 455"/>
                <a:gd name="T96" fmla="*/ 555 w 1125"/>
                <a:gd name="T97" fmla="*/ 340 h 455"/>
                <a:gd name="T98" fmla="*/ 396 w 1125"/>
                <a:gd name="T99" fmla="*/ 86 h 455"/>
                <a:gd name="T100" fmla="*/ 380 w 1125"/>
                <a:gd name="T101" fmla="*/ 340 h 455"/>
                <a:gd name="T102" fmla="*/ 210 w 1125"/>
                <a:gd name="T103" fmla="*/ 86 h 455"/>
                <a:gd name="T104" fmla="*/ 126 w 1125"/>
                <a:gd name="T105" fmla="*/ 77 h 455"/>
                <a:gd name="T106" fmla="*/ 210 w 1125"/>
                <a:gd name="T107" fmla="*/ 69 h 455"/>
                <a:gd name="T108" fmla="*/ 991 w 1125"/>
                <a:gd name="T109" fmla="*/ 69 h 455"/>
                <a:gd name="T110" fmla="*/ 991 w 1125"/>
                <a:gd name="T111" fmla="*/ 86 h 4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25" h="455">
                  <a:moveTo>
                    <a:pt x="1117" y="348"/>
                  </a:moveTo>
                  <a:cubicBezTo>
                    <a:pt x="1079" y="348"/>
                    <a:pt x="1079" y="348"/>
                    <a:pt x="1079" y="348"/>
                  </a:cubicBezTo>
                  <a:cubicBezTo>
                    <a:pt x="1075" y="348"/>
                    <a:pt x="1071" y="351"/>
                    <a:pt x="1071" y="355"/>
                  </a:cubicBezTo>
                  <a:cubicBezTo>
                    <a:pt x="1008" y="355"/>
                    <a:pt x="1008" y="355"/>
                    <a:pt x="1008" y="355"/>
                  </a:cubicBezTo>
                  <a:cubicBezTo>
                    <a:pt x="1011" y="351"/>
                    <a:pt x="1014" y="347"/>
                    <a:pt x="1016" y="343"/>
                  </a:cubicBezTo>
                  <a:cubicBezTo>
                    <a:pt x="1079" y="343"/>
                    <a:pt x="1079" y="343"/>
                    <a:pt x="1079" y="343"/>
                  </a:cubicBezTo>
                  <a:cubicBezTo>
                    <a:pt x="1079" y="120"/>
                    <a:pt x="1079" y="120"/>
                    <a:pt x="1079" y="120"/>
                  </a:cubicBezTo>
                  <a:cubicBezTo>
                    <a:pt x="1023" y="120"/>
                    <a:pt x="1023" y="120"/>
                    <a:pt x="1023" y="120"/>
                  </a:cubicBezTo>
                  <a:cubicBezTo>
                    <a:pt x="1023" y="89"/>
                    <a:pt x="1023" y="89"/>
                    <a:pt x="1023" y="89"/>
                  </a:cubicBezTo>
                  <a:cubicBezTo>
                    <a:pt x="1023" y="56"/>
                    <a:pt x="994" y="29"/>
                    <a:pt x="958" y="29"/>
                  </a:cubicBezTo>
                  <a:cubicBezTo>
                    <a:pt x="915" y="29"/>
                    <a:pt x="915" y="29"/>
                    <a:pt x="915" y="29"/>
                  </a:cubicBezTo>
                  <a:cubicBezTo>
                    <a:pt x="796" y="29"/>
                    <a:pt x="796" y="29"/>
                    <a:pt x="796" y="29"/>
                  </a:cubicBezTo>
                  <a:cubicBezTo>
                    <a:pt x="796" y="15"/>
                    <a:pt x="796" y="15"/>
                    <a:pt x="796" y="15"/>
                  </a:cubicBezTo>
                  <a:cubicBezTo>
                    <a:pt x="796" y="7"/>
                    <a:pt x="789" y="0"/>
                    <a:pt x="781" y="0"/>
                  </a:cubicBezTo>
                  <a:cubicBezTo>
                    <a:pt x="781" y="0"/>
                    <a:pt x="780" y="0"/>
                    <a:pt x="780" y="1"/>
                  </a:cubicBezTo>
                  <a:cubicBezTo>
                    <a:pt x="780" y="0"/>
                    <a:pt x="780" y="0"/>
                    <a:pt x="780" y="0"/>
                  </a:cubicBezTo>
                  <a:cubicBezTo>
                    <a:pt x="772" y="0"/>
                    <a:pt x="765" y="7"/>
                    <a:pt x="765" y="15"/>
                  </a:cubicBezTo>
                  <a:cubicBezTo>
                    <a:pt x="765" y="29"/>
                    <a:pt x="765" y="29"/>
                    <a:pt x="765" y="29"/>
                  </a:cubicBezTo>
                  <a:cubicBezTo>
                    <a:pt x="578" y="29"/>
                    <a:pt x="578" y="29"/>
                    <a:pt x="578" y="29"/>
                  </a:cubicBezTo>
                  <a:cubicBezTo>
                    <a:pt x="578" y="15"/>
                    <a:pt x="578" y="15"/>
                    <a:pt x="578" y="15"/>
                  </a:cubicBezTo>
                  <a:cubicBezTo>
                    <a:pt x="578" y="7"/>
                    <a:pt x="571" y="0"/>
                    <a:pt x="563" y="0"/>
                  </a:cubicBezTo>
                  <a:cubicBezTo>
                    <a:pt x="563" y="0"/>
                    <a:pt x="563" y="0"/>
                    <a:pt x="563" y="1"/>
                  </a:cubicBezTo>
                  <a:cubicBezTo>
                    <a:pt x="562" y="0"/>
                    <a:pt x="562" y="0"/>
                    <a:pt x="562" y="0"/>
                  </a:cubicBezTo>
                  <a:cubicBezTo>
                    <a:pt x="554" y="0"/>
                    <a:pt x="547" y="7"/>
                    <a:pt x="547" y="15"/>
                  </a:cubicBezTo>
                  <a:cubicBezTo>
                    <a:pt x="547" y="29"/>
                    <a:pt x="547" y="29"/>
                    <a:pt x="547" y="29"/>
                  </a:cubicBezTo>
                  <a:cubicBezTo>
                    <a:pt x="360" y="29"/>
                    <a:pt x="360" y="29"/>
                    <a:pt x="360" y="29"/>
                  </a:cubicBezTo>
                  <a:cubicBezTo>
                    <a:pt x="360" y="15"/>
                    <a:pt x="360" y="15"/>
                    <a:pt x="360" y="15"/>
                  </a:cubicBezTo>
                  <a:cubicBezTo>
                    <a:pt x="360" y="7"/>
                    <a:pt x="353" y="0"/>
                    <a:pt x="345" y="0"/>
                  </a:cubicBezTo>
                  <a:cubicBezTo>
                    <a:pt x="345" y="0"/>
                    <a:pt x="345" y="0"/>
                    <a:pt x="345" y="1"/>
                  </a:cubicBezTo>
                  <a:cubicBezTo>
                    <a:pt x="345" y="0"/>
                    <a:pt x="344" y="0"/>
                    <a:pt x="344" y="0"/>
                  </a:cubicBezTo>
                  <a:cubicBezTo>
                    <a:pt x="336" y="0"/>
                    <a:pt x="329" y="7"/>
                    <a:pt x="329" y="15"/>
                  </a:cubicBezTo>
                  <a:cubicBezTo>
                    <a:pt x="329" y="29"/>
                    <a:pt x="329" y="29"/>
                    <a:pt x="329" y="29"/>
                  </a:cubicBezTo>
                  <a:cubicBezTo>
                    <a:pt x="210" y="29"/>
                    <a:pt x="210" y="29"/>
                    <a:pt x="210" y="29"/>
                  </a:cubicBezTo>
                  <a:cubicBezTo>
                    <a:pt x="167" y="29"/>
                    <a:pt x="167" y="29"/>
                    <a:pt x="167" y="29"/>
                  </a:cubicBezTo>
                  <a:cubicBezTo>
                    <a:pt x="131" y="29"/>
                    <a:pt x="102" y="56"/>
                    <a:pt x="102" y="89"/>
                  </a:cubicBezTo>
                  <a:cubicBezTo>
                    <a:pt x="102" y="120"/>
                    <a:pt x="102" y="120"/>
                    <a:pt x="102" y="120"/>
                  </a:cubicBezTo>
                  <a:cubicBezTo>
                    <a:pt x="46" y="120"/>
                    <a:pt x="46" y="120"/>
                    <a:pt x="46" y="120"/>
                  </a:cubicBezTo>
                  <a:cubicBezTo>
                    <a:pt x="46" y="343"/>
                    <a:pt x="46" y="343"/>
                    <a:pt x="46" y="343"/>
                  </a:cubicBezTo>
                  <a:cubicBezTo>
                    <a:pt x="109" y="343"/>
                    <a:pt x="109" y="343"/>
                    <a:pt x="109" y="343"/>
                  </a:cubicBezTo>
                  <a:cubicBezTo>
                    <a:pt x="111" y="347"/>
                    <a:pt x="114" y="351"/>
                    <a:pt x="117" y="355"/>
                  </a:cubicBezTo>
                  <a:cubicBezTo>
                    <a:pt x="54" y="355"/>
                    <a:pt x="54" y="355"/>
                    <a:pt x="54" y="355"/>
                  </a:cubicBezTo>
                  <a:cubicBezTo>
                    <a:pt x="54" y="351"/>
                    <a:pt x="50" y="348"/>
                    <a:pt x="46" y="348"/>
                  </a:cubicBezTo>
                  <a:cubicBezTo>
                    <a:pt x="8" y="348"/>
                    <a:pt x="8" y="348"/>
                    <a:pt x="8" y="348"/>
                  </a:cubicBezTo>
                  <a:cubicBezTo>
                    <a:pt x="4" y="348"/>
                    <a:pt x="0" y="351"/>
                    <a:pt x="0" y="356"/>
                  </a:cubicBezTo>
                  <a:cubicBezTo>
                    <a:pt x="0" y="405"/>
                    <a:pt x="0" y="405"/>
                    <a:pt x="0" y="405"/>
                  </a:cubicBezTo>
                  <a:cubicBezTo>
                    <a:pt x="0" y="410"/>
                    <a:pt x="4" y="413"/>
                    <a:pt x="8" y="413"/>
                  </a:cubicBezTo>
                  <a:cubicBezTo>
                    <a:pt x="46" y="413"/>
                    <a:pt x="46" y="413"/>
                    <a:pt x="46" y="413"/>
                  </a:cubicBezTo>
                  <a:cubicBezTo>
                    <a:pt x="50" y="413"/>
                    <a:pt x="54" y="410"/>
                    <a:pt x="54" y="406"/>
                  </a:cubicBezTo>
                  <a:cubicBezTo>
                    <a:pt x="129" y="406"/>
                    <a:pt x="129" y="406"/>
                    <a:pt x="129" y="406"/>
                  </a:cubicBezTo>
                  <a:cubicBezTo>
                    <a:pt x="129" y="427"/>
                    <a:pt x="140" y="445"/>
                    <a:pt x="157" y="455"/>
                  </a:cubicBezTo>
                  <a:cubicBezTo>
                    <a:pt x="158" y="455"/>
                    <a:pt x="158" y="455"/>
                    <a:pt x="158" y="455"/>
                  </a:cubicBezTo>
                  <a:cubicBezTo>
                    <a:pt x="158" y="455"/>
                    <a:pt x="158" y="455"/>
                    <a:pt x="158" y="455"/>
                  </a:cubicBezTo>
                  <a:cubicBezTo>
                    <a:pt x="158" y="421"/>
                    <a:pt x="186" y="393"/>
                    <a:pt x="220" y="393"/>
                  </a:cubicBezTo>
                  <a:cubicBezTo>
                    <a:pt x="240" y="393"/>
                    <a:pt x="258" y="403"/>
                    <a:pt x="269" y="417"/>
                  </a:cubicBezTo>
                  <a:cubicBezTo>
                    <a:pt x="280" y="403"/>
                    <a:pt x="298" y="393"/>
                    <a:pt x="318" y="393"/>
                  </a:cubicBezTo>
                  <a:cubicBezTo>
                    <a:pt x="338" y="393"/>
                    <a:pt x="355" y="403"/>
                    <a:pt x="367" y="417"/>
                  </a:cubicBezTo>
                  <a:cubicBezTo>
                    <a:pt x="378" y="403"/>
                    <a:pt x="396" y="393"/>
                    <a:pt x="415" y="393"/>
                  </a:cubicBezTo>
                  <a:cubicBezTo>
                    <a:pt x="450" y="393"/>
                    <a:pt x="477" y="421"/>
                    <a:pt x="477" y="455"/>
                  </a:cubicBezTo>
                  <a:cubicBezTo>
                    <a:pt x="477" y="455"/>
                    <a:pt x="477" y="455"/>
                    <a:pt x="477" y="455"/>
                  </a:cubicBezTo>
                  <a:cubicBezTo>
                    <a:pt x="657" y="455"/>
                    <a:pt x="657" y="455"/>
                    <a:pt x="657" y="455"/>
                  </a:cubicBezTo>
                  <a:cubicBezTo>
                    <a:pt x="657" y="455"/>
                    <a:pt x="657" y="455"/>
                    <a:pt x="657" y="455"/>
                  </a:cubicBezTo>
                  <a:cubicBezTo>
                    <a:pt x="657" y="421"/>
                    <a:pt x="685" y="393"/>
                    <a:pt x="719" y="393"/>
                  </a:cubicBezTo>
                  <a:cubicBezTo>
                    <a:pt x="739" y="393"/>
                    <a:pt x="757" y="403"/>
                    <a:pt x="768" y="417"/>
                  </a:cubicBezTo>
                  <a:cubicBezTo>
                    <a:pt x="779" y="403"/>
                    <a:pt x="797" y="393"/>
                    <a:pt x="817" y="393"/>
                  </a:cubicBezTo>
                  <a:cubicBezTo>
                    <a:pt x="837" y="393"/>
                    <a:pt x="854" y="403"/>
                    <a:pt x="866" y="417"/>
                  </a:cubicBezTo>
                  <a:cubicBezTo>
                    <a:pt x="877" y="403"/>
                    <a:pt x="895" y="393"/>
                    <a:pt x="915" y="393"/>
                  </a:cubicBezTo>
                  <a:cubicBezTo>
                    <a:pt x="947" y="393"/>
                    <a:pt x="973" y="418"/>
                    <a:pt x="976" y="449"/>
                  </a:cubicBezTo>
                  <a:cubicBezTo>
                    <a:pt x="988" y="439"/>
                    <a:pt x="996" y="423"/>
                    <a:pt x="996" y="406"/>
                  </a:cubicBezTo>
                  <a:cubicBezTo>
                    <a:pt x="1071" y="406"/>
                    <a:pt x="1071" y="406"/>
                    <a:pt x="1071" y="406"/>
                  </a:cubicBezTo>
                  <a:cubicBezTo>
                    <a:pt x="1071" y="410"/>
                    <a:pt x="1075" y="413"/>
                    <a:pt x="1079" y="413"/>
                  </a:cubicBezTo>
                  <a:cubicBezTo>
                    <a:pt x="1117" y="413"/>
                    <a:pt x="1117" y="413"/>
                    <a:pt x="1117" y="413"/>
                  </a:cubicBezTo>
                  <a:cubicBezTo>
                    <a:pt x="1121" y="413"/>
                    <a:pt x="1125" y="410"/>
                    <a:pt x="1125" y="405"/>
                  </a:cubicBezTo>
                  <a:cubicBezTo>
                    <a:pt x="1125" y="356"/>
                    <a:pt x="1125" y="356"/>
                    <a:pt x="1125" y="356"/>
                  </a:cubicBezTo>
                  <a:cubicBezTo>
                    <a:pt x="1125" y="351"/>
                    <a:pt x="1121" y="348"/>
                    <a:pt x="1117" y="348"/>
                  </a:cubicBezTo>
                  <a:close/>
                  <a:moveTo>
                    <a:pt x="969" y="368"/>
                  </a:moveTo>
                  <a:cubicBezTo>
                    <a:pt x="157" y="368"/>
                    <a:pt x="157" y="368"/>
                    <a:pt x="157" y="368"/>
                  </a:cubicBezTo>
                  <a:cubicBezTo>
                    <a:pt x="157" y="344"/>
                    <a:pt x="157" y="344"/>
                    <a:pt x="157" y="344"/>
                  </a:cubicBezTo>
                  <a:cubicBezTo>
                    <a:pt x="969" y="344"/>
                    <a:pt x="969" y="344"/>
                    <a:pt x="969" y="344"/>
                  </a:cubicBezTo>
                  <a:lnTo>
                    <a:pt x="969" y="368"/>
                  </a:lnTo>
                  <a:close/>
                  <a:moveTo>
                    <a:pt x="159" y="326"/>
                  </a:moveTo>
                  <a:cubicBezTo>
                    <a:pt x="159" y="120"/>
                    <a:pt x="159" y="120"/>
                    <a:pt x="159" y="120"/>
                  </a:cubicBezTo>
                  <a:cubicBezTo>
                    <a:pt x="210" y="120"/>
                    <a:pt x="210" y="120"/>
                    <a:pt x="210" y="120"/>
                  </a:cubicBezTo>
                  <a:cubicBezTo>
                    <a:pt x="210" y="326"/>
                    <a:pt x="210" y="326"/>
                    <a:pt x="210" y="326"/>
                  </a:cubicBezTo>
                  <a:lnTo>
                    <a:pt x="159" y="326"/>
                  </a:lnTo>
                  <a:close/>
                  <a:moveTo>
                    <a:pt x="915" y="326"/>
                  </a:moveTo>
                  <a:cubicBezTo>
                    <a:pt x="915" y="120"/>
                    <a:pt x="915" y="120"/>
                    <a:pt x="915" y="120"/>
                  </a:cubicBezTo>
                  <a:cubicBezTo>
                    <a:pt x="966" y="120"/>
                    <a:pt x="966" y="120"/>
                    <a:pt x="966" y="120"/>
                  </a:cubicBezTo>
                  <a:cubicBezTo>
                    <a:pt x="966" y="326"/>
                    <a:pt x="966" y="326"/>
                    <a:pt x="966" y="326"/>
                  </a:cubicBezTo>
                  <a:lnTo>
                    <a:pt x="915" y="326"/>
                  </a:lnTo>
                  <a:close/>
                  <a:moveTo>
                    <a:pt x="991" y="86"/>
                  </a:moveTo>
                  <a:cubicBezTo>
                    <a:pt x="915" y="86"/>
                    <a:pt x="915" y="86"/>
                    <a:pt x="915" y="86"/>
                  </a:cubicBezTo>
                  <a:cubicBezTo>
                    <a:pt x="745" y="86"/>
                    <a:pt x="745" y="86"/>
                    <a:pt x="745" y="86"/>
                  </a:cubicBezTo>
                  <a:cubicBezTo>
                    <a:pt x="745" y="340"/>
                    <a:pt x="745" y="340"/>
                    <a:pt x="745" y="340"/>
                  </a:cubicBezTo>
                  <a:cubicBezTo>
                    <a:pt x="729" y="340"/>
                    <a:pt x="729" y="340"/>
                    <a:pt x="729" y="340"/>
                  </a:cubicBezTo>
                  <a:cubicBezTo>
                    <a:pt x="729" y="86"/>
                    <a:pt x="729" y="86"/>
                    <a:pt x="729" y="86"/>
                  </a:cubicBezTo>
                  <a:cubicBezTo>
                    <a:pt x="571" y="86"/>
                    <a:pt x="571" y="86"/>
                    <a:pt x="571" y="86"/>
                  </a:cubicBezTo>
                  <a:cubicBezTo>
                    <a:pt x="571" y="340"/>
                    <a:pt x="571" y="340"/>
                    <a:pt x="571" y="340"/>
                  </a:cubicBezTo>
                  <a:cubicBezTo>
                    <a:pt x="555" y="340"/>
                    <a:pt x="555" y="340"/>
                    <a:pt x="555" y="340"/>
                  </a:cubicBezTo>
                  <a:cubicBezTo>
                    <a:pt x="555" y="86"/>
                    <a:pt x="555" y="86"/>
                    <a:pt x="555" y="86"/>
                  </a:cubicBezTo>
                  <a:cubicBezTo>
                    <a:pt x="396" y="86"/>
                    <a:pt x="396" y="86"/>
                    <a:pt x="396" y="86"/>
                  </a:cubicBezTo>
                  <a:cubicBezTo>
                    <a:pt x="396" y="340"/>
                    <a:pt x="396" y="340"/>
                    <a:pt x="396" y="340"/>
                  </a:cubicBezTo>
                  <a:cubicBezTo>
                    <a:pt x="380" y="340"/>
                    <a:pt x="380" y="340"/>
                    <a:pt x="380" y="340"/>
                  </a:cubicBezTo>
                  <a:cubicBezTo>
                    <a:pt x="380" y="86"/>
                    <a:pt x="380" y="86"/>
                    <a:pt x="380" y="86"/>
                  </a:cubicBezTo>
                  <a:cubicBezTo>
                    <a:pt x="210" y="86"/>
                    <a:pt x="210" y="86"/>
                    <a:pt x="210" y="86"/>
                  </a:cubicBezTo>
                  <a:cubicBezTo>
                    <a:pt x="134" y="86"/>
                    <a:pt x="134" y="86"/>
                    <a:pt x="134" y="86"/>
                  </a:cubicBezTo>
                  <a:cubicBezTo>
                    <a:pt x="130" y="86"/>
                    <a:pt x="126" y="82"/>
                    <a:pt x="126" y="77"/>
                  </a:cubicBezTo>
                  <a:cubicBezTo>
                    <a:pt x="126" y="73"/>
                    <a:pt x="130" y="69"/>
                    <a:pt x="134" y="69"/>
                  </a:cubicBezTo>
                  <a:cubicBezTo>
                    <a:pt x="210" y="69"/>
                    <a:pt x="210" y="69"/>
                    <a:pt x="210" y="69"/>
                  </a:cubicBezTo>
                  <a:cubicBezTo>
                    <a:pt x="915" y="69"/>
                    <a:pt x="915" y="69"/>
                    <a:pt x="915" y="69"/>
                  </a:cubicBezTo>
                  <a:cubicBezTo>
                    <a:pt x="991" y="69"/>
                    <a:pt x="991" y="69"/>
                    <a:pt x="991" y="69"/>
                  </a:cubicBezTo>
                  <a:cubicBezTo>
                    <a:pt x="995" y="69"/>
                    <a:pt x="999" y="73"/>
                    <a:pt x="999" y="77"/>
                  </a:cubicBezTo>
                  <a:cubicBezTo>
                    <a:pt x="999" y="82"/>
                    <a:pt x="995" y="86"/>
                    <a:pt x="991" y="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97" name="Freeform 383"/>
            <p:cNvSpPr>
              <a:spLocks noEditPoints="1"/>
            </p:cNvSpPr>
            <p:nvPr userDrawn="1"/>
          </p:nvSpPr>
          <p:spPr bwMode="auto">
            <a:xfrm>
              <a:off x="2047499" y="4250585"/>
              <a:ext cx="37387" cy="36403"/>
            </a:xfrm>
            <a:custGeom>
              <a:avLst/>
              <a:gdLst>
                <a:gd name="T0" fmla="*/ 42 w 84"/>
                <a:gd name="T1" fmla="*/ 0 h 84"/>
                <a:gd name="T2" fmla="*/ 0 w 84"/>
                <a:gd name="T3" fmla="*/ 42 h 84"/>
                <a:gd name="T4" fmla="*/ 42 w 84"/>
                <a:gd name="T5" fmla="*/ 84 h 84"/>
                <a:gd name="T6" fmla="*/ 84 w 84"/>
                <a:gd name="T7" fmla="*/ 42 h 84"/>
                <a:gd name="T8" fmla="*/ 42 w 84"/>
                <a:gd name="T9" fmla="*/ 0 h 84"/>
                <a:gd name="T10" fmla="*/ 42 w 84"/>
                <a:gd name="T11" fmla="*/ 72 h 84"/>
                <a:gd name="T12" fmla="*/ 12 w 84"/>
                <a:gd name="T13" fmla="*/ 42 h 84"/>
                <a:gd name="T14" fmla="*/ 42 w 84"/>
                <a:gd name="T15" fmla="*/ 13 h 84"/>
                <a:gd name="T16" fmla="*/ 71 w 84"/>
                <a:gd name="T17" fmla="*/ 42 h 84"/>
                <a:gd name="T18" fmla="*/ 42 w 84"/>
                <a:gd name="T19" fmla="*/ 7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65"/>
                    <a:pt x="19" y="84"/>
                    <a:pt x="42" y="84"/>
                  </a:cubicBezTo>
                  <a:cubicBezTo>
                    <a:pt x="65" y="84"/>
                    <a:pt x="84" y="65"/>
                    <a:pt x="84" y="42"/>
                  </a:cubicBezTo>
                  <a:cubicBezTo>
                    <a:pt x="84" y="19"/>
                    <a:pt x="65" y="0"/>
                    <a:pt x="42" y="0"/>
                  </a:cubicBezTo>
                  <a:close/>
                  <a:moveTo>
                    <a:pt x="42" y="72"/>
                  </a:moveTo>
                  <a:cubicBezTo>
                    <a:pt x="25" y="72"/>
                    <a:pt x="12" y="58"/>
                    <a:pt x="12" y="42"/>
                  </a:cubicBezTo>
                  <a:cubicBezTo>
                    <a:pt x="12" y="26"/>
                    <a:pt x="25" y="13"/>
                    <a:pt x="42" y="13"/>
                  </a:cubicBezTo>
                  <a:cubicBezTo>
                    <a:pt x="58" y="13"/>
                    <a:pt x="71" y="26"/>
                    <a:pt x="71" y="42"/>
                  </a:cubicBezTo>
                  <a:cubicBezTo>
                    <a:pt x="71" y="58"/>
                    <a:pt x="58" y="72"/>
                    <a:pt x="42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98" name="Oval 384"/>
            <p:cNvSpPr>
              <a:spLocks noChangeArrowheads="1"/>
            </p:cNvSpPr>
            <p:nvPr userDrawn="1"/>
          </p:nvSpPr>
          <p:spPr bwMode="auto">
            <a:xfrm>
              <a:off x="2055370" y="4258455"/>
              <a:ext cx="21645" cy="2066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99" name="Freeform 385"/>
            <p:cNvSpPr>
              <a:spLocks noEditPoints="1"/>
            </p:cNvSpPr>
            <p:nvPr userDrawn="1"/>
          </p:nvSpPr>
          <p:spPr bwMode="auto">
            <a:xfrm>
              <a:off x="2003225" y="4250585"/>
              <a:ext cx="36403" cy="36403"/>
            </a:xfrm>
            <a:custGeom>
              <a:avLst/>
              <a:gdLst>
                <a:gd name="T0" fmla="*/ 42 w 84"/>
                <a:gd name="T1" fmla="*/ 0 h 84"/>
                <a:gd name="T2" fmla="*/ 0 w 84"/>
                <a:gd name="T3" fmla="*/ 42 h 84"/>
                <a:gd name="T4" fmla="*/ 42 w 84"/>
                <a:gd name="T5" fmla="*/ 84 h 84"/>
                <a:gd name="T6" fmla="*/ 84 w 84"/>
                <a:gd name="T7" fmla="*/ 42 h 84"/>
                <a:gd name="T8" fmla="*/ 42 w 84"/>
                <a:gd name="T9" fmla="*/ 0 h 84"/>
                <a:gd name="T10" fmla="*/ 42 w 84"/>
                <a:gd name="T11" fmla="*/ 72 h 84"/>
                <a:gd name="T12" fmla="*/ 12 w 84"/>
                <a:gd name="T13" fmla="*/ 42 h 84"/>
                <a:gd name="T14" fmla="*/ 42 w 84"/>
                <a:gd name="T15" fmla="*/ 13 h 84"/>
                <a:gd name="T16" fmla="*/ 71 w 84"/>
                <a:gd name="T17" fmla="*/ 42 h 84"/>
                <a:gd name="T18" fmla="*/ 42 w 84"/>
                <a:gd name="T19" fmla="*/ 7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65"/>
                    <a:pt x="19" y="84"/>
                    <a:pt x="42" y="84"/>
                  </a:cubicBezTo>
                  <a:cubicBezTo>
                    <a:pt x="65" y="84"/>
                    <a:pt x="84" y="65"/>
                    <a:pt x="84" y="42"/>
                  </a:cubicBezTo>
                  <a:cubicBezTo>
                    <a:pt x="84" y="19"/>
                    <a:pt x="65" y="0"/>
                    <a:pt x="42" y="0"/>
                  </a:cubicBezTo>
                  <a:close/>
                  <a:moveTo>
                    <a:pt x="42" y="72"/>
                  </a:moveTo>
                  <a:cubicBezTo>
                    <a:pt x="26" y="72"/>
                    <a:pt x="12" y="58"/>
                    <a:pt x="12" y="42"/>
                  </a:cubicBezTo>
                  <a:cubicBezTo>
                    <a:pt x="12" y="26"/>
                    <a:pt x="26" y="13"/>
                    <a:pt x="42" y="13"/>
                  </a:cubicBezTo>
                  <a:cubicBezTo>
                    <a:pt x="58" y="13"/>
                    <a:pt x="71" y="26"/>
                    <a:pt x="71" y="42"/>
                  </a:cubicBezTo>
                  <a:cubicBezTo>
                    <a:pt x="71" y="58"/>
                    <a:pt x="58" y="72"/>
                    <a:pt x="42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00" name="Oval 386"/>
            <p:cNvSpPr>
              <a:spLocks noChangeArrowheads="1"/>
            </p:cNvSpPr>
            <p:nvPr userDrawn="1"/>
          </p:nvSpPr>
          <p:spPr bwMode="auto">
            <a:xfrm>
              <a:off x="2011096" y="4258455"/>
              <a:ext cx="20661" cy="2066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01" name="Freeform 387"/>
            <p:cNvSpPr>
              <a:spLocks noEditPoints="1"/>
            </p:cNvSpPr>
            <p:nvPr userDrawn="1"/>
          </p:nvSpPr>
          <p:spPr bwMode="auto">
            <a:xfrm>
              <a:off x="1957968" y="4250585"/>
              <a:ext cx="36403" cy="36403"/>
            </a:xfrm>
            <a:custGeom>
              <a:avLst/>
              <a:gdLst>
                <a:gd name="T0" fmla="*/ 42 w 84"/>
                <a:gd name="T1" fmla="*/ 0 h 84"/>
                <a:gd name="T2" fmla="*/ 0 w 84"/>
                <a:gd name="T3" fmla="*/ 42 h 84"/>
                <a:gd name="T4" fmla="*/ 42 w 84"/>
                <a:gd name="T5" fmla="*/ 84 h 84"/>
                <a:gd name="T6" fmla="*/ 84 w 84"/>
                <a:gd name="T7" fmla="*/ 42 h 84"/>
                <a:gd name="T8" fmla="*/ 42 w 84"/>
                <a:gd name="T9" fmla="*/ 0 h 84"/>
                <a:gd name="T10" fmla="*/ 42 w 84"/>
                <a:gd name="T11" fmla="*/ 72 h 84"/>
                <a:gd name="T12" fmla="*/ 13 w 84"/>
                <a:gd name="T13" fmla="*/ 42 h 84"/>
                <a:gd name="T14" fmla="*/ 42 w 84"/>
                <a:gd name="T15" fmla="*/ 13 h 84"/>
                <a:gd name="T16" fmla="*/ 72 w 84"/>
                <a:gd name="T17" fmla="*/ 42 h 84"/>
                <a:gd name="T18" fmla="*/ 42 w 84"/>
                <a:gd name="T19" fmla="*/ 7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65"/>
                    <a:pt x="19" y="84"/>
                    <a:pt x="42" y="84"/>
                  </a:cubicBezTo>
                  <a:cubicBezTo>
                    <a:pt x="65" y="84"/>
                    <a:pt x="84" y="65"/>
                    <a:pt x="84" y="42"/>
                  </a:cubicBezTo>
                  <a:cubicBezTo>
                    <a:pt x="84" y="19"/>
                    <a:pt x="65" y="0"/>
                    <a:pt x="42" y="0"/>
                  </a:cubicBezTo>
                  <a:close/>
                  <a:moveTo>
                    <a:pt x="42" y="72"/>
                  </a:moveTo>
                  <a:cubicBezTo>
                    <a:pt x="26" y="72"/>
                    <a:pt x="13" y="58"/>
                    <a:pt x="13" y="42"/>
                  </a:cubicBezTo>
                  <a:cubicBezTo>
                    <a:pt x="13" y="26"/>
                    <a:pt x="26" y="13"/>
                    <a:pt x="42" y="13"/>
                  </a:cubicBezTo>
                  <a:cubicBezTo>
                    <a:pt x="58" y="13"/>
                    <a:pt x="72" y="26"/>
                    <a:pt x="72" y="42"/>
                  </a:cubicBezTo>
                  <a:cubicBezTo>
                    <a:pt x="72" y="58"/>
                    <a:pt x="58" y="72"/>
                    <a:pt x="42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02" name="Oval 388"/>
            <p:cNvSpPr>
              <a:spLocks noChangeArrowheads="1"/>
            </p:cNvSpPr>
            <p:nvPr userDrawn="1"/>
          </p:nvSpPr>
          <p:spPr bwMode="auto">
            <a:xfrm>
              <a:off x="1965839" y="4258455"/>
              <a:ext cx="20661" cy="2066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03" name="Freeform 389"/>
            <p:cNvSpPr>
              <a:spLocks noEditPoints="1"/>
            </p:cNvSpPr>
            <p:nvPr userDrawn="1"/>
          </p:nvSpPr>
          <p:spPr bwMode="auto">
            <a:xfrm>
              <a:off x="1834986" y="4250585"/>
              <a:ext cx="37387" cy="36403"/>
            </a:xfrm>
            <a:custGeom>
              <a:avLst/>
              <a:gdLst>
                <a:gd name="T0" fmla="*/ 42 w 84"/>
                <a:gd name="T1" fmla="*/ 0 h 84"/>
                <a:gd name="T2" fmla="*/ 0 w 84"/>
                <a:gd name="T3" fmla="*/ 42 h 84"/>
                <a:gd name="T4" fmla="*/ 42 w 84"/>
                <a:gd name="T5" fmla="*/ 84 h 84"/>
                <a:gd name="T6" fmla="*/ 84 w 84"/>
                <a:gd name="T7" fmla="*/ 42 h 84"/>
                <a:gd name="T8" fmla="*/ 42 w 84"/>
                <a:gd name="T9" fmla="*/ 0 h 84"/>
                <a:gd name="T10" fmla="*/ 42 w 84"/>
                <a:gd name="T11" fmla="*/ 72 h 84"/>
                <a:gd name="T12" fmla="*/ 12 w 84"/>
                <a:gd name="T13" fmla="*/ 42 h 84"/>
                <a:gd name="T14" fmla="*/ 42 w 84"/>
                <a:gd name="T15" fmla="*/ 13 h 84"/>
                <a:gd name="T16" fmla="*/ 72 w 84"/>
                <a:gd name="T17" fmla="*/ 42 h 84"/>
                <a:gd name="T18" fmla="*/ 42 w 84"/>
                <a:gd name="T19" fmla="*/ 7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65"/>
                    <a:pt x="19" y="84"/>
                    <a:pt x="42" y="84"/>
                  </a:cubicBezTo>
                  <a:cubicBezTo>
                    <a:pt x="65" y="84"/>
                    <a:pt x="84" y="65"/>
                    <a:pt x="84" y="42"/>
                  </a:cubicBezTo>
                  <a:cubicBezTo>
                    <a:pt x="84" y="19"/>
                    <a:pt x="65" y="0"/>
                    <a:pt x="42" y="0"/>
                  </a:cubicBezTo>
                  <a:close/>
                  <a:moveTo>
                    <a:pt x="42" y="72"/>
                  </a:moveTo>
                  <a:cubicBezTo>
                    <a:pt x="26" y="72"/>
                    <a:pt x="12" y="58"/>
                    <a:pt x="12" y="42"/>
                  </a:cubicBezTo>
                  <a:cubicBezTo>
                    <a:pt x="12" y="26"/>
                    <a:pt x="26" y="13"/>
                    <a:pt x="42" y="13"/>
                  </a:cubicBezTo>
                  <a:cubicBezTo>
                    <a:pt x="58" y="13"/>
                    <a:pt x="72" y="26"/>
                    <a:pt x="72" y="42"/>
                  </a:cubicBezTo>
                  <a:cubicBezTo>
                    <a:pt x="72" y="58"/>
                    <a:pt x="58" y="72"/>
                    <a:pt x="42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04" name="Oval 390"/>
            <p:cNvSpPr>
              <a:spLocks noChangeArrowheads="1"/>
            </p:cNvSpPr>
            <p:nvPr userDrawn="1"/>
          </p:nvSpPr>
          <p:spPr bwMode="auto">
            <a:xfrm>
              <a:off x="1842856" y="4258455"/>
              <a:ext cx="21645" cy="2066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05" name="Freeform 391"/>
            <p:cNvSpPr>
              <a:spLocks noEditPoints="1"/>
            </p:cNvSpPr>
            <p:nvPr userDrawn="1"/>
          </p:nvSpPr>
          <p:spPr bwMode="auto">
            <a:xfrm>
              <a:off x="1790712" y="4250585"/>
              <a:ext cx="36403" cy="36403"/>
            </a:xfrm>
            <a:custGeom>
              <a:avLst/>
              <a:gdLst>
                <a:gd name="T0" fmla="*/ 42 w 84"/>
                <a:gd name="T1" fmla="*/ 0 h 84"/>
                <a:gd name="T2" fmla="*/ 0 w 84"/>
                <a:gd name="T3" fmla="*/ 42 h 84"/>
                <a:gd name="T4" fmla="*/ 42 w 84"/>
                <a:gd name="T5" fmla="*/ 84 h 84"/>
                <a:gd name="T6" fmla="*/ 84 w 84"/>
                <a:gd name="T7" fmla="*/ 42 h 84"/>
                <a:gd name="T8" fmla="*/ 42 w 84"/>
                <a:gd name="T9" fmla="*/ 0 h 84"/>
                <a:gd name="T10" fmla="*/ 42 w 84"/>
                <a:gd name="T11" fmla="*/ 72 h 84"/>
                <a:gd name="T12" fmla="*/ 13 w 84"/>
                <a:gd name="T13" fmla="*/ 42 h 84"/>
                <a:gd name="T14" fmla="*/ 42 w 84"/>
                <a:gd name="T15" fmla="*/ 13 h 84"/>
                <a:gd name="T16" fmla="*/ 72 w 84"/>
                <a:gd name="T17" fmla="*/ 42 h 84"/>
                <a:gd name="T18" fmla="*/ 42 w 84"/>
                <a:gd name="T19" fmla="*/ 7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65"/>
                    <a:pt x="19" y="84"/>
                    <a:pt x="42" y="84"/>
                  </a:cubicBezTo>
                  <a:cubicBezTo>
                    <a:pt x="65" y="84"/>
                    <a:pt x="84" y="65"/>
                    <a:pt x="84" y="42"/>
                  </a:cubicBezTo>
                  <a:cubicBezTo>
                    <a:pt x="84" y="19"/>
                    <a:pt x="65" y="0"/>
                    <a:pt x="42" y="0"/>
                  </a:cubicBezTo>
                  <a:close/>
                  <a:moveTo>
                    <a:pt x="42" y="72"/>
                  </a:moveTo>
                  <a:cubicBezTo>
                    <a:pt x="26" y="72"/>
                    <a:pt x="13" y="58"/>
                    <a:pt x="13" y="42"/>
                  </a:cubicBezTo>
                  <a:cubicBezTo>
                    <a:pt x="13" y="26"/>
                    <a:pt x="26" y="13"/>
                    <a:pt x="42" y="13"/>
                  </a:cubicBezTo>
                  <a:cubicBezTo>
                    <a:pt x="59" y="13"/>
                    <a:pt x="72" y="26"/>
                    <a:pt x="72" y="42"/>
                  </a:cubicBezTo>
                  <a:cubicBezTo>
                    <a:pt x="72" y="58"/>
                    <a:pt x="59" y="72"/>
                    <a:pt x="42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06" name="Oval 392"/>
            <p:cNvSpPr>
              <a:spLocks noChangeArrowheads="1"/>
            </p:cNvSpPr>
            <p:nvPr userDrawn="1"/>
          </p:nvSpPr>
          <p:spPr bwMode="auto">
            <a:xfrm>
              <a:off x="1798583" y="4258455"/>
              <a:ext cx="20661" cy="2066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07" name="Freeform 393"/>
            <p:cNvSpPr>
              <a:spLocks noEditPoints="1"/>
            </p:cNvSpPr>
            <p:nvPr userDrawn="1"/>
          </p:nvSpPr>
          <p:spPr bwMode="auto">
            <a:xfrm>
              <a:off x="1745455" y="4250585"/>
              <a:ext cx="36403" cy="36403"/>
            </a:xfrm>
            <a:custGeom>
              <a:avLst/>
              <a:gdLst>
                <a:gd name="T0" fmla="*/ 41 w 83"/>
                <a:gd name="T1" fmla="*/ 0 h 84"/>
                <a:gd name="T2" fmla="*/ 0 w 83"/>
                <a:gd name="T3" fmla="*/ 42 h 84"/>
                <a:gd name="T4" fmla="*/ 41 w 83"/>
                <a:gd name="T5" fmla="*/ 84 h 84"/>
                <a:gd name="T6" fmla="*/ 83 w 83"/>
                <a:gd name="T7" fmla="*/ 42 h 84"/>
                <a:gd name="T8" fmla="*/ 41 w 83"/>
                <a:gd name="T9" fmla="*/ 0 h 84"/>
                <a:gd name="T10" fmla="*/ 41 w 83"/>
                <a:gd name="T11" fmla="*/ 72 h 84"/>
                <a:gd name="T12" fmla="*/ 12 w 83"/>
                <a:gd name="T13" fmla="*/ 42 h 84"/>
                <a:gd name="T14" fmla="*/ 41 w 83"/>
                <a:gd name="T15" fmla="*/ 13 h 84"/>
                <a:gd name="T16" fmla="*/ 71 w 83"/>
                <a:gd name="T17" fmla="*/ 42 h 84"/>
                <a:gd name="T18" fmla="*/ 41 w 83"/>
                <a:gd name="T19" fmla="*/ 7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3" h="84">
                  <a:moveTo>
                    <a:pt x="41" y="0"/>
                  </a:moveTo>
                  <a:cubicBezTo>
                    <a:pt x="18" y="0"/>
                    <a:pt x="0" y="19"/>
                    <a:pt x="0" y="42"/>
                  </a:cubicBezTo>
                  <a:cubicBezTo>
                    <a:pt x="0" y="65"/>
                    <a:pt x="18" y="84"/>
                    <a:pt x="41" y="84"/>
                  </a:cubicBezTo>
                  <a:cubicBezTo>
                    <a:pt x="65" y="84"/>
                    <a:pt x="83" y="65"/>
                    <a:pt x="83" y="42"/>
                  </a:cubicBezTo>
                  <a:cubicBezTo>
                    <a:pt x="83" y="19"/>
                    <a:pt x="65" y="0"/>
                    <a:pt x="41" y="0"/>
                  </a:cubicBezTo>
                  <a:close/>
                  <a:moveTo>
                    <a:pt x="41" y="72"/>
                  </a:moveTo>
                  <a:cubicBezTo>
                    <a:pt x="25" y="72"/>
                    <a:pt x="12" y="58"/>
                    <a:pt x="12" y="42"/>
                  </a:cubicBezTo>
                  <a:cubicBezTo>
                    <a:pt x="12" y="26"/>
                    <a:pt x="25" y="13"/>
                    <a:pt x="41" y="13"/>
                  </a:cubicBezTo>
                  <a:cubicBezTo>
                    <a:pt x="58" y="13"/>
                    <a:pt x="71" y="26"/>
                    <a:pt x="71" y="42"/>
                  </a:cubicBezTo>
                  <a:cubicBezTo>
                    <a:pt x="71" y="58"/>
                    <a:pt x="58" y="72"/>
                    <a:pt x="41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08" name="Oval 394"/>
            <p:cNvSpPr>
              <a:spLocks noChangeArrowheads="1"/>
            </p:cNvSpPr>
            <p:nvPr userDrawn="1"/>
          </p:nvSpPr>
          <p:spPr bwMode="auto">
            <a:xfrm>
              <a:off x="1753325" y="4258455"/>
              <a:ext cx="20661" cy="2066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09" name="Freeform 395"/>
            <p:cNvSpPr>
              <a:spLocks/>
            </p:cNvSpPr>
            <p:nvPr userDrawn="1"/>
          </p:nvSpPr>
          <p:spPr bwMode="auto">
            <a:xfrm>
              <a:off x="1704133" y="4138425"/>
              <a:ext cx="444704" cy="122982"/>
            </a:xfrm>
            <a:custGeom>
              <a:avLst/>
              <a:gdLst>
                <a:gd name="T0" fmla="*/ 996 w 1015"/>
                <a:gd name="T1" fmla="*/ 209 h 280"/>
                <a:gd name="T2" fmla="*/ 980 w 1015"/>
                <a:gd name="T3" fmla="*/ 226 h 280"/>
                <a:gd name="T4" fmla="*/ 951 w 1015"/>
                <a:gd name="T5" fmla="*/ 226 h 280"/>
                <a:gd name="T6" fmla="*/ 958 w 1015"/>
                <a:gd name="T7" fmla="*/ 200 h 280"/>
                <a:gd name="T8" fmla="*/ 930 w 1015"/>
                <a:gd name="T9" fmla="*/ 200 h 280"/>
                <a:gd name="T10" fmla="*/ 932 w 1015"/>
                <a:gd name="T11" fmla="*/ 190 h 280"/>
                <a:gd name="T12" fmla="*/ 911 w 1015"/>
                <a:gd name="T13" fmla="*/ 169 h 280"/>
                <a:gd name="T14" fmla="*/ 814 w 1015"/>
                <a:gd name="T15" fmla="*/ 169 h 280"/>
                <a:gd name="T16" fmla="*/ 793 w 1015"/>
                <a:gd name="T17" fmla="*/ 190 h 280"/>
                <a:gd name="T18" fmla="*/ 795 w 1015"/>
                <a:gd name="T19" fmla="*/ 200 h 280"/>
                <a:gd name="T20" fmla="*/ 765 w 1015"/>
                <a:gd name="T21" fmla="*/ 200 h 280"/>
                <a:gd name="T22" fmla="*/ 932 w 1015"/>
                <a:gd name="T23" fmla="*/ 19 h 280"/>
                <a:gd name="T24" fmla="*/ 933 w 1015"/>
                <a:gd name="T25" fmla="*/ 0 h 280"/>
                <a:gd name="T26" fmla="*/ 504 w 1015"/>
                <a:gd name="T27" fmla="*/ 0 h 280"/>
                <a:gd name="T28" fmla="*/ 74 w 1015"/>
                <a:gd name="T29" fmla="*/ 0 h 280"/>
                <a:gd name="T30" fmla="*/ 75 w 1015"/>
                <a:gd name="T31" fmla="*/ 19 h 280"/>
                <a:gd name="T32" fmla="*/ 242 w 1015"/>
                <a:gd name="T33" fmla="*/ 200 h 280"/>
                <a:gd name="T34" fmla="*/ 212 w 1015"/>
                <a:gd name="T35" fmla="*/ 200 h 280"/>
                <a:gd name="T36" fmla="*/ 214 w 1015"/>
                <a:gd name="T37" fmla="*/ 190 h 280"/>
                <a:gd name="T38" fmla="*/ 193 w 1015"/>
                <a:gd name="T39" fmla="*/ 169 h 280"/>
                <a:gd name="T40" fmla="*/ 96 w 1015"/>
                <a:gd name="T41" fmla="*/ 169 h 280"/>
                <a:gd name="T42" fmla="*/ 75 w 1015"/>
                <a:gd name="T43" fmla="*/ 190 h 280"/>
                <a:gd name="T44" fmla="*/ 77 w 1015"/>
                <a:gd name="T45" fmla="*/ 200 h 280"/>
                <a:gd name="T46" fmla="*/ 49 w 1015"/>
                <a:gd name="T47" fmla="*/ 200 h 280"/>
                <a:gd name="T48" fmla="*/ 53 w 1015"/>
                <a:gd name="T49" fmla="*/ 217 h 280"/>
                <a:gd name="T50" fmla="*/ 36 w 1015"/>
                <a:gd name="T51" fmla="*/ 217 h 280"/>
                <a:gd name="T52" fmla="*/ 19 w 1015"/>
                <a:gd name="T53" fmla="*/ 197 h 280"/>
                <a:gd name="T54" fmla="*/ 0 w 1015"/>
                <a:gd name="T55" fmla="*/ 231 h 280"/>
                <a:gd name="T56" fmla="*/ 19 w 1015"/>
                <a:gd name="T57" fmla="*/ 264 h 280"/>
                <a:gd name="T58" fmla="*/ 36 w 1015"/>
                <a:gd name="T59" fmla="*/ 245 h 280"/>
                <a:gd name="T60" fmla="*/ 64 w 1015"/>
                <a:gd name="T61" fmla="*/ 245 h 280"/>
                <a:gd name="T62" fmla="*/ 87 w 1015"/>
                <a:gd name="T63" fmla="*/ 269 h 280"/>
                <a:gd name="T64" fmla="*/ 135 w 1015"/>
                <a:gd name="T65" fmla="*/ 241 h 280"/>
                <a:gd name="T66" fmla="*/ 187 w 1015"/>
                <a:gd name="T67" fmla="*/ 276 h 280"/>
                <a:gd name="T68" fmla="*/ 238 w 1015"/>
                <a:gd name="T69" fmla="*/ 241 h 280"/>
                <a:gd name="T70" fmla="*/ 290 w 1015"/>
                <a:gd name="T71" fmla="*/ 276 h 280"/>
                <a:gd name="T72" fmla="*/ 341 w 1015"/>
                <a:gd name="T73" fmla="*/ 241 h 280"/>
                <a:gd name="T74" fmla="*/ 391 w 1015"/>
                <a:gd name="T75" fmla="*/ 273 h 280"/>
                <a:gd name="T76" fmla="*/ 435 w 1015"/>
                <a:gd name="T77" fmla="*/ 240 h 280"/>
                <a:gd name="T78" fmla="*/ 504 w 1015"/>
                <a:gd name="T79" fmla="*/ 240 h 280"/>
                <a:gd name="T80" fmla="*/ 572 w 1015"/>
                <a:gd name="T81" fmla="*/ 240 h 280"/>
                <a:gd name="T82" fmla="*/ 588 w 1015"/>
                <a:gd name="T83" fmla="*/ 252 h 280"/>
                <a:gd name="T84" fmla="*/ 621 w 1015"/>
                <a:gd name="T85" fmla="*/ 241 h 280"/>
                <a:gd name="T86" fmla="*/ 673 w 1015"/>
                <a:gd name="T87" fmla="*/ 276 h 280"/>
                <a:gd name="T88" fmla="*/ 724 w 1015"/>
                <a:gd name="T89" fmla="*/ 241 h 280"/>
                <a:gd name="T90" fmla="*/ 775 w 1015"/>
                <a:gd name="T91" fmla="*/ 276 h 280"/>
                <a:gd name="T92" fmla="*/ 827 w 1015"/>
                <a:gd name="T93" fmla="*/ 241 h 280"/>
                <a:gd name="T94" fmla="*/ 879 w 1015"/>
                <a:gd name="T95" fmla="*/ 280 h 280"/>
                <a:gd name="T96" fmla="*/ 910 w 1015"/>
                <a:gd name="T97" fmla="*/ 280 h 280"/>
                <a:gd name="T98" fmla="*/ 934 w 1015"/>
                <a:gd name="T99" fmla="*/ 254 h 280"/>
                <a:gd name="T100" fmla="*/ 980 w 1015"/>
                <a:gd name="T101" fmla="*/ 254 h 280"/>
                <a:gd name="T102" fmla="*/ 996 w 1015"/>
                <a:gd name="T103" fmla="*/ 271 h 280"/>
                <a:gd name="T104" fmla="*/ 1015 w 1015"/>
                <a:gd name="T105" fmla="*/ 240 h 280"/>
                <a:gd name="T106" fmla="*/ 996 w 1015"/>
                <a:gd name="T107" fmla="*/ 209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15" h="280">
                  <a:moveTo>
                    <a:pt x="996" y="209"/>
                  </a:moveTo>
                  <a:cubicBezTo>
                    <a:pt x="989" y="209"/>
                    <a:pt x="983" y="216"/>
                    <a:pt x="980" y="226"/>
                  </a:cubicBezTo>
                  <a:cubicBezTo>
                    <a:pt x="951" y="226"/>
                    <a:pt x="951" y="226"/>
                    <a:pt x="951" y="226"/>
                  </a:cubicBezTo>
                  <a:cubicBezTo>
                    <a:pt x="954" y="217"/>
                    <a:pt x="956" y="208"/>
                    <a:pt x="958" y="200"/>
                  </a:cubicBezTo>
                  <a:cubicBezTo>
                    <a:pt x="930" y="200"/>
                    <a:pt x="930" y="200"/>
                    <a:pt x="930" y="200"/>
                  </a:cubicBezTo>
                  <a:cubicBezTo>
                    <a:pt x="931" y="197"/>
                    <a:pt x="932" y="194"/>
                    <a:pt x="932" y="190"/>
                  </a:cubicBezTo>
                  <a:cubicBezTo>
                    <a:pt x="932" y="179"/>
                    <a:pt x="923" y="169"/>
                    <a:pt x="911" y="169"/>
                  </a:cubicBezTo>
                  <a:cubicBezTo>
                    <a:pt x="814" y="169"/>
                    <a:pt x="814" y="169"/>
                    <a:pt x="814" y="169"/>
                  </a:cubicBezTo>
                  <a:cubicBezTo>
                    <a:pt x="802" y="169"/>
                    <a:pt x="793" y="179"/>
                    <a:pt x="793" y="190"/>
                  </a:cubicBezTo>
                  <a:cubicBezTo>
                    <a:pt x="793" y="194"/>
                    <a:pt x="794" y="197"/>
                    <a:pt x="795" y="200"/>
                  </a:cubicBezTo>
                  <a:cubicBezTo>
                    <a:pt x="765" y="200"/>
                    <a:pt x="765" y="200"/>
                    <a:pt x="765" y="200"/>
                  </a:cubicBezTo>
                  <a:cubicBezTo>
                    <a:pt x="932" y="19"/>
                    <a:pt x="932" y="19"/>
                    <a:pt x="932" y="19"/>
                  </a:cubicBezTo>
                  <a:cubicBezTo>
                    <a:pt x="933" y="0"/>
                    <a:pt x="933" y="0"/>
                    <a:pt x="933" y="0"/>
                  </a:cubicBezTo>
                  <a:cubicBezTo>
                    <a:pt x="504" y="0"/>
                    <a:pt x="504" y="0"/>
                    <a:pt x="504" y="0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75" y="19"/>
                    <a:pt x="75" y="19"/>
                    <a:pt x="75" y="19"/>
                  </a:cubicBezTo>
                  <a:cubicBezTo>
                    <a:pt x="242" y="200"/>
                    <a:pt x="242" y="200"/>
                    <a:pt x="242" y="200"/>
                  </a:cubicBezTo>
                  <a:cubicBezTo>
                    <a:pt x="212" y="200"/>
                    <a:pt x="212" y="200"/>
                    <a:pt x="212" y="200"/>
                  </a:cubicBezTo>
                  <a:cubicBezTo>
                    <a:pt x="213" y="197"/>
                    <a:pt x="214" y="194"/>
                    <a:pt x="214" y="190"/>
                  </a:cubicBezTo>
                  <a:cubicBezTo>
                    <a:pt x="214" y="179"/>
                    <a:pt x="205" y="169"/>
                    <a:pt x="193" y="169"/>
                  </a:cubicBezTo>
                  <a:cubicBezTo>
                    <a:pt x="96" y="169"/>
                    <a:pt x="96" y="169"/>
                    <a:pt x="96" y="169"/>
                  </a:cubicBezTo>
                  <a:cubicBezTo>
                    <a:pt x="84" y="169"/>
                    <a:pt x="75" y="179"/>
                    <a:pt x="75" y="190"/>
                  </a:cubicBezTo>
                  <a:cubicBezTo>
                    <a:pt x="75" y="194"/>
                    <a:pt x="76" y="197"/>
                    <a:pt x="77" y="200"/>
                  </a:cubicBezTo>
                  <a:cubicBezTo>
                    <a:pt x="49" y="200"/>
                    <a:pt x="49" y="200"/>
                    <a:pt x="49" y="200"/>
                  </a:cubicBezTo>
                  <a:cubicBezTo>
                    <a:pt x="50" y="205"/>
                    <a:pt x="52" y="211"/>
                    <a:pt x="53" y="217"/>
                  </a:cubicBezTo>
                  <a:cubicBezTo>
                    <a:pt x="36" y="217"/>
                    <a:pt x="36" y="217"/>
                    <a:pt x="36" y="217"/>
                  </a:cubicBezTo>
                  <a:cubicBezTo>
                    <a:pt x="33" y="205"/>
                    <a:pt x="27" y="197"/>
                    <a:pt x="19" y="197"/>
                  </a:cubicBezTo>
                  <a:cubicBezTo>
                    <a:pt x="9" y="197"/>
                    <a:pt x="0" y="212"/>
                    <a:pt x="0" y="231"/>
                  </a:cubicBezTo>
                  <a:cubicBezTo>
                    <a:pt x="0" y="249"/>
                    <a:pt x="9" y="264"/>
                    <a:pt x="19" y="264"/>
                  </a:cubicBezTo>
                  <a:cubicBezTo>
                    <a:pt x="27" y="264"/>
                    <a:pt x="33" y="256"/>
                    <a:pt x="36" y="245"/>
                  </a:cubicBezTo>
                  <a:cubicBezTo>
                    <a:pt x="64" y="245"/>
                    <a:pt x="64" y="245"/>
                    <a:pt x="64" y="245"/>
                  </a:cubicBezTo>
                  <a:cubicBezTo>
                    <a:pt x="87" y="269"/>
                    <a:pt x="87" y="269"/>
                    <a:pt x="87" y="269"/>
                  </a:cubicBezTo>
                  <a:cubicBezTo>
                    <a:pt x="97" y="252"/>
                    <a:pt x="115" y="241"/>
                    <a:pt x="135" y="241"/>
                  </a:cubicBezTo>
                  <a:cubicBezTo>
                    <a:pt x="159" y="241"/>
                    <a:pt x="179" y="255"/>
                    <a:pt x="187" y="276"/>
                  </a:cubicBezTo>
                  <a:cubicBezTo>
                    <a:pt x="195" y="255"/>
                    <a:pt x="215" y="241"/>
                    <a:pt x="238" y="241"/>
                  </a:cubicBezTo>
                  <a:cubicBezTo>
                    <a:pt x="262" y="241"/>
                    <a:pt x="282" y="255"/>
                    <a:pt x="290" y="276"/>
                  </a:cubicBezTo>
                  <a:cubicBezTo>
                    <a:pt x="298" y="255"/>
                    <a:pt x="318" y="241"/>
                    <a:pt x="341" y="241"/>
                  </a:cubicBezTo>
                  <a:cubicBezTo>
                    <a:pt x="363" y="241"/>
                    <a:pt x="383" y="254"/>
                    <a:pt x="391" y="273"/>
                  </a:cubicBezTo>
                  <a:cubicBezTo>
                    <a:pt x="435" y="240"/>
                    <a:pt x="435" y="240"/>
                    <a:pt x="435" y="240"/>
                  </a:cubicBezTo>
                  <a:cubicBezTo>
                    <a:pt x="504" y="240"/>
                    <a:pt x="504" y="240"/>
                    <a:pt x="504" y="240"/>
                  </a:cubicBezTo>
                  <a:cubicBezTo>
                    <a:pt x="572" y="240"/>
                    <a:pt x="572" y="240"/>
                    <a:pt x="572" y="240"/>
                  </a:cubicBezTo>
                  <a:cubicBezTo>
                    <a:pt x="588" y="252"/>
                    <a:pt x="588" y="252"/>
                    <a:pt x="588" y="252"/>
                  </a:cubicBezTo>
                  <a:cubicBezTo>
                    <a:pt x="597" y="245"/>
                    <a:pt x="609" y="241"/>
                    <a:pt x="621" y="241"/>
                  </a:cubicBezTo>
                  <a:cubicBezTo>
                    <a:pt x="644" y="241"/>
                    <a:pt x="664" y="255"/>
                    <a:pt x="673" y="276"/>
                  </a:cubicBezTo>
                  <a:cubicBezTo>
                    <a:pt x="681" y="255"/>
                    <a:pt x="701" y="241"/>
                    <a:pt x="724" y="241"/>
                  </a:cubicBezTo>
                  <a:cubicBezTo>
                    <a:pt x="747" y="241"/>
                    <a:pt x="767" y="255"/>
                    <a:pt x="775" y="276"/>
                  </a:cubicBezTo>
                  <a:cubicBezTo>
                    <a:pt x="783" y="255"/>
                    <a:pt x="803" y="241"/>
                    <a:pt x="827" y="241"/>
                  </a:cubicBezTo>
                  <a:cubicBezTo>
                    <a:pt x="851" y="241"/>
                    <a:pt x="873" y="257"/>
                    <a:pt x="879" y="280"/>
                  </a:cubicBezTo>
                  <a:cubicBezTo>
                    <a:pt x="910" y="280"/>
                    <a:pt x="910" y="280"/>
                    <a:pt x="910" y="280"/>
                  </a:cubicBezTo>
                  <a:cubicBezTo>
                    <a:pt x="934" y="254"/>
                    <a:pt x="934" y="254"/>
                    <a:pt x="934" y="254"/>
                  </a:cubicBezTo>
                  <a:cubicBezTo>
                    <a:pt x="980" y="254"/>
                    <a:pt x="980" y="254"/>
                    <a:pt x="980" y="254"/>
                  </a:cubicBezTo>
                  <a:cubicBezTo>
                    <a:pt x="983" y="264"/>
                    <a:pt x="989" y="271"/>
                    <a:pt x="996" y="271"/>
                  </a:cubicBezTo>
                  <a:cubicBezTo>
                    <a:pt x="1006" y="271"/>
                    <a:pt x="1015" y="257"/>
                    <a:pt x="1015" y="240"/>
                  </a:cubicBezTo>
                  <a:cubicBezTo>
                    <a:pt x="1015" y="223"/>
                    <a:pt x="1006" y="209"/>
                    <a:pt x="996" y="20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10" name="Freeform 396"/>
            <p:cNvSpPr>
              <a:spLocks noEditPoints="1"/>
            </p:cNvSpPr>
            <p:nvPr userDrawn="1"/>
          </p:nvSpPr>
          <p:spPr bwMode="auto">
            <a:xfrm>
              <a:off x="2493186" y="4250585"/>
              <a:ext cx="37387" cy="36403"/>
            </a:xfrm>
            <a:custGeom>
              <a:avLst/>
              <a:gdLst>
                <a:gd name="T0" fmla="*/ 42 w 84"/>
                <a:gd name="T1" fmla="*/ 0 h 84"/>
                <a:gd name="T2" fmla="*/ 0 w 84"/>
                <a:gd name="T3" fmla="*/ 42 h 84"/>
                <a:gd name="T4" fmla="*/ 42 w 84"/>
                <a:gd name="T5" fmla="*/ 84 h 84"/>
                <a:gd name="T6" fmla="*/ 84 w 84"/>
                <a:gd name="T7" fmla="*/ 42 h 84"/>
                <a:gd name="T8" fmla="*/ 42 w 84"/>
                <a:gd name="T9" fmla="*/ 0 h 84"/>
                <a:gd name="T10" fmla="*/ 42 w 84"/>
                <a:gd name="T11" fmla="*/ 72 h 84"/>
                <a:gd name="T12" fmla="*/ 12 w 84"/>
                <a:gd name="T13" fmla="*/ 42 h 84"/>
                <a:gd name="T14" fmla="*/ 42 w 84"/>
                <a:gd name="T15" fmla="*/ 13 h 84"/>
                <a:gd name="T16" fmla="*/ 71 w 84"/>
                <a:gd name="T17" fmla="*/ 42 h 84"/>
                <a:gd name="T18" fmla="*/ 42 w 84"/>
                <a:gd name="T19" fmla="*/ 7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65"/>
                    <a:pt x="19" y="84"/>
                    <a:pt x="42" y="84"/>
                  </a:cubicBezTo>
                  <a:cubicBezTo>
                    <a:pt x="65" y="84"/>
                    <a:pt x="84" y="65"/>
                    <a:pt x="84" y="42"/>
                  </a:cubicBezTo>
                  <a:cubicBezTo>
                    <a:pt x="84" y="19"/>
                    <a:pt x="65" y="0"/>
                    <a:pt x="42" y="0"/>
                  </a:cubicBezTo>
                  <a:close/>
                  <a:moveTo>
                    <a:pt x="42" y="72"/>
                  </a:moveTo>
                  <a:cubicBezTo>
                    <a:pt x="26" y="72"/>
                    <a:pt x="12" y="58"/>
                    <a:pt x="12" y="42"/>
                  </a:cubicBezTo>
                  <a:cubicBezTo>
                    <a:pt x="12" y="26"/>
                    <a:pt x="26" y="13"/>
                    <a:pt x="42" y="13"/>
                  </a:cubicBezTo>
                  <a:cubicBezTo>
                    <a:pt x="58" y="13"/>
                    <a:pt x="71" y="26"/>
                    <a:pt x="71" y="42"/>
                  </a:cubicBezTo>
                  <a:cubicBezTo>
                    <a:pt x="71" y="58"/>
                    <a:pt x="58" y="72"/>
                    <a:pt x="42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11" name="Oval 397"/>
            <p:cNvSpPr>
              <a:spLocks noChangeArrowheads="1"/>
            </p:cNvSpPr>
            <p:nvPr userDrawn="1"/>
          </p:nvSpPr>
          <p:spPr bwMode="auto">
            <a:xfrm>
              <a:off x="2501057" y="4258455"/>
              <a:ext cx="21645" cy="2066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12" name="Freeform 398"/>
            <p:cNvSpPr>
              <a:spLocks noEditPoints="1"/>
            </p:cNvSpPr>
            <p:nvPr userDrawn="1"/>
          </p:nvSpPr>
          <p:spPr bwMode="auto">
            <a:xfrm>
              <a:off x="2448913" y="4250585"/>
              <a:ext cx="36403" cy="36403"/>
            </a:xfrm>
            <a:custGeom>
              <a:avLst/>
              <a:gdLst>
                <a:gd name="T0" fmla="*/ 42 w 84"/>
                <a:gd name="T1" fmla="*/ 0 h 84"/>
                <a:gd name="T2" fmla="*/ 0 w 84"/>
                <a:gd name="T3" fmla="*/ 42 h 84"/>
                <a:gd name="T4" fmla="*/ 42 w 84"/>
                <a:gd name="T5" fmla="*/ 84 h 84"/>
                <a:gd name="T6" fmla="*/ 84 w 84"/>
                <a:gd name="T7" fmla="*/ 42 h 84"/>
                <a:gd name="T8" fmla="*/ 42 w 84"/>
                <a:gd name="T9" fmla="*/ 0 h 84"/>
                <a:gd name="T10" fmla="*/ 42 w 84"/>
                <a:gd name="T11" fmla="*/ 72 h 84"/>
                <a:gd name="T12" fmla="*/ 13 w 84"/>
                <a:gd name="T13" fmla="*/ 42 h 84"/>
                <a:gd name="T14" fmla="*/ 42 w 84"/>
                <a:gd name="T15" fmla="*/ 13 h 84"/>
                <a:gd name="T16" fmla="*/ 72 w 84"/>
                <a:gd name="T17" fmla="*/ 42 h 84"/>
                <a:gd name="T18" fmla="*/ 42 w 84"/>
                <a:gd name="T19" fmla="*/ 7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65"/>
                    <a:pt x="19" y="84"/>
                    <a:pt x="42" y="84"/>
                  </a:cubicBezTo>
                  <a:cubicBezTo>
                    <a:pt x="65" y="84"/>
                    <a:pt x="84" y="65"/>
                    <a:pt x="84" y="42"/>
                  </a:cubicBezTo>
                  <a:cubicBezTo>
                    <a:pt x="84" y="19"/>
                    <a:pt x="65" y="0"/>
                    <a:pt x="42" y="0"/>
                  </a:cubicBezTo>
                  <a:close/>
                  <a:moveTo>
                    <a:pt x="42" y="72"/>
                  </a:moveTo>
                  <a:cubicBezTo>
                    <a:pt x="26" y="72"/>
                    <a:pt x="13" y="58"/>
                    <a:pt x="13" y="42"/>
                  </a:cubicBezTo>
                  <a:cubicBezTo>
                    <a:pt x="13" y="26"/>
                    <a:pt x="26" y="13"/>
                    <a:pt x="42" y="13"/>
                  </a:cubicBezTo>
                  <a:cubicBezTo>
                    <a:pt x="58" y="13"/>
                    <a:pt x="72" y="26"/>
                    <a:pt x="72" y="42"/>
                  </a:cubicBezTo>
                  <a:cubicBezTo>
                    <a:pt x="72" y="58"/>
                    <a:pt x="58" y="72"/>
                    <a:pt x="42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13" name="Oval 399"/>
            <p:cNvSpPr>
              <a:spLocks noChangeArrowheads="1"/>
            </p:cNvSpPr>
            <p:nvPr userDrawn="1"/>
          </p:nvSpPr>
          <p:spPr bwMode="auto">
            <a:xfrm>
              <a:off x="2456784" y="4258455"/>
              <a:ext cx="20661" cy="2066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14" name="Freeform 400"/>
            <p:cNvSpPr>
              <a:spLocks noEditPoints="1"/>
            </p:cNvSpPr>
            <p:nvPr userDrawn="1"/>
          </p:nvSpPr>
          <p:spPr bwMode="auto">
            <a:xfrm>
              <a:off x="2403655" y="4250585"/>
              <a:ext cx="36403" cy="36403"/>
            </a:xfrm>
            <a:custGeom>
              <a:avLst/>
              <a:gdLst>
                <a:gd name="T0" fmla="*/ 42 w 84"/>
                <a:gd name="T1" fmla="*/ 0 h 84"/>
                <a:gd name="T2" fmla="*/ 0 w 84"/>
                <a:gd name="T3" fmla="*/ 42 h 84"/>
                <a:gd name="T4" fmla="*/ 42 w 84"/>
                <a:gd name="T5" fmla="*/ 84 h 84"/>
                <a:gd name="T6" fmla="*/ 84 w 84"/>
                <a:gd name="T7" fmla="*/ 42 h 84"/>
                <a:gd name="T8" fmla="*/ 42 w 84"/>
                <a:gd name="T9" fmla="*/ 0 h 84"/>
                <a:gd name="T10" fmla="*/ 42 w 84"/>
                <a:gd name="T11" fmla="*/ 72 h 84"/>
                <a:gd name="T12" fmla="*/ 13 w 84"/>
                <a:gd name="T13" fmla="*/ 42 h 84"/>
                <a:gd name="T14" fmla="*/ 42 w 84"/>
                <a:gd name="T15" fmla="*/ 13 h 84"/>
                <a:gd name="T16" fmla="*/ 72 w 84"/>
                <a:gd name="T17" fmla="*/ 42 h 84"/>
                <a:gd name="T18" fmla="*/ 42 w 84"/>
                <a:gd name="T19" fmla="*/ 7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65"/>
                    <a:pt x="19" y="84"/>
                    <a:pt x="42" y="84"/>
                  </a:cubicBezTo>
                  <a:cubicBezTo>
                    <a:pt x="65" y="84"/>
                    <a:pt x="84" y="65"/>
                    <a:pt x="84" y="42"/>
                  </a:cubicBezTo>
                  <a:cubicBezTo>
                    <a:pt x="84" y="19"/>
                    <a:pt x="65" y="0"/>
                    <a:pt x="42" y="0"/>
                  </a:cubicBezTo>
                  <a:close/>
                  <a:moveTo>
                    <a:pt x="42" y="72"/>
                  </a:moveTo>
                  <a:cubicBezTo>
                    <a:pt x="26" y="72"/>
                    <a:pt x="13" y="58"/>
                    <a:pt x="13" y="42"/>
                  </a:cubicBezTo>
                  <a:cubicBezTo>
                    <a:pt x="13" y="26"/>
                    <a:pt x="26" y="13"/>
                    <a:pt x="42" y="13"/>
                  </a:cubicBezTo>
                  <a:cubicBezTo>
                    <a:pt x="59" y="13"/>
                    <a:pt x="72" y="26"/>
                    <a:pt x="72" y="42"/>
                  </a:cubicBezTo>
                  <a:cubicBezTo>
                    <a:pt x="72" y="58"/>
                    <a:pt x="59" y="72"/>
                    <a:pt x="42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15" name="Oval 401"/>
            <p:cNvSpPr>
              <a:spLocks noChangeArrowheads="1"/>
            </p:cNvSpPr>
            <p:nvPr userDrawn="1"/>
          </p:nvSpPr>
          <p:spPr bwMode="auto">
            <a:xfrm>
              <a:off x="2411526" y="4258455"/>
              <a:ext cx="20661" cy="2066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16" name="Freeform 402"/>
            <p:cNvSpPr>
              <a:spLocks noEditPoints="1"/>
            </p:cNvSpPr>
            <p:nvPr userDrawn="1"/>
          </p:nvSpPr>
          <p:spPr bwMode="auto">
            <a:xfrm>
              <a:off x="2280673" y="4250585"/>
              <a:ext cx="37387" cy="36403"/>
            </a:xfrm>
            <a:custGeom>
              <a:avLst/>
              <a:gdLst>
                <a:gd name="T0" fmla="*/ 42 w 84"/>
                <a:gd name="T1" fmla="*/ 0 h 84"/>
                <a:gd name="T2" fmla="*/ 0 w 84"/>
                <a:gd name="T3" fmla="*/ 42 h 84"/>
                <a:gd name="T4" fmla="*/ 42 w 84"/>
                <a:gd name="T5" fmla="*/ 84 h 84"/>
                <a:gd name="T6" fmla="*/ 84 w 84"/>
                <a:gd name="T7" fmla="*/ 42 h 84"/>
                <a:gd name="T8" fmla="*/ 42 w 84"/>
                <a:gd name="T9" fmla="*/ 0 h 84"/>
                <a:gd name="T10" fmla="*/ 42 w 84"/>
                <a:gd name="T11" fmla="*/ 72 h 84"/>
                <a:gd name="T12" fmla="*/ 13 w 84"/>
                <a:gd name="T13" fmla="*/ 42 h 84"/>
                <a:gd name="T14" fmla="*/ 42 w 84"/>
                <a:gd name="T15" fmla="*/ 13 h 84"/>
                <a:gd name="T16" fmla="*/ 72 w 84"/>
                <a:gd name="T17" fmla="*/ 42 h 84"/>
                <a:gd name="T18" fmla="*/ 42 w 84"/>
                <a:gd name="T19" fmla="*/ 7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65"/>
                    <a:pt x="19" y="84"/>
                    <a:pt x="42" y="84"/>
                  </a:cubicBezTo>
                  <a:cubicBezTo>
                    <a:pt x="65" y="84"/>
                    <a:pt x="84" y="65"/>
                    <a:pt x="84" y="42"/>
                  </a:cubicBezTo>
                  <a:cubicBezTo>
                    <a:pt x="84" y="19"/>
                    <a:pt x="65" y="0"/>
                    <a:pt x="42" y="0"/>
                  </a:cubicBezTo>
                  <a:close/>
                  <a:moveTo>
                    <a:pt x="42" y="72"/>
                  </a:moveTo>
                  <a:cubicBezTo>
                    <a:pt x="26" y="72"/>
                    <a:pt x="13" y="58"/>
                    <a:pt x="13" y="42"/>
                  </a:cubicBezTo>
                  <a:cubicBezTo>
                    <a:pt x="13" y="26"/>
                    <a:pt x="26" y="13"/>
                    <a:pt x="42" y="13"/>
                  </a:cubicBezTo>
                  <a:cubicBezTo>
                    <a:pt x="58" y="13"/>
                    <a:pt x="72" y="26"/>
                    <a:pt x="72" y="42"/>
                  </a:cubicBezTo>
                  <a:cubicBezTo>
                    <a:pt x="72" y="58"/>
                    <a:pt x="58" y="72"/>
                    <a:pt x="42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17" name="Oval 403"/>
            <p:cNvSpPr>
              <a:spLocks noChangeArrowheads="1"/>
            </p:cNvSpPr>
            <p:nvPr userDrawn="1"/>
          </p:nvSpPr>
          <p:spPr bwMode="auto">
            <a:xfrm>
              <a:off x="2288544" y="4258455"/>
              <a:ext cx="21645" cy="2066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18" name="Freeform 404"/>
            <p:cNvSpPr>
              <a:spLocks noEditPoints="1"/>
            </p:cNvSpPr>
            <p:nvPr userDrawn="1"/>
          </p:nvSpPr>
          <p:spPr bwMode="auto">
            <a:xfrm>
              <a:off x="2236400" y="4250585"/>
              <a:ext cx="36403" cy="36403"/>
            </a:xfrm>
            <a:custGeom>
              <a:avLst/>
              <a:gdLst>
                <a:gd name="T0" fmla="*/ 41 w 83"/>
                <a:gd name="T1" fmla="*/ 0 h 84"/>
                <a:gd name="T2" fmla="*/ 0 w 83"/>
                <a:gd name="T3" fmla="*/ 42 h 84"/>
                <a:gd name="T4" fmla="*/ 41 w 83"/>
                <a:gd name="T5" fmla="*/ 84 h 84"/>
                <a:gd name="T6" fmla="*/ 83 w 83"/>
                <a:gd name="T7" fmla="*/ 42 h 84"/>
                <a:gd name="T8" fmla="*/ 41 w 83"/>
                <a:gd name="T9" fmla="*/ 0 h 84"/>
                <a:gd name="T10" fmla="*/ 41 w 83"/>
                <a:gd name="T11" fmla="*/ 72 h 84"/>
                <a:gd name="T12" fmla="*/ 12 w 83"/>
                <a:gd name="T13" fmla="*/ 42 h 84"/>
                <a:gd name="T14" fmla="*/ 41 w 83"/>
                <a:gd name="T15" fmla="*/ 13 h 84"/>
                <a:gd name="T16" fmla="*/ 71 w 83"/>
                <a:gd name="T17" fmla="*/ 42 h 84"/>
                <a:gd name="T18" fmla="*/ 41 w 83"/>
                <a:gd name="T19" fmla="*/ 7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3" h="84">
                  <a:moveTo>
                    <a:pt x="41" y="0"/>
                  </a:moveTo>
                  <a:cubicBezTo>
                    <a:pt x="18" y="0"/>
                    <a:pt x="0" y="19"/>
                    <a:pt x="0" y="42"/>
                  </a:cubicBezTo>
                  <a:cubicBezTo>
                    <a:pt x="0" y="65"/>
                    <a:pt x="18" y="84"/>
                    <a:pt x="41" y="84"/>
                  </a:cubicBezTo>
                  <a:cubicBezTo>
                    <a:pt x="64" y="84"/>
                    <a:pt x="83" y="65"/>
                    <a:pt x="83" y="42"/>
                  </a:cubicBezTo>
                  <a:cubicBezTo>
                    <a:pt x="83" y="19"/>
                    <a:pt x="64" y="0"/>
                    <a:pt x="41" y="0"/>
                  </a:cubicBezTo>
                  <a:close/>
                  <a:moveTo>
                    <a:pt x="41" y="72"/>
                  </a:moveTo>
                  <a:cubicBezTo>
                    <a:pt x="25" y="72"/>
                    <a:pt x="12" y="58"/>
                    <a:pt x="12" y="42"/>
                  </a:cubicBezTo>
                  <a:cubicBezTo>
                    <a:pt x="12" y="26"/>
                    <a:pt x="25" y="13"/>
                    <a:pt x="41" y="13"/>
                  </a:cubicBezTo>
                  <a:cubicBezTo>
                    <a:pt x="58" y="13"/>
                    <a:pt x="71" y="26"/>
                    <a:pt x="71" y="42"/>
                  </a:cubicBezTo>
                  <a:cubicBezTo>
                    <a:pt x="71" y="58"/>
                    <a:pt x="58" y="72"/>
                    <a:pt x="41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19" name="Oval 405"/>
            <p:cNvSpPr>
              <a:spLocks noChangeArrowheads="1"/>
            </p:cNvSpPr>
            <p:nvPr userDrawn="1"/>
          </p:nvSpPr>
          <p:spPr bwMode="auto">
            <a:xfrm>
              <a:off x="2244270" y="4258455"/>
              <a:ext cx="20661" cy="2066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20" name="Freeform 406"/>
            <p:cNvSpPr>
              <a:spLocks noEditPoints="1"/>
            </p:cNvSpPr>
            <p:nvPr userDrawn="1"/>
          </p:nvSpPr>
          <p:spPr bwMode="auto">
            <a:xfrm>
              <a:off x="2191142" y="4250585"/>
              <a:ext cx="37387" cy="36403"/>
            </a:xfrm>
            <a:custGeom>
              <a:avLst/>
              <a:gdLst>
                <a:gd name="T0" fmla="*/ 42 w 84"/>
                <a:gd name="T1" fmla="*/ 0 h 84"/>
                <a:gd name="T2" fmla="*/ 0 w 84"/>
                <a:gd name="T3" fmla="*/ 42 h 84"/>
                <a:gd name="T4" fmla="*/ 42 w 84"/>
                <a:gd name="T5" fmla="*/ 84 h 84"/>
                <a:gd name="T6" fmla="*/ 84 w 84"/>
                <a:gd name="T7" fmla="*/ 42 h 84"/>
                <a:gd name="T8" fmla="*/ 42 w 84"/>
                <a:gd name="T9" fmla="*/ 0 h 84"/>
                <a:gd name="T10" fmla="*/ 42 w 84"/>
                <a:gd name="T11" fmla="*/ 72 h 84"/>
                <a:gd name="T12" fmla="*/ 12 w 84"/>
                <a:gd name="T13" fmla="*/ 42 h 84"/>
                <a:gd name="T14" fmla="*/ 42 w 84"/>
                <a:gd name="T15" fmla="*/ 13 h 84"/>
                <a:gd name="T16" fmla="*/ 71 w 84"/>
                <a:gd name="T17" fmla="*/ 42 h 84"/>
                <a:gd name="T18" fmla="*/ 42 w 84"/>
                <a:gd name="T19" fmla="*/ 7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65"/>
                    <a:pt x="19" y="84"/>
                    <a:pt x="42" y="84"/>
                  </a:cubicBezTo>
                  <a:cubicBezTo>
                    <a:pt x="65" y="84"/>
                    <a:pt x="84" y="65"/>
                    <a:pt x="84" y="42"/>
                  </a:cubicBezTo>
                  <a:cubicBezTo>
                    <a:pt x="84" y="19"/>
                    <a:pt x="65" y="0"/>
                    <a:pt x="42" y="0"/>
                  </a:cubicBezTo>
                  <a:close/>
                  <a:moveTo>
                    <a:pt x="42" y="72"/>
                  </a:moveTo>
                  <a:cubicBezTo>
                    <a:pt x="25" y="72"/>
                    <a:pt x="12" y="58"/>
                    <a:pt x="12" y="42"/>
                  </a:cubicBezTo>
                  <a:cubicBezTo>
                    <a:pt x="12" y="26"/>
                    <a:pt x="25" y="13"/>
                    <a:pt x="42" y="13"/>
                  </a:cubicBezTo>
                  <a:cubicBezTo>
                    <a:pt x="58" y="13"/>
                    <a:pt x="71" y="26"/>
                    <a:pt x="71" y="42"/>
                  </a:cubicBezTo>
                  <a:cubicBezTo>
                    <a:pt x="71" y="58"/>
                    <a:pt x="58" y="72"/>
                    <a:pt x="42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21" name="Oval 407"/>
            <p:cNvSpPr>
              <a:spLocks noChangeArrowheads="1"/>
            </p:cNvSpPr>
            <p:nvPr userDrawn="1"/>
          </p:nvSpPr>
          <p:spPr bwMode="auto">
            <a:xfrm>
              <a:off x="2199013" y="4258455"/>
              <a:ext cx="21645" cy="2066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22" name="Freeform 408"/>
            <p:cNvSpPr>
              <a:spLocks/>
            </p:cNvSpPr>
            <p:nvPr userDrawn="1"/>
          </p:nvSpPr>
          <p:spPr bwMode="auto">
            <a:xfrm>
              <a:off x="2214755" y="4109893"/>
              <a:ext cx="328608" cy="25580"/>
            </a:xfrm>
            <a:custGeom>
              <a:avLst/>
              <a:gdLst>
                <a:gd name="T0" fmla="*/ 732 w 752"/>
                <a:gd name="T1" fmla="*/ 43 h 58"/>
                <a:gd name="T2" fmla="*/ 710 w 752"/>
                <a:gd name="T3" fmla="*/ 22 h 58"/>
                <a:gd name="T4" fmla="*/ 698 w 752"/>
                <a:gd name="T5" fmla="*/ 26 h 58"/>
                <a:gd name="T6" fmla="*/ 698 w 752"/>
                <a:gd name="T7" fmla="*/ 22 h 58"/>
                <a:gd name="T8" fmla="*/ 675 w 752"/>
                <a:gd name="T9" fmla="*/ 0 h 58"/>
                <a:gd name="T10" fmla="*/ 659 w 752"/>
                <a:gd name="T11" fmla="*/ 6 h 58"/>
                <a:gd name="T12" fmla="*/ 643 w 752"/>
                <a:gd name="T13" fmla="*/ 0 h 58"/>
                <a:gd name="T14" fmla="*/ 627 w 752"/>
                <a:gd name="T15" fmla="*/ 6 h 58"/>
                <a:gd name="T16" fmla="*/ 611 w 752"/>
                <a:gd name="T17" fmla="*/ 0 h 58"/>
                <a:gd name="T18" fmla="*/ 595 w 752"/>
                <a:gd name="T19" fmla="*/ 6 h 58"/>
                <a:gd name="T20" fmla="*/ 579 w 752"/>
                <a:gd name="T21" fmla="*/ 0 h 58"/>
                <a:gd name="T22" fmla="*/ 563 w 752"/>
                <a:gd name="T23" fmla="*/ 6 h 58"/>
                <a:gd name="T24" fmla="*/ 546 w 752"/>
                <a:gd name="T25" fmla="*/ 0 h 58"/>
                <a:gd name="T26" fmla="*/ 530 w 752"/>
                <a:gd name="T27" fmla="*/ 6 h 58"/>
                <a:gd name="T28" fmla="*/ 514 w 752"/>
                <a:gd name="T29" fmla="*/ 0 h 58"/>
                <a:gd name="T30" fmla="*/ 498 w 752"/>
                <a:gd name="T31" fmla="*/ 6 h 58"/>
                <a:gd name="T32" fmla="*/ 482 w 752"/>
                <a:gd name="T33" fmla="*/ 0 h 58"/>
                <a:gd name="T34" fmla="*/ 466 w 752"/>
                <a:gd name="T35" fmla="*/ 6 h 58"/>
                <a:gd name="T36" fmla="*/ 450 w 752"/>
                <a:gd name="T37" fmla="*/ 0 h 58"/>
                <a:gd name="T38" fmla="*/ 434 w 752"/>
                <a:gd name="T39" fmla="*/ 6 h 58"/>
                <a:gd name="T40" fmla="*/ 417 w 752"/>
                <a:gd name="T41" fmla="*/ 0 h 58"/>
                <a:gd name="T42" fmla="*/ 401 w 752"/>
                <a:gd name="T43" fmla="*/ 6 h 58"/>
                <a:gd name="T44" fmla="*/ 385 w 752"/>
                <a:gd name="T45" fmla="*/ 0 h 58"/>
                <a:gd name="T46" fmla="*/ 369 w 752"/>
                <a:gd name="T47" fmla="*/ 6 h 58"/>
                <a:gd name="T48" fmla="*/ 353 w 752"/>
                <a:gd name="T49" fmla="*/ 0 h 58"/>
                <a:gd name="T50" fmla="*/ 337 w 752"/>
                <a:gd name="T51" fmla="*/ 6 h 58"/>
                <a:gd name="T52" fmla="*/ 321 w 752"/>
                <a:gd name="T53" fmla="*/ 0 h 58"/>
                <a:gd name="T54" fmla="*/ 305 w 752"/>
                <a:gd name="T55" fmla="*/ 6 h 58"/>
                <a:gd name="T56" fmla="*/ 288 w 752"/>
                <a:gd name="T57" fmla="*/ 0 h 58"/>
                <a:gd name="T58" fmla="*/ 272 w 752"/>
                <a:gd name="T59" fmla="*/ 6 h 58"/>
                <a:gd name="T60" fmla="*/ 256 w 752"/>
                <a:gd name="T61" fmla="*/ 0 h 58"/>
                <a:gd name="T62" fmla="*/ 240 w 752"/>
                <a:gd name="T63" fmla="*/ 6 h 58"/>
                <a:gd name="T64" fmla="*/ 224 w 752"/>
                <a:gd name="T65" fmla="*/ 0 h 58"/>
                <a:gd name="T66" fmla="*/ 208 w 752"/>
                <a:gd name="T67" fmla="*/ 6 h 58"/>
                <a:gd name="T68" fmla="*/ 192 w 752"/>
                <a:gd name="T69" fmla="*/ 0 h 58"/>
                <a:gd name="T70" fmla="*/ 176 w 752"/>
                <a:gd name="T71" fmla="*/ 6 h 58"/>
                <a:gd name="T72" fmla="*/ 159 w 752"/>
                <a:gd name="T73" fmla="*/ 0 h 58"/>
                <a:gd name="T74" fmla="*/ 143 w 752"/>
                <a:gd name="T75" fmla="*/ 6 h 58"/>
                <a:gd name="T76" fmla="*/ 127 w 752"/>
                <a:gd name="T77" fmla="*/ 0 h 58"/>
                <a:gd name="T78" fmla="*/ 111 w 752"/>
                <a:gd name="T79" fmla="*/ 6 h 58"/>
                <a:gd name="T80" fmla="*/ 95 w 752"/>
                <a:gd name="T81" fmla="*/ 0 h 58"/>
                <a:gd name="T82" fmla="*/ 79 w 752"/>
                <a:gd name="T83" fmla="*/ 6 h 58"/>
                <a:gd name="T84" fmla="*/ 63 w 752"/>
                <a:gd name="T85" fmla="*/ 0 h 58"/>
                <a:gd name="T86" fmla="*/ 40 w 752"/>
                <a:gd name="T87" fmla="*/ 22 h 58"/>
                <a:gd name="T88" fmla="*/ 40 w 752"/>
                <a:gd name="T89" fmla="*/ 24 h 58"/>
                <a:gd name="T90" fmla="*/ 32 w 752"/>
                <a:gd name="T91" fmla="*/ 22 h 58"/>
                <a:gd name="T92" fmla="*/ 10 w 752"/>
                <a:gd name="T93" fmla="*/ 45 h 58"/>
                <a:gd name="T94" fmla="*/ 10 w 752"/>
                <a:gd name="T95" fmla="*/ 46 h 58"/>
                <a:gd name="T96" fmla="*/ 0 w 752"/>
                <a:gd name="T97" fmla="*/ 58 h 58"/>
                <a:gd name="T98" fmla="*/ 752 w 752"/>
                <a:gd name="T99" fmla="*/ 58 h 58"/>
                <a:gd name="T100" fmla="*/ 732 w 752"/>
                <a:gd name="T101" fmla="*/ 43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752" h="58">
                  <a:moveTo>
                    <a:pt x="732" y="43"/>
                  </a:moveTo>
                  <a:cubicBezTo>
                    <a:pt x="731" y="32"/>
                    <a:pt x="721" y="22"/>
                    <a:pt x="710" y="22"/>
                  </a:cubicBezTo>
                  <a:cubicBezTo>
                    <a:pt x="705" y="22"/>
                    <a:pt x="701" y="24"/>
                    <a:pt x="698" y="26"/>
                  </a:cubicBezTo>
                  <a:cubicBezTo>
                    <a:pt x="698" y="25"/>
                    <a:pt x="698" y="23"/>
                    <a:pt x="698" y="22"/>
                  </a:cubicBezTo>
                  <a:cubicBezTo>
                    <a:pt x="698" y="10"/>
                    <a:pt x="688" y="0"/>
                    <a:pt x="675" y="0"/>
                  </a:cubicBezTo>
                  <a:cubicBezTo>
                    <a:pt x="669" y="0"/>
                    <a:pt x="663" y="2"/>
                    <a:pt x="659" y="6"/>
                  </a:cubicBezTo>
                  <a:cubicBezTo>
                    <a:pt x="655" y="2"/>
                    <a:pt x="649" y="0"/>
                    <a:pt x="643" y="0"/>
                  </a:cubicBezTo>
                  <a:cubicBezTo>
                    <a:pt x="637" y="0"/>
                    <a:pt x="631" y="2"/>
                    <a:pt x="627" y="6"/>
                  </a:cubicBezTo>
                  <a:cubicBezTo>
                    <a:pt x="623" y="2"/>
                    <a:pt x="617" y="0"/>
                    <a:pt x="611" y="0"/>
                  </a:cubicBezTo>
                  <a:cubicBezTo>
                    <a:pt x="605" y="0"/>
                    <a:pt x="599" y="2"/>
                    <a:pt x="595" y="6"/>
                  </a:cubicBezTo>
                  <a:cubicBezTo>
                    <a:pt x="591" y="2"/>
                    <a:pt x="585" y="0"/>
                    <a:pt x="579" y="0"/>
                  </a:cubicBezTo>
                  <a:cubicBezTo>
                    <a:pt x="572" y="0"/>
                    <a:pt x="567" y="2"/>
                    <a:pt x="563" y="6"/>
                  </a:cubicBezTo>
                  <a:cubicBezTo>
                    <a:pt x="558" y="2"/>
                    <a:pt x="553" y="0"/>
                    <a:pt x="546" y="0"/>
                  </a:cubicBezTo>
                  <a:cubicBezTo>
                    <a:pt x="540" y="0"/>
                    <a:pt x="534" y="2"/>
                    <a:pt x="530" y="6"/>
                  </a:cubicBezTo>
                  <a:cubicBezTo>
                    <a:pt x="526" y="2"/>
                    <a:pt x="520" y="0"/>
                    <a:pt x="514" y="0"/>
                  </a:cubicBezTo>
                  <a:cubicBezTo>
                    <a:pt x="508" y="0"/>
                    <a:pt x="502" y="2"/>
                    <a:pt x="498" y="6"/>
                  </a:cubicBezTo>
                  <a:cubicBezTo>
                    <a:pt x="494" y="2"/>
                    <a:pt x="488" y="0"/>
                    <a:pt x="482" y="0"/>
                  </a:cubicBezTo>
                  <a:cubicBezTo>
                    <a:pt x="476" y="0"/>
                    <a:pt x="470" y="2"/>
                    <a:pt x="466" y="6"/>
                  </a:cubicBezTo>
                  <a:cubicBezTo>
                    <a:pt x="462" y="2"/>
                    <a:pt x="456" y="0"/>
                    <a:pt x="450" y="0"/>
                  </a:cubicBezTo>
                  <a:cubicBezTo>
                    <a:pt x="443" y="0"/>
                    <a:pt x="438" y="2"/>
                    <a:pt x="434" y="6"/>
                  </a:cubicBezTo>
                  <a:cubicBezTo>
                    <a:pt x="429" y="2"/>
                    <a:pt x="424" y="0"/>
                    <a:pt x="417" y="0"/>
                  </a:cubicBezTo>
                  <a:cubicBezTo>
                    <a:pt x="411" y="0"/>
                    <a:pt x="405" y="2"/>
                    <a:pt x="401" y="6"/>
                  </a:cubicBezTo>
                  <a:cubicBezTo>
                    <a:pt x="397" y="2"/>
                    <a:pt x="391" y="0"/>
                    <a:pt x="385" y="0"/>
                  </a:cubicBezTo>
                  <a:cubicBezTo>
                    <a:pt x="379" y="0"/>
                    <a:pt x="373" y="2"/>
                    <a:pt x="369" y="6"/>
                  </a:cubicBezTo>
                  <a:cubicBezTo>
                    <a:pt x="365" y="2"/>
                    <a:pt x="359" y="0"/>
                    <a:pt x="353" y="0"/>
                  </a:cubicBezTo>
                  <a:cubicBezTo>
                    <a:pt x="347" y="0"/>
                    <a:pt x="341" y="2"/>
                    <a:pt x="337" y="6"/>
                  </a:cubicBezTo>
                  <a:cubicBezTo>
                    <a:pt x="333" y="2"/>
                    <a:pt x="327" y="0"/>
                    <a:pt x="321" y="0"/>
                  </a:cubicBezTo>
                  <a:cubicBezTo>
                    <a:pt x="314" y="0"/>
                    <a:pt x="309" y="2"/>
                    <a:pt x="305" y="6"/>
                  </a:cubicBezTo>
                  <a:cubicBezTo>
                    <a:pt x="300" y="2"/>
                    <a:pt x="295" y="0"/>
                    <a:pt x="288" y="0"/>
                  </a:cubicBezTo>
                  <a:cubicBezTo>
                    <a:pt x="282" y="0"/>
                    <a:pt x="276" y="2"/>
                    <a:pt x="272" y="6"/>
                  </a:cubicBezTo>
                  <a:cubicBezTo>
                    <a:pt x="268" y="2"/>
                    <a:pt x="263" y="0"/>
                    <a:pt x="256" y="0"/>
                  </a:cubicBezTo>
                  <a:cubicBezTo>
                    <a:pt x="250" y="0"/>
                    <a:pt x="244" y="2"/>
                    <a:pt x="240" y="6"/>
                  </a:cubicBezTo>
                  <a:cubicBezTo>
                    <a:pt x="236" y="2"/>
                    <a:pt x="230" y="0"/>
                    <a:pt x="224" y="0"/>
                  </a:cubicBezTo>
                  <a:cubicBezTo>
                    <a:pt x="218" y="0"/>
                    <a:pt x="212" y="2"/>
                    <a:pt x="208" y="6"/>
                  </a:cubicBezTo>
                  <a:cubicBezTo>
                    <a:pt x="204" y="2"/>
                    <a:pt x="198" y="0"/>
                    <a:pt x="192" y="0"/>
                  </a:cubicBezTo>
                  <a:cubicBezTo>
                    <a:pt x="185" y="0"/>
                    <a:pt x="180" y="2"/>
                    <a:pt x="176" y="6"/>
                  </a:cubicBezTo>
                  <a:cubicBezTo>
                    <a:pt x="171" y="2"/>
                    <a:pt x="166" y="0"/>
                    <a:pt x="159" y="0"/>
                  </a:cubicBezTo>
                  <a:cubicBezTo>
                    <a:pt x="153" y="0"/>
                    <a:pt x="147" y="2"/>
                    <a:pt x="143" y="6"/>
                  </a:cubicBezTo>
                  <a:cubicBezTo>
                    <a:pt x="139" y="2"/>
                    <a:pt x="134" y="0"/>
                    <a:pt x="127" y="0"/>
                  </a:cubicBezTo>
                  <a:cubicBezTo>
                    <a:pt x="121" y="0"/>
                    <a:pt x="115" y="2"/>
                    <a:pt x="111" y="6"/>
                  </a:cubicBezTo>
                  <a:cubicBezTo>
                    <a:pt x="107" y="2"/>
                    <a:pt x="101" y="0"/>
                    <a:pt x="95" y="0"/>
                  </a:cubicBezTo>
                  <a:cubicBezTo>
                    <a:pt x="89" y="0"/>
                    <a:pt x="83" y="2"/>
                    <a:pt x="79" y="6"/>
                  </a:cubicBezTo>
                  <a:cubicBezTo>
                    <a:pt x="75" y="2"/>
                    <a:pt x="69" y="0"/>
                    <a:pt x="63" y="0"/>
                  </a:cubicBezTo>
                  <a:cubicBezTo>
                    <a:pt x="50" y="0"/>
                    <a:pt x="40" y="10"/>
                    <a:pt x="40" y="22"/>
                  </a:cubicBezTo>
                  <a:cubicBezTo>
                    <a:pt x="40" y="23"/>
                    <a:pt x="40" y="23"/>
                    <a:pt x="40" y="24"/>
                  </a:cubicBezTo>
                  <a:cubicBezTo>
                    <a:pt x="38" y="23"/>
                    <a:pt x="35" y="22"/>
                    <a:pt x="32" y="22"/>
                  </a:cubicBezTo>
                  <a:cubicBezTo>
                    <a:pt x="20" y="22"/>
                    <a:pt x="10" y="33"/>
                    <a:pt x="10" y="45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5" y="49"/>
                    <a:pt x="2" y="53"/>
                    <a:pt x="0" y="58"/>
                  </a:cubicBezTo>
                  <a:cubicBezTo>
                    <a:pt x="752" y="58"/>
                    <a:pt x="752" y="58"/>
                    <a:pt x="752" y="58"/>
                  </a:cubicBezTo>
                  <a:cubicBezTo>
                    <a:pt x="749" y="50"/>
                    <a:pt x="741" y="44"/>
                    <a:pt x="732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23" name="Freeform 409"/>
            <p:cNvSpPr>
              <a:spLocks/>
            </p:cNvSpPr>
            <p:nvPr userDrawn="1"/>
          </p:nvSpPr>
          <p:spPr bwMode="auto">
            <a:xfrm>
              <a:off x="2517783" y="4138425"/>
              <a:ext cx="40338" cy="52145"/>
            </a:xfrm>
            <a:custGeom>
              <a:avLst/>
              <a:gdLst>
                <a:gd name="T0" fmla="*/ 0 w 41"/>
                <a:gd name="T1" fmla="*/ 53 h 53"/>
                <a:gd name="T2" fmla="*/ 41 w 41"/>
                <a:gd name="T3" fmla="*/ 9 h 53"/>
                <a:gd name="T4" fmla="*/ 41 w 41"/>
                <a:gd name="T5" fmla="*/ 0 h 53"/>
                <a:gd name="T6" fmla="*/ 0 w 41"/>
                <a:gd name="T7" fmla="*/ 0 h 53"/>
                <a:gd name="T8" fmla="*/ 0 w 41"/>
                <a:gd name="T9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53">
                  <a:moveTo>
                    <a:pt x="0" y="53"/>
                  </a:moveTo>
                  <a:lnTo>
                    <a:pt x="41" y="9"/>
                  </a:lnTo>
                  <a:lnTo>
                    <a:pt x="41" y="0"/>
                  </a:lnTo>
                  <a:lnTo>
                    <a:pt x="0" y="0"/>
                  </a:lnTo>
                  <a:lnTo>
                    <a:pt x="0" y="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24" name="Freeform 410"/>
            <p:cNvSpPr>
              <a:spLocks/>
            </p:cNvSpPr>
            <p:nvPr userDrawn="1"/>
          </p:nvSpPr>
          <p:spPr bwMode="auto">
            <a:xfrm>
              <a:off x="2182287" y="4138425"/>
              <a:ext cx="44274" cy="56080"/>
            </a:xfrm>
            <a:custGeom>
              <a:avLst/>
              <a:gdLst>
                <a:gd name="T0" fmla="*/ 45 w 45"/>
                <a:gd name="T1" fmla="*/ 57 h 57"/>
                <a:gd name="T2" fmla="*/ 45 w 45"/>
                <a:gd name="T3" fmla="*/ 0 h 57"/>
                <a:gd name="T4" fmla="*/ 0 w 45"/>
                <a:gd name="T5" fmla="*/ 0 h 57"/>
                <a:gd name="T6" fmla="*/ 1 w 45"/>
                <a:gd name="T7" fmla="*/ 9 h 57"/>
                <a:gd name="T8" fmla="*/ 45 w 45"/>
                <a:gd name="T9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57">
                  <a:moveTo>
                    <a:pt x="45" y="57"/>
                  </a:moveTo>
                  <a:lnTo>
                    <a:pt x="45" y="0"/>
                  </a:lnTo>
                  <a:lnTo>
                    <a:pt x="0" y="0"/>
                  </a:lnTo>
                  <a:lnTo>
                    <a:pt x="1" y="9"/>
                  </a:lnTo>
                  <a:lnTo>
                    <a:pt x="45" y="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25" name="Rectangle 411"/>
            <p:cNvSpPr>
              <a:spLocks noChangeArrowheads="1"/>
            </p:cNvSpPr>
            <p:nvPr userDrawn="1"/>
          </p:nvSpPr>
          <p:spPr bwMode="auto">
            <a:xfrm>
              <a:off x="2394801" y="4138425"/>
              <a:ext cx="37387" cy="8067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26" name="Freeform 412"/>
            <p:cNvSpPr>
              <a:spLocks/>
            </p:cNvSpPr>
            <p:nvPr userDrawn="1"/>
          </p:nvSpPr>
          <p:spPr bwMode="auto">
            <a:xfrm>
              <a:off x="2476461" y="4138425"/>
              <a:ext cx="37387" cy="80676"/>
            </a:xfrm>
            <a:custGeom>
              <a:avLst/>
              <a:gdLst>
                <a:gd name="T0" fmla="*/ 16 w 38"/>
                <a:gd name="T1" fmla="*/ 82 h 82"/>
                <a:gd name="T2" fmla="*/ 38 w 38"/>
                <a:gd name="T3" fmla="*/ 57 h 82"/>
                <a:gd name="T4" fmla="*/ 38 w 38"/>
                <a:gd name="T5" fmla="*/ 0 h 82"/>
                <a:gd name="T6" fmla="*/ 0 w 38"/>
                <a:gd name="T7" fmla="*/ 0 h 82"/>
                <a:gd name="T8" fmla="*/ 0 w 38"/>
                <a:gd name="T9" fmla="*/ 82 h 82"/>
                <a:gd name="T10" fmla="*/ 16 w 38"/>
                <a:gd name="T11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" h="82">
                  <a:moveTo>
                    <a:pt x="16" y="82"/>
                  </a:moveTo>
                  <a:lnTo>
                    <a:pt x="38" y="57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82"/>
                  </a:lnTo>
                  <a:lnTo>
                    <a:pt x="16" y="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27" name="Freeform 413"/>
            <p:cNvSpPr>
              <a:spLocks/>
            </p:cNvSpPr>
            <p:nvPr userDrawn="1"/>
          </p:nvSpPr>
          <p:spPr bwMode="auto">
            <a:xfrm>
              <a:off x="2353479" y="4138425"/>
              <a:ext cx="37387" cy="80676"/>
            </a:xfrm>
            <a:custGeom>
              <a:avLst/>
              <a:gdLst>
                <a:gd name="T0" fmla="*/ 0 w 38"/>
                <a:gd name="T1" fmla="*/ 82 h 82"/>
                <a:gd name="T2" fmla="*/ 38 w 38"/>
                <a:gd name="T3" fmla="*/ 82 h 82"/>
                <a:gd name="T4" fmla="*/ 38 w 38"/>
                <a:gd name="T5" fmla="*/ 0 h 82"/>
                <a:gd name="T6" fmla="*/ 18 w 38"/>
                <a:gd name="T7" fmla="*/ 0 h 82"/>
                <a:gd name="T8" fmla="*/ 0 w 38"/>
                <a:gd name="T9" fmla="*/ 0 h 82"/>
                <a:gd name="T10" fmla="*/ 0 w 38"/>
                <a:gd name="T11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" h="82">
                  <a:moveTo>
                    <a:pt x="0" y="82"/>
                  </a:moveTo>
                  <a:lnTo>
                    <a:pt x="38" y="82"/>
                  </a:lnTo>
                  <a:lnTo>
                    <a:pt x="38" y="0"/>
                  </a:lnTo>
                  <a:lnTo>
                    <a:pt x="18" y="0"/>
                  </a:lnTo>
                  <a:lnTo>
                    <a:pt x="0" y="0"/>
                  </a:lnTo>
                  <a:lnTo>
                    <a:pt x="0" y="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28" name="Rectangle 414"/>
            <p:cNvSpPr>
              <a:spLocks noChangeArrowheads="1"/>
            </p:cNvSpPr>
            <p:nvPr userDrawn="1"/>
          </p:nvSpPr>
          <p:spPr bwMode="auto">
            <a:xfrm>
              <a:off x="2436123" y="4138425"/>
              <a:ext cx="36403" cy="8067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29" name="Freeform 415"/>
            <p:cNvSpPr>
              <a:spLocks/>
            </p:cNvSpPr>
            <p:nvPr userDrawn="1"/>
          </p:nvSpPr>
          <p:spPr bwMode="auto">
            <a:xfrm>
              <a:off x="2149820" y="4213198"/>
              <a:ext cx="444704" cy="48209"/>
            </a:xfrm>
            <a:custGeom>
              <a:avLst/>
              <a:gdLst>
                <a:gd name="T0" fmla="*/ 996 w 1015"/>
                <a:gd name="T1" fmla="*/ 40 h 111"/>
                <a:gd name="T2" fmla="*/ 980 w 1015"/>
                <a:gd name="T3" fmla="*/ 57 h 111"/>
                <a:gd name="T4" fmla="*/ 951 w 1015"/>
                <a:gd name="T5" fmla="*/ 57 h 111"/>
                <a:gd name="T6" fmla="*/ 958 w 1015"/>
                <a:gd name="T7" fmla="*/ 31 h 111"/>
                <a:gd name="T8" fmla="*/ 930 w 1015"/>
                <a:gd name="T9" fmla="*/ 31 h 111"/>
                <a:gd name="T10" fmla="*/ 932 w 1015"/>
                <a:gd name="T11" fmla="*/ 21 h 111"/>
                <a:gd name="T12" fmla="*/ 911 w 1015"/>
                <a:gd name="T13" fmla="*/ 0 h 111"/>
                <a:gd name="T14" fmla="*/ 863 w 1015"/>
                <a:gd name="T15" fmla="*/ 0 h 111"/>
                <a:gd name="T16" fmla="*/ 840 w 1015"/>
                <a:gd name="T17" fmla="*/ 0 h 111"/>
                <a:gd name="T18" fmla="*/ 831 w 1015"/>
                <a:gd name="T19" fmla="*/ 0 h 111"/>
                <a:gd name="T20" fmla="*/ 814 w 1015"/>
                <a:gd name="T21" fmla="*/ 0 h 111"/>
                <a:gd name="T22" fmla="*/ 793 w 1015"/>
                <a:gd name="T23" fmla="*/ 21 h 111"/>
                <a:gd name="T24" fmla="*/ 795 w 1015"/>
                <a:gd name="T25" fmla="*/ 31 h 111"/>
                <a:gd name="T26" fmla="*/ 765 w 1015"/>
                <a:gd name="T27" fmla="*/ 31 h 111"/>
                <a:gd name="T28" fmla="*/ 771 w 1015"/>
                <a:gd name="T29" fmla="*/ 24 h 111"/>
                <a:gd name="T30" fmla="*/ 237 w 1015"/>
                <a:gd name="T31" fmla="*/ 24 h 111"/>
                <a:gd name="T32" fmla="*/ 242 w 1015"/>
                <a:gd name="T33" fmla="*/ 31 h 111"/>
                <a:gd name="T34" fmla="*/ 212 w 1015"/>
                <a:gd name="T35" fmla="*/ 31 h 111"/>
                <a:gd name="T36" fmla="*/ 214 w 1015"/>
                <a:gd name="T37" fmla="*/ 21 h 111"/>
                <a:gd name="T38" fmla="*/ 194 w 1015"/>
                <a:gd name="T39" fmla="*/ 0 h 111"/>
                <a:gd name="T40" fmla="*/ 189 w 1015"/>
                <a:gd name="T41" fmla="*/ 0 h 111"/>
                <a:gd name="T42" fmla="*/ 184 w 1015"/>
                <a:gd name="T43" fmla="*/ 0 h 111"/>
                <a:gd name="T44" fmla="*/ 175 w 1015"/>
                <a:gd name="T45" fmla="*/ 0 h 111"/>
                <a:gd name="T46" fmla="*/ 166 w 1015"/>
                <a:gd name="T47" fmla="*/ 0 h 111"/>
                <a:gd name="T48" fmla="*/ 96 w 1015"/>
                <a:gd name="T49" fmla="*/ 0 h 111"/>
                <a:gd name="T50" fmla="*/ 75 w 1015"/>
                <a:gd name="T51" fmla="*/ 21 h 111"/>
                <a:gd name="T52" fmla="*/ 78 w 1015"/>
                <a:gd name="T53" fmla="*/ 31 h 111"/>
                <a:gd name="T54" fmla="*/ 49 w 1015"/>
                <a:gd name="T55" fmla="*/ 31 h 111"/>
                <a:gd name="T56" fmla="*/ 54 w 1015"/>
                <a:gd name="T57" fmla="*/ 48 h 111"/>
                <a:gd name="T58" fmla="*/ 36 w 1015"/>
                <a:gd name="T59" fmla="*/ 48 h 111"/>
                <a:gd name="T60" fmla="*/ 19 w 1015"/>
                <a:gd name="T61" fmla="*/ 28 h 111"/>
                <a:gd name="T62" fmla="*/ 0 w 1015"/>
                <a:gd name="T63" fmla="*/ 62 h 111"/>
                <a:gd name="T64" fmla="*/ 19 w 1015"/>
                <a:gd name="T65" fmla="*/ 95 h 111"/>
                <a:gd name="T66" fmla="*/ 36 w 1015"/>
                <a:gd name="T67" fmla="*/ 76 h 111"/>
                <a:gd name="T68" fmla="*/ 64 w 1015"/>
                <a:gd name="T69" fmla="*/ 76 h 111"/>
                <a:gd name="T70" fmla="*/ 87 w 1015"/>
                <a:gd name="T71" fmla="*/ 100 h 111"/>
                <a:gd name="T72" fmla="*/ 136 w 1015"/>
                <a:gd name="T73" fmla="*/ 72 h 111"/>
                <a:gd name="T74" fmla="*/ 187 w 1015"/>
                <a:gd name="T75" fmla="*/ 107 h 111"/>
                <a:gd name="T76" fmla="*/ 238 w 1015"/>
                <a:gd name="T77" fmla="*/ 72 h 111"/>
                <a:gd name="T78" fmla="*/ 290 w 1015"/>
                <a:gd name="T79" fmla="*/ 107 h 111"/>
                <a:gd name="T80" fmla="*/ 341 w 1015"/>
                <a:gd name="T81" fmla="*/ 72 h 111"/>
                <a:gd name="T82" fmla="*/ 392 w 1015"/>
                <a:gd name="T83" fmla="*/ 104 h 111"/>
                <a:gd name="T84" fmla="*/ 435 w 1015"/>
                <a:gd name="T85" fmla="*/ 71 h 111"/>
                <a:gd name="T86" fmla="*/ 504 w 1015"/>
                <a:gd name="T87" fmla="*/ 71 h 111"/>
                <a:gd name="T88" fmla="*/ 572 w 1015"/>
                <a:gd name="T89" fmla="*/ 71 h 111"/>
                <a:gd name="T90" fmla="*/ 588 w 1015"/>
                <a:gd name="T91" fmla="*/ 83 h 111"/>
                <a:gd name="T92" fmla="*/ 621 w 1015"/>
                <a:gd name="T93" fmla="*/ 72 h 111"/>
                <a:gd name="T94" fmla="*/ 673 w 1015"/>
                <a:gd name="T95" fmla="*/ 107 h 111"/>
                <a:gd name="T96" fmla="*/ 724 w 1015"/>
                <a:gd name="T97" fmla="*/ 72 h 111"/>
                <a:gd name="T98" fmla="*/ 775 w 1015"/>
                <a:gd name="T99" fmla="*/ 107 h 111"/>
                <a:gd name="T100" fmla="*/ 827 w 1015"/>
                <a:gd name="T101" fmla="*/ 72 h 111"/>
                <a:gd name="T102" fmla="*/ 880 w 1015"/>
                <a:gd name="T103" fmla="*/ 111 h 111"/>
                <a:gd name="T104" fmla="*/ 910 w 1015"/>
                <a:gd name="T105" fmla="*/ 111 h 111"/>
                <a:gd name="T106" fmla="*/ 934 w 1015"/>
                <a:gd name="T107" fmla="*/ 85 h 111"/>
                <a:gd name="T108" fmla="*/ 980 w 1015"/>
                <a:gd name="T109" fmla="*/ 85 h 111"/>
                <a:gd name="T110" fmla="*/ 996 w 1015"/>
                <a:gd name="T111" fmla="*/ 102 h 111"/>
                <a:gd name="T112" fmla="*/ 1015 w 1015"/>
                <a:gd name="T113" fmla="*/ 71 h 111"/>
                <a:gd name="T114" fmla="*/ 996 w 1015"/>
                <a:gd name="T115" fmla="*/ 4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015" h="111">
                  <a:moveTo>
                    <a:pt x="996" y="40"/>
                  </a:moveTo>
                  <a:cubicBezTo>
                    <a:pt x="989" y="40"/>
                    <a:pt x="983" y="47"/>
                    <a:pt x="980" y="57"/>
                  </a:cubicBezTo>
                  <a:cubicBezTo>
                    <a:pt x="951" y="57"/>
                    <a:pt x="951" y="57"/>
                    <a:pt x="951" y="57"/>
                  </a:cubicBezTo>
                  <a:cubicBezTo>
                    <a:pt x="954" y="48"/>
                    <a:pt x="956" y="39"/>
                    <a:pt x="958" y="31"/>
                  </a:cubicBezTo>
                  <a:cubicBezTo>
                    <a:pt x="930" y="31"/>
                    <a:pt x="930" y="31"/>
                    <a:pt x="930" y="31"/>
                  </a:cubicBezTo>
                  <a:cubicBezTo>
                    <a:pt x="931" y="28"/>
                    <a:pt x="932" y="25"/>
                    <a:pt x="932" y="21"/>
                  </a:cubicBezTo>
                  <a:cubicBezTo>
                    <a:pt x="932" y="10"/>
                    <a:pt x="923" y="0"/>
                    <a:pt x="911" y="0"/>
                  </a:cubicBezTo>
                  <a:cubicBezTo>
                    <a:pt x="863" y="0"/>
                    <a:pt x="863" y="0"/>
                    <a:pt x="863" y="0"/>
                  </a:cubicBezTo>
                  <a:cubicBezTo>
                    <a:pt x="840" y="0"/>
                    <a:pt x="840" y="0"/>
                    <a:pt x="840" y="0"/>
                  </a:cubicBezTo>
                  <a:cubicBezTo>
                    <a:pt x="831" y="0"/>
                    <a:pt x="831" y="0"/>
                    <a:pt x="831" y="0"/>
                  </a:cubicBezTo>
                  <a:cubicBezTo>
                    <a:pt x="814" y="0"/>
                    <a:pt x="814" y="0"/>
                    <a:pt x="814" y="0"/>
                  </a:cubicBezTo>
                  <a:cubicBezTo>
                    <a:pt x="802" y="0"/>
                    <a:pt x="793" y="10"/>
                    <a:pt x="793" y="21"/>
                  </a:cubicBezTo>
                  <a:cubicBezTo>
                    <a:pt x="793" y="25"/>
                    <a:pt x="794" y="28"/>
                    <a:pt x="795" y="31"/>
                  </a:cubicBezTo>
                  <a:cubicBezTo>
                    <a:pt x="765" y="31"/>
                    <a:pt x="765" y="31"/>
                    <a:pt x="765" y="31"/>
                  </a:cubicBezTo>
                  <a:cubicBezTo>
                    <a:pt x="771" y="24"/>
                    <a:pt x="771" y="24"/>
                    <a:pt x="771" y="24"/>
                  </a:cubicBezTo>
                  <a:cubicBezTo>
                    <a:pt x="237" y="24"/>
                    <a:pt x="237" y="24"/>
                    <a:pt x="237" y="24"/>
                  </a:cubicBezTo>
                  <a:cubicBezTo>
                    <a:pt x="242" y="31"/>
                    <a:pt x="242" y="31"/>
                    <a:pt x="242" y="31"/>
                  </a:cubicBezTo>
                  <a:cubicBezTo>
                    <a:pt x="212" y="31"/>
                    <a:pt x="212" y="31"/>
                    <a:pt x="212" y="31"/>
                  </a:cubicBezTo>
                  <a:cubicBezTo>
                    <a:pt x="214" y="28"/>
                    <a:pt x="214" y="25"/>
                    <a:pt x="214" y="21"/>
                  </a:cubicBezTo>
                  <a:cubicBezTo>
                    <a:pt x="214" y="10"/>
                    <a:pt x="205" y="0"/>
                    <a:pt x="194" y="0"/>
                  </a:cubicBezTo>
                  <a:cubicBezTo>
                    <a:pt x="189" y="0"/>
                    <a:pt x="189" y="0"/>
                    <a:pt x="189" y="0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175" y="0"/>
                    <a:pt x="175" y="0"/>
                    <a:pt x="175" y="0"/>
                  </a:cubicBezTo>
                  <a:cubicBezTo>
                    <a:pt x="166" y="0"/>
                    <a:pt x="166" y="0"/>
                    <a:pt x="166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85" y="0"/>
                    <a:pt x="75" y="10"/>
                    <a:pt x="75" y="21"/>
                  </a:cubicBezTo>
                  <a:cubicBezTo>
                    <a:pt x="75" y="25"/>
                    <a:pt x="76" y="28"/>
                    <a:pt x="78" y="31"/>
                  </a:cubicBezTo>
                  <a:cubicBezTo>
                    <a:pt x="49" y="31"/>
                    <a:pt x="49" y="31"/>
                    <a:pt x="49" y="31"/>
                  </a:cubicBezTo>
                  <a:cubicBezTo>
                    <a:pt x="51" y="36"/>
                    <a:pt x="52" y="42"/>
                    <a:pt x="54" y="48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3" y="36"/>
                    <a:pt x="27" y="28"/>
                    <a:pt x="19" y="28"/>
                  </a:cubicBezTo>
                  <a:cubicBezTo>
                    <a:pt x="9" y="28"/>
                    <a:pt x="0" y="43"/>
                    <a:pt x="0" y="62"/>
                  </a:cubicBezTo>
                  <a:cubicBezTo>
                    <a:pt x="0" y="80"/>
                    <a:pt x="9" y="95"/>
                    <a:pt x="19" y="95"/>
                  </a:cubicBezTo>
                  <a:cubicBezTo>
                    <a:pt x="27" y="95"/>
                    <a:pt x="33" y="87"/>
                    <a:pt x="36" y="76"/>
                  </a:cubicBezTo>
                  <a:cubicBezTo>
                    <a:pt x="64" y="76"/>
                    <a:pt x="64" y="76"/>
                    <a:pt x="64" y="76"/>
                  </a:cubicBezTo>
                  <a:cubicBezTo>
                    <a:pt x="87" y="100"/>
                    <a:pt x="87" y="100"/>
                    <a:pt x="87" y="100"/>
                  </a:cubicBezTo>
                  <a:cubicBezTo>
                    <a:pt x="97" y="83"/>
                    <a:pt x="115" y="72"/>
                    <a:pt x="136" y="72"/>
                  </a:cubicBezTo>
                  <a:cubicBezTo>
                    <a:pt x="159" y="72"/>
                    <a:pt x="179" y="86"/>
                    <a:pt x="187" y="107"/>
                  </a:cubicBezTo>
                  <a:cubicBezTo>
                    <a:pt x="195" y="86"/>
                    <a:pt x="215" y="72"/>
                    <a:pt x="238" y="72"/>
                  </a:cubicBezTo>
                  <a:cubicBezTo>
                    <a:pt x="262" y="72"/>
                    <a:pt x="282" y="86"/>
                    <a:pt x="290" y="107"/>
                  </a:cubicBezTo>
                  <a:cubicBezTo>
                    <a:pt x="298" y="86"/>
                    <a:pt x="318" y="72"/>
                    <a:pt x="341" y="72"/>
                  </a:cubicBezTo>
                  <a:cubicBezTo>
                    <a:pt x="364" y="72"/>
                    <a:pt x="383" y="85"/>
                    <a:pt x="392" y="104"/>
                  </a:cubicBezTo>
                  <a:cubicBezTo>
                    <a:pt x="435" y="71"/>
                    <a:pt x="435" y="71"/>
                    <a:pt x="435" y="71"/>
                  </a:cubicBezTo>
                  <a:cubicBezTo>
                    <a:pt x="504" y="71"/>
                    <a:pt x="504" y="71"/>
                    <a:pt x="504" y="71"/>
                  </a:cubicBezTo>
                  <a:cubicBezTo>
                    <a:pt x="572" y="71"/>
                    <a:pt x="572" y="71"/>
                    <a:pt x="572" y="71"/>
                  </a:cubicBezTo>
                  <a:cubicBezTo>
                    <a:pt x="588" y="83"/>
                    <a:pt x="588" y="83"/>
                    <a:pt x="588" y="83"/>
                  </a:cubicBezTo>
                  <a:cubicBezTo>
                    <a:pt x="597" y="76"/>
                    <a:pt x="609" y="72"/>
                    <a:pt x="621" y="72"/>
                  </a:cubicBezTo>
                  <a:cubicBezTo>
                    <a:pt x="645" y="72"/>
                    <a:pt x="665" y="86"/>
                    <a:pt x="673" y="107"/>
                  </a:cubicBezTo>
                  <a:cubicBezTo>
                    <a:pt x="681" y="86"/>
                    <a:pt x="701" y="72"/>
                    <a:pt x="724" y="72"/>
                  </a:cubicBezTo>
                  <a:cubicBezTo>
                    <a:pt x="747" y="72"/>
                    <a:pt x="767" y="86"/>
                    <a:pt x="775" y="107"/>
                  </a:cubicBezTo>
                  <a:cubicBezTo>
                    <a:pt x="784" y="86"/>
                    <a:pt x="803" y="72"/>
                    <a:pt x="827" y="72"/>
                  </a:cubicBezTo>
                  <a:cubicBezTo>
                    <a:pt x="852" y="72"/>
                    <a:pt x="873" y="88"/>
                    <a:pt x="880" y="111"/>
                  </a:cubicBezTo>
                  <a:cubicBezTo>
                    <a:pt x="910" y="111"/>
                    <a:pt x="910" y="111"/>
                    <a:pt x="910" y="111"/>
                  </a:cubicBezTo>
                  <a:cubicBezTo>
                    <a:pt x="934" y="85"/>
                    <a:pt x="934" y="85"/>
                    <a:pt x="934" y="85"/>
                  </a:cubicBezTo>
                  <a:cubicBezTo>
                    <a:pt x="980" y="85"/>
                    <a:pt x="980" y="85"/>
                    <a:pt x="980" y="85"/>
                  </a:cubicBezTo>
                  <a:cubicBezTo>
                    <a:pt x="983" y="95"/>
                    <a:pt x="989" y="102"/>
                    <a:pt x="996" y="102"/>
                  </a:cubicBezTo>
                  <a:cubicBezTo>
                    <a:pt x="1007" y="102"/>
                    <a:pt x="1015" y="88"/>
                    <a:pt x="1015" y="71"/>
                  </a:cubicBezTo>
                  <a:cubicBezTo>
                    <a:pt x="1015" y="54"/>
                    <a:pt x="1007" y="40"/>
                    <a:pt x="996" y="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30" name="Freeform 416"/>
            <p:cNvSpPr>
              <a:spLocks/>
            </p:cNvSpPr>
            <p:nvPr userDrawn="1"/>
          </p:nvSpPr>
          <p:spPr bwMode="auto">
            <a:xfrm>
              <a:off x="2230496" y="4138425"/>
              <a:ext cx="37387" cy="80676"/>
            </a:xfrm>
            <a:custGeom>
              <a:avLst/>
              <a:gdLst>
                <a:gd name="T0" fmla="*/ 19 w 38"/>
                <a:gd name="T1" fmla="*/ 82 h 82"/>
                <a:gd name="T2" fmla="*/ 38 w 38"/>
                <a:gd name="T3" fmla="*/ 82 h 82"/>
                <a:gd name="T4" fmla="*/ 38 w 38"/>
                <a:gd name="T5" fmla="*/ 0 h 82"/>
                <a:gd name="T6" fmla="*/ 0 w 38"/>
                <a:gd name="T7" fmla="*/ 0 h 82"/>
                <a:gd name="T8" fmla="*/ 0 w 38"/>
                <a:gd name="T9" fmla="*/ 61 h 82"/>
                <a:gd name="T10" fmla="*/ 19 w 38"/>
                <a:gd name="T11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" h="82">
                  <a:moveTo>
                    <a:pt x="19" y="82"/>
                  </a:moveTo>
                  <a:lnTo>
                    <a:pt x="38" y="82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61"/>
                  </a:lnTo>
                  <a:lnTo>
                    <a:pt x="19" y="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31" name="Rectangle 417"/>
            <p:cNvSpPr>
              <a:spLocks noChangeArrowheads="1"/>
            </p:cNvSpPr>
            <p:nvPr userDrawn="1"/>
          </p:nvSpPr>
          <p:spPr bwMode="auto">
            <a:xfrm>
              <a:off x="2312157" y="4138425"/>
              <a:ext cx="37387" cy="8067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32" name="Rectangle 418"/>
            <p:cNvSpPr>
              <a:spLocks noChangeArrowheads="1"/>
            </p:cNvSpPr>
            <p:nvPr userDrawn="1"/>
          </p:nvSpPr>
          <p:spPr bwMode="auto">
            <a:xfrm>
              <a:off x="2271818" y="4138425"/>
              <a:ext cx="36403" cy="8067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33" name="Freeform 419"/>
            <p:cNvSpPr>
              <a:spLocks noEditPoints="1"/>
            </p:cNvSpPr>
            <p:nvPr userDrawn="1"/>
          </p:nvSpPr>
          <p:spPr bwMode="auto">
            <a:xfrm>
              <a:off x="2940842" y="4250585"/>
              <a:ext cx="36403" cy="36403"/>
            </a:xfrm>
            <a:custGeom>
              <a:avLst/>
              <a:gdLst>
                <a:gd name="T0" fmla="*/ 42 w 84"/>
                <a:gd name="T1" fmla="*/ 0 h 84"/>
                <a:gd name="T2" fmla="*/ 0 w 84"/>
                <a:gd name="T3" fmla="*/ 42 h 84"/>
                <a:gd name="T4" fmla="*/ 42 w 84"/>
                <a:gd name="T5" fmla="*/ 84 h 84"/>
                <a:gd name="T6" fmla="*/ 84 w 84"/>
                <a:gd name="T7" fmla="*/ 42 h 84"/>
                <a:gd name="T8" fmla="*/ 42 w 84"/>
                <a:gd name="T9" fmla="*/ 0 h 84"/>
                <a:gd name="T10" fmla="*/ 42 w 84"/>
                <a:gd name="T11" fmla="*/ 72 h 84"/>
                <a:gd name="T12" fmla="*/ 13 w 84"/>
                <a:gd name="T13" fmla="*/ 42 h 84"/>
                <a:gd name="T14" fmla="*/ 42 w 84"/>
                <a:gd name="T15" fmla="*/ 13 h 84"/>
                <a:gd name="T16" fmla="*/ 72 w 84"/>
                <a:gd name="T17" fmla="*/ 42 h 84"/>
                <a:gd name="T18" fmla="*/ 42 w 84"/>
                <a:gd name="T19" fmla="*/ 7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65"/>
                    <a:pt x="19" y="84"/>
                    <a:pt x="42" y="84"/>
                  </a:cubicBezTo>
                  <a:cubicBezTo>
                    <a:pt x="65" y="84"/>
                    <a:pt x="84" y="65"/>
                    <a:pt x="84" y="42"/>
                  </a:cubicBezTo>
                  <a:cubicBezTo>
                    <a:pt x="84" y="19"/>
                    <a:pt x="65" y="0"/>
                    <a:pt x="42" y="0"/>
                  </a:cubicBezTo>
                  <a:close/>
                  <a:moveTo>
                    <a:pt x="42" y="72"/>
                  </a:moveTo>
                  <a:cubicBezTo>
                    <a:pt x="26" y="72"/>
                    <a:pt x="13" y="58"/>
                    <a:pt x="13" y="42"/>
                  </a:cubicBezTo>
                  <a:cubicBezTo>
                    <a:pt x="13" y="26"/>
                    <a:pt x="26" y="13"/>
                    <a:pt x="42" y="13"/>
                  </a:cubicBezTo>
                  <a:cubicBezTo>
                    <a:pt x="58" y="13"/>
                    <a:pt x="72" y="26"/>
                    <a:pt x="72" y="42"/>
                  </a:cubicBezTo>
                  <a:cubicBezTo>
                    <a:pt x="72" y="58"/>
                    <a:pt x="58" y="72"/>
                    <a:pt x="42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34" name="Oval 420"/>
            <p:cNvSpPr>
              <a:spLocks noChangeArrowheads="1"/>
            </p:cNvSpPr>
            <p:nvPr userDrawn="1"/>
          </p:nvSpPr>
          <p:spPr bwMode="auto">
            <a:xfrm>
              <a:off x="2948713" y="4258455"/>
              <a:ext cx="20661" cy="2066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35" name="Freeform 421"/>
            <p:cNvSpPr>
              <a:spLocks noEditPoints="1"/>
            </p:cNvSpPr>
            <p:nvPr userDrawn="1"/>
          </p:nvSpPr>
          <p:spPr bwMode="auto">
            <a:xfrm>
              <a:off x="2895584" y="4250585"/>
              <a:ext cx="36403" cy="36403"/>
            </a:xfrm>
            <a:custGeom>
              <a:avLst/>
              <a:gdLst>
                <a:gd name="T0" fmla="*/ 41 w 83"/>
                <a:gd name="T1" fmla="*/ 0 h 84"/>
                <a:gd name="T2" fmla="*/ 0 w 83"/>
                <a:gd name="T3" fmla="*/ 42 h 84"/>
                <a:gd name="T4" fmla="*/ 41 w 83"/>
                <a:gd name="T5" fmla="*/ 84 h 84"/>
                <a:gd name="T6" fmla="*/ 83 w 83"/>
                <a:gd name="T7" fmla="*/ 42 h 84"/>
                <a:gd name="T8" fmla="*/ 41 w 83"/>
                <a:gd name="T9" fmla="*/ 0 h 84"/>
                <a:gd name="T10" fmla="*/ 41 w 83"/>
                <a:gd name="T11" fmla="*/ 72 h 84"/>
                <a:gd name="T12" fmla="*/ 12 w 83"/>
                <a:gd name="T13" fmla="*/ 42 h 84"/>
                <a:gd name="T14" fmla="*/ 41 w 83"/>
                <a:gd name="T15" fmla="*/ 13 h 84"/>
                <a:gd name="T16" fmla="*/ 71 w 83"/>
                <a:gd name="T17" fmla="*/ 42 h 84"/>
                <a:gd name="T18" fmla="*/ 41 w 83"/>
                <a:gd name="T19" fmla="*/ 7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3" h="84">
                  <a:moveTo>
                    <a:pt x="41" y="0"/>
                  </a:moveTo>
                  <a:cubicBezTo>
                    <a:pt x="18" y="0"/>
                    <a:pt x="0" y="19"/>
                    <a:pt x="0" y="42"/>
                  </a:cubicBezTo>
                  <a:cubicBezTo>
                    <a:pt x="0" y="65"/>
                    <a:pt x="18" y="84"/>
                    <a:pt x="41" y="84"/>
                  </a:cubicBezTo>
                  <a:cubicBezTo>
                    <a:pt x="65" y="84"/>
                    <a:pt x="83" y="65"/>
                    <a:pt x="83" y="42"/>
                  </a:cubicBezTo>
                  <a:cubicBezTo>
                    <a:pt x="83" y="19"/>
                    <a:pt x="65" y="0"/>
                    <a:pt x="41" y="0"/>
                  </a:cubicBezTo>
                  <a:close/>
                  <a:moveTo>
                    <a:pt x="41" y="72"/>
                  </a:moveTo>
                  <a:cubicBezTo>
                    <a:pt x="25" y="72"/>
                    <a:pt x="12" y="58"/>
                    <a:pt x="12" y="42"/>
                  </a:cubicBezTo>
                  <a:cubicBezTo>
                    <a:pt x="12" y="26"/>
                    <a:pt x="25" y="13"/>
                    <a:pt x="41" y="13"/>
                  </a:cubicBezTo>
                  <a:cubicBezTo>
                    <a:pt x="58" y="13"/>
                    <a:pt x="71" y="26"/>
                    <a:pt x="71" y="42"/>
                  </a:cubicBezTo>
                  <a:cubicBezTo>
                    <a:pt x="71" y="58"/>
                    <a:pt x="58" y="72"/>
                    <a:pt x="41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36" name="Oval 422"/>
            <p:cNvSpPr>
              <a:spLocks noChangeArrowheads="1"/>
            </p:cNvSpPr>
            <p:nvPr userDrawn="1"/>
          </p:nvSpPr>
          <p:spPr bwMode="auto">
            <a:xfrm>
              <a:off x="2903455" y="4258455"/>
              <a:ext cx="20661" cy="2066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37" name="Freeform 423"/>
            <p:cNvSpPr>
              <a:spLocks noEditPoints="1"/>
            </p:cNvSpPr>
            <p:nvPr userDrawn="1"/>
          </p:nvSpPr>
          <p:spPr bwMode="auto">
            <a:xfrm>
              <a:off x="2851311" y="4250585"/>
              <a:ext cx="36403" cy="36403"/>
            </a:xfrm>
            <a:custGeom>
              <a:avLst/>
              <a:gdLst>
                <a:gd name="T0" fmla="*/ 42 w 84"/>
                <a:gd name="T1" fmla="*/ 0 h 84"/>
                <a:gd name="T2" fmla="*/ 0 w 84"/>
                <a:gd name="T3" fmla="*/ 42 h 84"/>
                <a:gd name="T4" fmla="*/ 42 w 84"/>
                <a:gd name="T5" fmla="*/ 84 h 84"/>
                <a:gd name="T6" fmla="*/ 84 w 84"/>
                <a:gd name="T7" fmla="*/ 42 h 84"/>
                <a:gd name="T8" fmla="*/ 42 w 84"/>
                <a:gd name="T9" fmla="*/ 0 h 84"/>
                <a:gd name="T10" fmla="*/ 42 w 84"/>
                <a:gd name="T11" fmla="*/ 72 h 84"/>
                <a:gd name="T12" fmla="*/ 12 w 84"/>
                <a:gd name="T13" fmla="*/ 42 h 84"/>
                <a:gd name="T14" fmla="*/ 42 w 84"/>
                <a:gd name="T15" fmla="*/ 13 h 84"/>
                <a:gd name="T16" fmla="*/ 71 w 84"/>
                <a:gd name="T17" fmla="*/ 42 h 84"/>
                <a:gd name="T18" fmla="*/ 42 w 84"/>
                <a:gd name="T19" fmla="*/ 7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65"/>
                    <a:pt x="19" y="84"/>
                    <a:pt x="42" y="84"/>
                  </a:cubicBezTo>
                  <a:cubicBezTo>
                    <a:pt x="65" y="84"/>
                    <a:pt x="84" y="65"/>
                    <a:pt x="84" y="42"/>
                  </a:cubicBezTo>
                  <a:cubicBezTo>
                    <a:pt x="84" y="19"/>
                    <a:pt x="65" y="0"/>
                    <a:pt x="42" y="0"/>
                  </a:cubicBezTo>
                  <a:close/>
                  <a:moveTo>
                    <a:pt x="42" y="72"/>
                  </a:moveTo>
                  <a:cubicBezTo>
                    <a:pt x="25" y="72"/>
                    <a:pt x="12" y="58"/>
                    <a:pt x="12" y="42"/>
                  </a:cubicBezTo>
                  <a:cubicBezTo>
                    <a:pt x="12" y="26"/>
                    <a:pt x="25" y="13"/>
                    <a:pt x="42" y="13"/>
                  </a:cubicBezTo>
                  <a:cubicBezTo>
                    <a:pt x="58" y="13"/>
                    <a:pt x="71" y="26"/>
                    <a:pt x="71" y="42"/>
                  </a:cubicBezTo>
                  <a:cubicBezTo>
                    <a:pt x="71" y="58"/>
                    <a:pt x="58" y="72"/>
                    <a:pt x="42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38" name="Oval 424"/>
            <p:cNvSpPr>
              <a:spLocks noChangeArrowheads="1"/>
            </p:cNvSpPr>
            <p:nvPr userDrawn="1"/>
          </p:nvSpPr>
          <p:spPr bwMode="auto">
            <a:xfrm>
              <a:off x="2859181" y="4258455"/>
              <a:ext cx="20661" cy="2066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39" name="Freeform 425"/>
            <p:cNvSpPr>
              <a:spLocks noEditPoints="1"/>
            </p:cNvSpPr>
            <p:nvPr userDrawn="1"/>
          </p:nvSpPr>
          <p:spPr bwMode="auto">
            <a:xfrm>
              <a:off x="2728328" y="4250585"/>
              <a:ext cx="36403" cy="36403"/>
            </a:xfrm>
            <a:custGeom>
              <a:avLst/>
              <a:gdLst>
                <a:gd name="T0" fmla="*/ 42 w 83"/>
                <a:gd name="T1" fmla="*/ 0 h 84"/>
                <a:gd name="T2" fmla="*/ 0 w 83"/>
                <a:gd name="T3" fmla="*/ 42 h 84"/>
                <a:gd name="T4" fmla="*/ 42 w 83"/>
                <a:gd name="T5" fmla="*/ 84 h 84"/>
                <a:gd name="T6" fmla="*/ 83 w 83"/>
                <a:gd name="T7" fmla="*/ 42 h 84"/>
                <a:gd name="T8" fmla="*/ 42 w 83"/>
                <a:gd name="T9" fmla="*/ 0 h 84"/>
                <a:gd name="T10" fmla="*/ 42 w 83"/>
                <a:gd name="T11" fmla="*/ 72 h 84"/>
                <a:gd name="T12" fmla="*/ 12 w 83"/>
                <a:gd name="T13" fmla="*/ 42 h 84"/>
                <a:gd name="T14" fmla="*/ 42 w 83"/>
                <a:gd name="T15" fmla="*/ 13 h 84"/>
                <a:gd name="T16" fmla="*/ 71 w 83"/>
                <a:gd name="T17" fmla="*/ 42 h 84"/>
                <a:gd name="T18" fmla="*/ 42 w 83"/>
                <a:gd name="T19" fmla="*/ 7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3" h="84">
                  <a:moveTo>
                    <a:pt x="42" y="0"/>
                  </a:moveTo>
                  <a:cubicBezTo>
                    <a:pt x="18" y="0"/>
                    <a:pt x="0" y="19"/>
                    <a:pt x="0" y="42"/>
                  </a:cubicBezTo>
                  <a:cubicBezTo>
                    <a:pt x="0" y="65"/>
                    <a:pt x="18" y="84"/>
                    <a:pt x="42" y="84"/>
                  </a:cubicBezTo>
                  <a:cubicBezTo>
                    <a:pt x="65" y="84"/>
                    <a:pt x="83" y="65"/>
                    <a:pt x="83" y="42"/>
                  </a:cubicBezTo>
                  <a:cubicBezTo>
                    <a:pt x="83" y="19"/>
                    <a:pt x="65" y="0"/>
                    <a:pt x="42" y="0"/>
                  </a:cubicBezTo>
                  <a:close/>
                  <a:moveTo>
                    <a:pt x="42" y="72"/>
                  </a:moveTo>
                  <a:cubicBezTo>
                    <a:pt x="25" y="72"/>
                    <a:pt x="12" y="58"/>
                    <a:pt x="12" y="42"/>
                  </a:cubicBezTo>
                  <a:cubicBezTo>
                    <a:pt x="12" y="26"/>
                    <a:pt x="25" y="13"/>
                    <a:pt x="42" y="13"/>
                  </a:cubicBezTo>
                  <a:cubicBezTo>
                    <a:pt x="58" y="13"/>
                    <a:pt x="71" y="26"/>
                    <a:pt x="71" y="42"/>
                  </a:cubicBezTo>
                  <a:cubicBezTo>
                    <a:pt x="71" y="58"/>
                    <a:pt x="58" y="72"/>
                    <a:pt x="42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40" name="Oval 426"/>
            <p:cNvSpPr>
              <a:spLocks noChangeArrowheads="1"/>
            </p:cNvSpPr>
            <p:nvPr userDrawn="1"/>
          </p:nvSpPr>
          <p:spPr bwMode="auto">
            <a:xfrm>
              <a:off x="2736199" y="4258455"/>
              <a:ext cx="21645" cy="2066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41" name="Freeform 427"/>
            <p:cNvSpPr>
              <a:spLocks noEditPoints="1"/>
            </p:cNvSpPr>
            <p:nvPr userDrawn="1"/>
          </p:nvSpPr>
          <p:spPr bwMode="auto">
            <a:xfrm>
              <a:off x="2683071" y="4250585"/>
              <a:ext cx="37387" cy="36403"/>
            </a:xfrm>
            <a:custGeom>
              <a:avLst/>
              <a:gdLst>
                <a:gd name="T0" fmla="*/ 42 w 84"/>
                <a:gd name="T1" fmla="*/ 0 h 84"/>
                <a:gd name="T2" fmla="*/ 0 w 84"/>
                <a:gd name="T3" fmla="*/ 42 h 84"/>
                <a:gd name="T4" fmla="*/ 42 w 84"/>
                <a:gd name="T5" fmla="*/ 84 h 84"/>
                <a:gd name="T6" fmla="*/ 84 w 84"/>
                <a:gd name="T7" fmla="*/ 42 h 84"/>
                <a:gd name="T8" fmla="*/ 42 w 84"/>
                <a:gd name="T9" fmla="*/ 0 h 84"/>
                <a:gd name="T10" fmla="*/ 42 w 84"/>
                <a:gd name="T11" fmla="*/ 72 h 84"/>
                <a:gd name="T12" fmla="*/ 12 w 84"/>
                <a:gd name="T13" fmla="*/ 42 h 84"/>
                <a:gd name="T14" fmla="*/ 42 w 84"/>
                <a:gd name="T15" fmla="*/ 13 h 84"/>
                <a:gd name="T16" fmla="*/ 71 w 84"/>
                <a:gd name="T17" fmla="*/ 42 h 84"/>
                <a:gd name="T18" fmla="*/ 42 w 84"/>
                <a:gd name="T19" fmla="*/ 7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65"/>
                    <a:pt x="19" y="84"/>
                    <a:pt x="42" y="84"/>
                  </a:cubicBezTo>
                  <a:cubicBezTo>
                    <a:pt x="65" y="84"/>
                    <a:pt x="84" y="65"/>
                    <a:pt x="84" y="42"/>
                  </a:cubicBezTo>
                  <a:cubicBezTo>
                    <a:pt x="84" y="19"/>
                    <a:pt x="65" y="0"/>
                    <a:pt x="42" y="0"/>
                  </a:cubicBezTo>
                  <a:close/>
                  <a:moveTo>
                    <a:pt x="42" y="72"/>
                  </a:moveTo>
                  <a:cubicBezTo>
                    <a:pt x="25" y="72"/>
                    <a:pt x="12" y="58"/>
                    <a:pt x="12" y="42"/>
                  </a:cubicBezTo>
                  <a:cubicBezTo>
                    <a:pt x="12" y="26"/>
                    <a:pt x="25" y="13"/>
                    <a:pt x="42" y="13"/>
                  </a:cubicBezTo>
                  <a:cubicBezTo>
                    <a:pt x="58" y="13"/>
                    <a:pt x="71" y="26"/>
                    <a:pt x="71" y="42"/>
                  </a:cubicBezTo>
                  <a:cubicBezTo>
                    <a:pt x="71" y="58"/>
                    <a:pt x="58" y="72"/>
                    <a:pt x="42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42" name="Oval 428"/>
            <p:cNvSpPr>
              <a:spLocks noChangeArrowheads="1"/>
            </p:cNvSpPr>
            <p:nvPr userDrawn="1"/>
          </p:nvSpPr>
          <p:spPr bwMode="auto">
            <a:xfrm>
              <a:off x="2690942" y="4258455"/>
              <a:ext cx="21645" cy="2066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43" name="Freeform 429"/>
            <p:cNvSpPr>
              <a:spLocks noEditPoints="1"/>
            </p:cNvSpPr>
            <p:nvPr userDrawn="1"/>
          </p:nvSpPr>
          <p:spPr bwMode="auto">
            <a:xfrm>
              <a:off x="2638797" y="4250585"/>
              <a:ext cx="36403" cy="36403"/>
            </a:xfrm>
            <a:custGeom>
              <a:avLst/>
              <a:gdLst>
                <a:gd name="T0" fmla="*/ 42 w 84"/>
                <a:gd name="T1" fmla="*/ 0 h 84"/>
                <a:gd name="T2" fmla="*/ 0 w 84"/>
                <a:gd name="T3" fmla="*/ 42 h 84"/>
                <a:gd name="T4" fmla="*/ 42 w 84"/>
                <a:gd name="T5" fmla="*/ 84 h 84"/>
                <a:gd name="T6" fmla="*/ 84 w 84"/>
                <a:gd name="T7" fmla="*/ 42 h 84"/>
                <a:gd name="T8" fmla="*/ 42 w 84"/>
                <a:gd name="T9" fmla="*/ 0 h 84"/>
                <a:gd name="T10" fmla="*/ 42 w 84"/>
                <a:gd name="T11" fmla="*/ 72 h 84"/>
                <a:gd name="T12" fmla="*/ 12 w 84"/>
                <a:gd name="T13" fmla="*/ 42 h 84"/>
                <a:gd name="T14" fmla="*/ 42 w 84"/>
                <a:gd name="T15" fmla="*/ 13 h 84"/>
                <a:gd name="T16" fmla="*/ 72 w 84"/>
                <a:gd name="T17" fmla="*/ 42 h 84"/>
                <a:gd name="T18" fmla="*/ 42 w 84"/>
                <a:gd name="T19" fmla="*/ 7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65"/>
                    <a:pt x="19" y="84"/>
                    <a:pt x="42" y="84"/>
                  </a:cubicBezTo>
                  <a:cubicBezTo>
                    <a:pt x="65" y="84"/>
                    <a:pt x="84" y="65"/>
                    <a:pt x="84" y="42"/>
                  </a:cubicBezTo>
                  <a:cubicBezTo>
                    <a:pt x="84" y="19"/>
                    <a:pt x="65" y="0"/>
                    <a:pt x="42" y="0"/>
                  </a:cubicBezTo>
                  <a:close/>
                  <a:moveTo>
                    <a:pt x="42" y="72"/>
                  </a:moveTo>
                  <a:cubicBezTo>
                    <a:pt x="26" y="72"/>
                    <a:pt x="12" y="58"/>
                    <a:pt x="12" y="42"/>
                  </a:cubicBezTo>
                  <a:cubicBezTo>
                    <a:pt x="12" y="26"/>
                    <a:pt x="26" y="13"/>
                    <a:pt x="42" y="13"/>
                  </a:cubicBezTo>
                  <a:cubicBezTo>
                    <a:pt x="58" y="13"/>
                    <a:pt x="72" y="26"/>
                    <a:pt x="72" y="42"/>
                  </a:cubicBezTo>
                  <a:cubicBezTo>
                    <a:pt x="72" y="58"/>
                    <a:pt x="58" y="72"/>
                    <a:pt x="42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44" name="Oval 430"/>
            <p:cNvSpPr>
              <a:spLocks noChangeArrowheads="1"/>
            </p:cNvSpPr>
            <p:nvPr userDrawn="1"/>
          </p:nvSpPr>
          <p:spPr bwMode="auto">
            <a:xfrm>
              <a:off x="2646668" y="4258455"/>
              <a:ext cx="20661" cy="2066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45" name="Freeform 431"/>
            <p:cNvSpPr>
              <a:spLocks/>
            </p:cNvSpPr>
            <p:nvPr userDrawn="1"/>
          </p:nvSpPr>
          <p:spPr bwMode="auto">
            <a:xfrm>
              <a:off x="2661426" y="4109893"/>
              <a:ext cx="328608" cy="25580"/>
            </a:xfrm>
            <a:custGeom>
              <a:avLst/>
              <a:gdLst>
                <a:gd name="T0" fmla="*/ 733 w 752"/>
                <a:gd name="T1" fmla="*/ 43 h 58"/>
                <a:gd name="T2" fmla="*/ 710 w 752"/>
                <a:gd name="T3" fmla="*/ 22 h 58"/>
                <a:gd name="T4" fmla="*/ 698 w 752"/>
                <a:gd name="T5" fmla="*/ 26 h 58"/>
                <a:gd name="T6" fmla="*/ 698 w 752"/>
                <a:gd name="T7" fmla="*/ 22 h 58"/>
                <a:gd name="T8" fmla="*/ 676 w 752"/>
                <a:gd name="T9" fmla="*/ 0 h 58"/>
                <a:gd name="T10" fmla="*/ 660 w 752"/>
                <a:gd name="T11" fmla="*/ 6 h 58"/>
                <a:gd name="T12" fmla="*/ 643 w 752"/>
                <a:gd name="T13" fmla="*/ 0 h 58"/>
                <a:gd name="T14" fmla="*/ 627 w 752"/>
                <a:gd name="T15" fmla="*/ 6 h 58"/>
                <a:gd name="T16" fmla="*/ 611 w 752"/>
                <a:gd name="T17" fmla="*/ 0 h 58"/>
                <a:gd name="T18" fmla="*/ 595 w 752"/>
                <a:gd name="T19" fmla="*/ 6 h 58"/>
                <a:gd name="T20" fmla="*/ 579 w 752"/>
                <a:gd name="T21" fmla="*/ 0 h 58"/>
                <a:gd name="T22" fmla="*/ 563 w 752"/>
                <a:gd name="T23" fmla="*/ 6 h 58"/>
                <a:gd name="T24" fmla="*/ 547 w 752"/>
                <a:gd name="T25" fmla="*/ 0 h 58"/>
                <a:gd name="T26" fmla="*/ 531 w 752"/>
                <a:gd name="T27" fmla="*/ 6 h 58"/>
                <a:gd name="T28" fmla="*/ 515 w 752"/>
                <a:gd name="T29" fmla="*/ 0 h 58"/>
                <a:gd name="T30" fmla="*/ 498 w 752"/>
                <a:gd name="T31" fmla="*/ 6 h 58"/>
                <a:gd name="T32" fmla="*/ 482 w 752"/>
                <a:gd name="T33" fmla="*/ 0 h 58"/>
                <a:gd name="T34" fmla="*/ 466 w 752"/>
                <a:gd name="T35" fmla="*/ 6 h 58"/>
                <a:gd name="T36" fmla="*/ 450 w 752"/>
                <a:gd name="T37" fmla="*/ 0 h 58"/>
                <a:gd name="T38" fmla="*/ 434 w 752"/>
                <a:gd name="T39" fmla="*/ 6 h 58"/>
                <a:gd name="T40" fmla="*/ 418 w 752"/>
                <a:gd name="T41" fmla="*/ 0 h 58"/>
                <a:gd name="T42" fmla="*/ 402 w 752"/>
                <a:gd name="T43" fmla="*/ 6 h 58"/>
                <a:gd name="T44" fmla="*/ 386 w 752"/>
                <a:gd name="T45" fmla="*/ 0 h 58"/>
                <a:gd name="T46" fmla="*/ 369 w 752"/>
                <a:gd name="T47" fmla="*/ 6 h 58"/>
                <a:gd name="T48" fmla="*/ 353 w 752"/>
                <a:gd name="T49" fmla="*/ 0 h 58"/>
                <a:gd name="T50" fmla="*/ 337 w 752"/>
                <a:gd name="T51" fmla="*/ 6 h 58"/>
                <a:gd name="T52" fmla="*/ 321 w 752"/>
                <a:gd name="T53" fmla="*/ 0 h 58"/>
                <a:gd name="T54" fmla="*/ 305 w 752"/>
                <a:gd name="T55" fmla="*/ 6 h 58"/>
                <a:gd name="T56" fmla="*/ 289 w 752"/>
                <a:gd name="T57" fmla="*/ 0 h 58"/>
                <a:gd name="T58" fmla="*/ 273 w 752"/>
                <a:gd name="T59" fmla="*/ 6 h 58"/>
                <a:gd name="T60" fmla="*/ 257 w 752"/>
                <a:gd name="T61" fmla="*/ 0 h 58"/>
                <a:gd name="T62" fmla="*/ 240 w 752"/>
                <a:gd name="T63" fmla="*/ 6 h 58"/>
                <a:gd name="T64" fmla="*/ 224 w 752"/>
                <a:gd name="T65" fmla="*/ 0 h 58"/>
                <a:gd name="T66" fmla="*/ 208 w 752"/>
                <a:gd name="T67" fmla="*/ 6 h 58"/>
                <a:gd name="T68" fmla="*/ 192 w 752"/>
                <a:gd name="T69" fmla="*/ 0 h 58"/>
                <a:gd name="T70" fmla="*/ 176 w 752"/>
                <a:gd name="T71" fmla="*/ 6 h 58"/>
                <a:gd name="T72" fmla="*/ 160 w 752"/>
                <a:gd name="T73" fmla="*/ 0 h 58"/>
                <a:gd name="T74" fmla="*/ 144 w 752"/>
                <a:gd name="T75" fmla="*/ 6 h 58"/>
                <a:gd name="T76" fmla="*/ 128 w 752"/>
                <a:gd name="T77" fmla="*/ 0 h 58"/>
                <a:gd name="T78" fmla="*/ 111 w 752"/>
                <a:gd name="T79" fmla="*/ 6 h 58"/>
                <a:gd name="T80" fmla="*/ 95 w 752"/>
                <a:gd name="T81" fmla="*/ 0 h 58"/>
                <a:gd name="T82" fmla="*/ 79 w 752"/>
                <a:gd name="T83" fmla="*/ 6 h 58"/>
                <a:gd name="T84" fmla="*/ 63 w 752"/>
                <a:gd name="T85" fmla="*/ 0 h 58"/>
                <a:gd name="T86" fmla="*/ 40 w 752"/>
                <a:gd name="T87" fmla="*/ 22 h 58"/>
                <a:gd name="T88" fmla="*/ 40 w 752"/>
                <a:gd name="T89" fmla="*/ 24 h 58"/>
                <a:gd name="T90" fmla="*/ 33 w 752"/>
                <a:gd name="T91" fmla="*/ 22 h 58"/>
                <a:gd name="T92" fmla="*/ 10 w 752"/>
                <a:gd name="T93" fmla="*/ 45 h 58"/>
                <a:gd name="T94" fmla="*/ 10 w 752"/>
                <a:gd name="T95" fmla="*/ 46 h 58"/>
                <a:gd name="T96" fmla="*/ 0 w 752"/>
                <a:gd name="T97" fmla="*/ 58 h 58"/>
                <a:gd name="T98" fmla="*/ 752 w 752"/>
                <a:gd name="T99" fmla="*/ 58 h 58"/>
                <a:gd name="T100" fmla="*/ 733 w 752"/>
                <a:gd name="T101" fmla="*/ 43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752" h="58">
                  <a:moveTo>
                    <a:pt x="733" y="43"/>
                  </a:moveTo>
                  <a:cubicBezTo>
                    <a:pt x="732" y="32"/>
                    <a:pt x="722" y="22"/>
                    <a:pt x="710" y="22"/>
                  </a:cubicBezTo>
                  <a:cubicBezTo>
                    <a:pt x="706" y="22"/>
                    <a:pt x="702" y="24"/>
                    <a:pt x="698" y="26"/>
                  </a:cubicBezTo>
                  <a:cubicBezTo>
                    <a:pt x="698" y="25"/>
                    <a:pt x="698" y="23"/>
                    <a:pt x="698" y="22"/>
                  </a:cubicBezTo>
                  <a:cubicBezTo>
                    <a:pt x="698" y="10"/>
                    <a:pt x="688" y="0"/>
                    <a:pt x="676" y="0"/>
                  </a:cubicBezTo>
                  <a:cubicBezTo>
                    <a:pt x="669" y="0"/>
                    <a:pt x="664" y="2"/>
                    <a:pt x="660" y="6"/>
                  </a:cubicBezTo>
                  <a:cubicBezTo>
                    <a:pt x="655" y="2"/>
                    <a:pt x="650" y="0"/>
                    <a:pt x="643" y="0"/>
                  </a:cubicBezTo>
                  <a:cubicBezTo>
                    <a:pt x="637" y="0"/>
                    <a:pt x="631" y="2"/>
                    <a:pt x="627" y="6"/>
                  </a:cubicBezTo>
                  <a:cubicBezTo>
                    <a:pt x="623" y="2"/>
                    <a:pt x="618" y="0"/>
                    <a:pt x="611" y="0"/>
                  </a:cubicBezTo>
                  <a:cubicBezTo>
                    <a:pt x="605" y="0"/>
                    <a:pt x="599" y="2"/>
                    <a:pt x="595" y="6"/>
                  </a:cubicBezTo>
                  <a:cubicBezTo>
                    <a:pt x="591" y="2"/>
                    <a:pt x="585" y="0"/>
                    <a:pt x="579" y="0"/>
                  </a:cubicBezTo>
                  <a:cubicBezTo>
                    <a:pt x="573" y="0"/>
                    <a:pt x="567" y="2"/>
                    <a:pt x="563" y="6"/>
                  </a:cubicBezTo>
                  <a:cubicBezTo>
                    <a:pt x="559" y="2"/>
                    <a:pt x="553" y="0"/>
                    <a:pt x="547" y="0"/>
                  </a:cubicBezTo>
                  <a:cubicBezTo>
                    <a:pt x="540" y="0"/>
                    <a:pt x="535" y="2"/>
                    <a:pt x="531" y="6"/>
                  </a:cubicBezTo>
                  <a:cubicBezTo>
                    <a:pt x="527" y="2"/>
                    <a:pt x="521" y="0"/>
                    <a:pt x="515" y="0"/>
                  </a:cubicBezTo>
                  <a:cubicBezTo>
                    <a:pt x="508" y="0"/>
                    <a:pt x="503" y="2"/>
                    <a:pt x="498" y="6"/>
                  </a:cubicBezTo>
                  <a:cubicBezTo>
                    <a:pt x="494" y="2"/>
                    <a:pt x="489" y="0"/>
                    <a:pt x="482" y="0"/>
                  </a:cubicBezTo>
                  <a:cubicBezTo>
                    <a:pt x="476" y="0"/>
                    <a:pt x="470" y="2"/>
                    <a:pt x="466" y="6"/>
                  </a:cubicBezTo>
                  <a:cubicBezTo>
                    <a:pt x="462" y="2"/>
                    <a:pt x="456" y="0"/>
                    <a:pt x="450" y="0"/>
                  </a:cubicBezTo>
                  <a:cubicBezTo>
                    <a:pt x="444" y="0"/>
                    <a:pt x="438" y="2"/>
                    <a:pt x="434" y="6"/>
                  </a:cubicBezTo>
                  <a:cubicBezTo>
                    <a:pt x="430" y="2"/>
                    <a:pt x="424" y="0"/>
                    <a:pt x="418" y="0"/>
                  </a:cubicBezTo>
                  <a:cubicBezTo>
                    <a:pt x="411" y="0"/>
                    <a:pt x="406" y="2"/>
                    <a:pt x="402" y="6"/>
                  </a:cubicBezTo>
                  <a:cubicBezTo>
                    <a:pt x="398" y="2"/>
                    <a:pt x="392" y="0"/>
                    <a:pt x="386" y="0"/>
                  </a:cubicBezTo>
                  <a:cubicBezTo>
                    <a:pt x="379" y="0"/>
                    <a:pt x="374" y="2"/>
                    <a:pt x="369" y="6"/>
                  </a:cubicBezTo>
                  <a:cubicBezTo>
                    <a:pt x="365" y="2"/>
                    <a:pt x="360" y="0"/>
                    <a:pt x="353" y="0"/>
                  </a:cubicBezTo>
                  <a:cubicBezTo>
                    <a:pt x="347" y="0"/>
                    <a:pt x="341" y="2"/>
                    <a:pt x="337" y="6"/>
                  </a:cubicBezTo>
                  <a:cubicBezTo>
                    <a:pt x="333" y="2"/>
                    <a:pt x="327" y="0"/>
                    <a:pt x="321" y="0"/>
                  </a:cubicBezTo>
                  <a:cubicBezTo>
                    <a:pt x="315" y="0"/>
                    <a:pt x="309" y="2"/>
                    <a:pt x="305" y="6"/>
                  </a:cubicBezTo>
                  <a:cubicBezTo>
                    <a:pt x="301" y="2"/>
                    <a:pt x="295" y="0"/>
                    <a:pt x="289" y="0"/>
                  </a:cubicBezTo>
                  <a:cubicBezTo>
                    <a:pt x="283" y="0"/>
                    <a:pt x="277" y="2"/>
                    <a:pt x="273" y="6"/>
                  </a:cubicBezTo>
                  <a:cubicBezTo>
                    <a:pt x="269" y="2"/>
                    <a:pt x="263" y="0"/>
                    <a:pt x="257" y="0"/>
                  </a:cubicBezTo>
                  <a:cubicBezTo>
                    <a:pt x="250" y="0"/>
                    <a:pt x="245" y="2"/>
                    <a:pt x="240" y="6"/>
                  </a:cubicBezTo>
                  <a:cubicBezTo>
                    <a:pt x="236" y="2"/>
                    <a:pt x="231" y="0"/>
                    <a:pt x="224" y="0"/>
                  </a:cubicBezTo>
                  <a:cubicBezTo>
                    <a:pt x="218" y="0"/>
                    <a:pt x="212" y="2"/>
                    <a:pt x="208" y="6"/>
                  </a:cubicBezTo>
                  <a:cubicBezTo>
                    <a:pt x="204" y="2"/>
                    <a:pt x="198" y="0"/>
                    <a:pt x="192" y="0"/>
                  </a:cubicBezTo>
                  <a:cubicBezTo>
                    <a:pt x="186" y="0"/>
                    <a:pt x="180" y="2"/>
                    <a:pt x="176" y="6"/>
                  </a:cubicBezTo>
                  <a:cubicBezTo>
                    <a:pt x="172" y="2"/>
                    <a:pt x="166" y="0"/>
                    <a:pt x="160" y="0"/>
                  </a:cubicBezTo>
                  <a:cubicBezTo>
                    <a:pt x="154" y="0"/>
                    <a:pt x="148" y="2"/>
                    <a:pt x="144" y="6"/>
                  </a:cubicBezTo>
                  <a:cubicBezTo>
                    <a:pt x="140" y="2"/>
                    <a:pt x="134" y="0"/>
                    <a:pt x="128" y="0"/>
                  </a:cubicBezTo>
                  <a:cubicBezTo>
                    <a:pt x="121" y="0"/>
                    <a:pt x="116" y="2"/>
                    <a:pt x="111" y="6"/>
                  </a:cubicBezTo>
                  <a:cubicBezTo>
                    <a:pt x="107" y="2"/>
                    <a:pt x="102" y="0"/>
                    <a:pt x="95" y="0"/>
                  </a:cubicBezTo>
                  <a:cubicBezTo>
                    <a:pt x="89" y="0"/>
                    <a:pt x="83" y="2"/>
                    <a:pt x="79" y="6"/>
                  </a:cubicBezTo>
                  <a:cubicBezTo>
                    <a:pt x="75" y="2"/>
                    <a:pt x="69" y="0"/>
                    <a:pt x="63" y="0"/>
                  </a:cubicBezTo>
                  <a:cubicBezTo>
                    <a:pt x="51" y="0"/>
                    <a:pt x="40" y="10"/>
                    <a:pt x="40" y="22"/>
                  </a:cubicBezTo>
                  <a:cubicBezTo>
                    <a:pt x="40" y="23"/>
                    <a:pt x="40" y="23"/>
                    <a:pt x="40" y="24"/>
                  </a:cubicBezTo>
                  <a:cubicBezTo>
                    <a:pt x="38" y="23"/>
                    <a:pt x="35" y="22"/>
                    <a:pt x="33" y="22"/>
                  </a:cubicBezTo>
                  <a:cubicBezTo>
                    <a:pt x="20" y="22"/>
                    <a:pt x="10" y="33"/>
                    <a:pt x="10" y="45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6" y="49"/>
                    <a:pt x="2" y="53"/>
                    <a:pt x="0" y="58"/>
                  </a:cubicBezTo>
                  <a:cubicBezTo>
                    <a:pt x="752" y="58"/>
                    <a:pt x="752" y="58"/>
                    <a:pt x="752" y="58"/>
                  </a:cubicBezTo>
                  <a:cubicBezTo>
                    <a:pt x="749" y="50"/>
                    <a:pt x="741" y="44"/>
                    <a:pt x="733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46" name="Freeform 432"/>
            <p:cNvSpPr>
              <a:spLocks/>
            </p:cNvSpPr>
            <p:nvPr userDrawn="1"/>
          </p:nvSpPr>
          <p:spPr bwMode="auto">
            <a:xfrm>
              <a:off x="2597475" y="4213198"/>
              <a:ext cx="443720" cy="48209"/>
            </a:xfrm>
            <a:custGeom>
              <a:avLst/>
              <a:gdLst>
                <a:gd name="T0" fmla="*/ 996 w 1014"/>
                <a:gd name="T1" fmla="*/ 40 h 111"/>
                <a:gd name="T2" fmla="*/ 979 w 1014"/>
                <a:gd name="T3" fmla="*/ 57 h 111"/>
                <a:gd name="T4" fmla="*/ 951 w 1014"/>
                <a:gd name="T5" fmla="*/ 57 h 111"/>
                <a:gd name="T6" fmla="*/ 957 w 1014"/>
                <a:gd name="T7" fmla="*/ 31 h 111"/>
                <a:gd name="T8" fmla="*/ 929 w 1014"/>
                <a:gd name="T9" fmla="*/ 31 h 111"/>
                <a:gd name="T10" fmla="*/ 932 w 1014"/>
                <a:gd name="T11" fmla="*/ 21 h 111"/>
                <a:gd name="T12" fmla="*/ 911 w 1014"/>
                <a:gd name="T13" fmla="*/ 0 h 111"/>
                <a:gd name="T14" fmla="*/ 813 w 1014"/>
                <a:gd name="T15" fmla="*/ 0 h 111"/>
                <a:gd name="T16" fmla="*/ 792 w 1014"/>
                <a:gd name="T17" fmla="*/ 21 h 111"/>
                <a:gd name="T18" fmla="*/ 795 w 1014"/>
                <a:gd name="T19" fmla="*/ 31 h 111"/>
                <a:gd name="T20" fmla="*/ 764 w 1014"/>
                <a:gd name="T21" fmla="*/ 31 h 111"/>
                <a:gd name="T22" fmla="*/ 773 w 1014"/>
                <a:gd name="T23" fmla="*/ 21 h 111"/>
                <a:gd name="T24" fmla="*/ 233 w 1014"/>
                <a:gd name="T25" fmla="*/ 21 h 111"/>
                <a:gd name="T26" fmla="*/ 242 w 1014"/>
                <a:gd name="T27" fmla="*/ 31 h 111"/>
                <a:gd name="T28" fmla="*/ 211 w 1014"/>
                <a:gd name="T29" fmla="*/ 31 h 111"/>
                <a:gd name="T30" fmla="*/ 214 w 1014"/>
                <a:gd name="T31" fmla="*/ 21 h 111"/>
                <a:gd name="T32" fmla="*/ 193 w 1014"/>
                <a:gd name="T33" fmla="*/ 0 h 111"/>
                <a:gd name="T34" fmla="*/ 95 w 1014"/>
                <a:gd name="T35" fmla="*/ 0 h 111"/>
                <a:gd name="T36" fmla="*/ 75 w 1014"/>
                <a:gd name="T37" fmla="*/ 21 h 111"/>
                <a:gd name="T38" fmla="*/ 77 w 1014"/>
                <a:gd name="T39" fmla="*/ 31 h 111"/>
                <a:gd name="T40" fmla="*/ 49 w 1014"/>
                <a:gd name="T41" fmla="*/ 31 h 111"/>
                <a:gd name="T42" fmla="*/ 53 w 1014"/>
                <a:gd name="T43" fmla="*/ 48 h 111"/>
                <a:gd name="T44" fmla="*/ 36 w 1014"/>
                <a:gd name="T45" fmla="*/ 48 h 111"/>
                <a:gd name="T46" fmla="*/ 19 w 1014"/>
                <a:gd name="T47" fmla="*/ 28 h 111"/>
                <a:gd name="T48" fmla="*/ 0 w 1014"/>
                <a:gd name="T49" fmla="*/ 62 h 111"/>
                <a:gd name="T50" fmla="*/ 19 w 1014"/>
                <a:gd name="T51" fmla="*/ 95 h 111"/>
                <a:gd name="T52" fmla="*/ 36 w 1014"/>
                <a:gd name="T53" fmla="*/ 76 h 111"/>
                <a:gd name="T54" fmla="*/ 64 w 1014"/>
                <a:gd name="T55" fmla="*/ 76 h 111"/>
                <a:gd name="T56" fmla="*/ 87 w 1014"/>
                <a:gd name="T57" fmla="*/ 100 h 111"/>
                <a:gd name="T58" fmla="*/ 135 w 1014"/>
                <a:gd name="T59" fmla="*/ 72 h 111"/>
                <a:gd name="T60" fmla="*/ 186 w 1014"/>
                <a:gd name="T61" fmla="*/ 107 h 111"/>
                <a:gd name="T62" fmla="*/ 238 w 1014"/>
                <a:gd name="T63" fmla="*/ 72 h 111"/>
                <a:gd name="T64" fmla="*/ 289 w 1014"/>
                <a:gd name="T65" fmla="*/ 107 h 111"/>
                <a:gd name="T66" fmla="*/ 341 w 1014"/>
                <a:gd name="T67" fmla="*/ 72 h 111"/>
                <a:gd name="T68" fmla="*/ 391 w 1014"/>
                <a:gd name="T69" fmla="*/ 104 h 111"/>
                <a:gd name="T70" fmla="*/ 435 w 1014"/>
                <a:gd name="T71" fmla="*/ 71 h 111"/>
                <a:gd name="T72" fmla="*/ 503 w 1014"/>
                <a:gd name="T73" fmla="*/ 71 h 111"/>
                <a:gd name="T74" fmla="*/ 571 w 1014"/>
                <a:gd name="T75" fmla="*/ 71 h 111"/>
                <a:gd name="T76" fmla="*/ 587 w 1014"/>
                <a:gd name="T77" fmla="*/ 83 h 111"/>
                <a:gd name="T78" fmla="*/ 621 w 1014"/>
                <a:gd name="T79" fmla="*/ 72 h 111"/>
                <a:gd name="T80" fmla="*/ 672 w 1014"/>
                <a:gd name="T81" fmla="*/ 107 h 111"/>
                <a:gd name="T82" fmla="*/ 723 w 1014"/>
                <a:gd name="T83" fmla="*/ 72 h 111"/>
                <a:gd name="T84" fmla="*/ 775 w 1014"/>
                <a:gd name="T85" fmla="*/ 107 h 111"/>
                <a:gd name="T86" fmla="*/ 826 w 1014"/>
                <a:gd name="T87" fmla="*/ 72 h 111"/>
                <a:gd name="T88" fmla="*/ 879 w 1014"/>
                <a:gd name="T89" fmla="*/ 111 h 111"/>
                <a:gd name="T90" fmla="*/ 910 w 1014"/>
                <a:gd name="T91" fmla="*/ 111 h 111"/>
                <a:gd name="T92" fmla="*/ 934 w 1014"/>
                <a:gd name="T93" fmla="*/ 85 h 111"/>
                <a:gd name="T94" fmla="*/ 979 w 1014"/>
                <a:gd name="T95" fmla="*/ 85 h 111"/>
                <a:gd name="T96" fmla="*/ 996 w 1014"/>
                <a:gd name="T97" fmla="*/ 102 h 111"/>
                <a:gd name="T98" fmla="*/ 1014 w 1014"/>
                <a:gd name="T99" fmla="*/ 71 h 111"/>
                <a:gd name="T100" fmla="*/ 996 w 1014"/>
                <a:gd name="T101" fmla="*/ 4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014" h="111">
                  <a:moveTo>
                    <a:pt x="996" y="40"/>
                  </a:moveTo>
                  <a:cubicBezTo>
                    <a:pt x="988" y="40"/>
                    <a:pt x="982" y="47"/>
                    <a:pt x="979" y="57"/>
                  </a:cubicBezTo>
                  <a:cubicBezTo>
                    <a:pt x="951" y="57"/>
                    <a:pt x="951" y="57"/>
                    <a:pt x="951" y="57"/>
                  </a:cubicBezTo>
                  <a:cubicBezTo>
                    <a:pt x="953" y="48"/>
                    <a:pt x="955" y="39"/>
                    <a:pt x="957" y="31"/>
                  </a:cubicBezTo>
                  <a:cubicBezTo>
                    <a:pt x="929" y="31"/>
                    <a:pt x="929" y="31"/>
                    <a:pt x="929" y="31"/>
                  </a:cubicBezTo>
                  <a:cubicBezTo>
                    <a:pt x="931" y="28"/>
                    <a:pt x="932" y="25"/>
                    <a:pt x="932" y="21"/>
                  </a:cubicBezTo>
                  <a:cubicBezTo>
                    <a:pt x="932" y="10"/>
                    <a:pt x="922" y="0"/>
                    <a:pt x="911" y="0"/>
                  </a:cubicBezTo>
                  <a:cubicBezTo>
                    <a:pt x="813" y="0"/>
                    <a:pt x="813" y="0"/>
                    <a:pt x="813" y="0"/>
                  </a:cubicBezTo>
                  <a:cubicBezTo>
                    <a:pt x="802" y="0"/>
                    <a:pt x="792" y="10"/>
                    <a:pt x="792" y="21"/>
                  </a:cubicBezTo>
                  <a:cubicBezTo>
                    <a:pt x="792" y="25"/>
                    <a:pt x="793" y="28"/>
                    <a:pt x="795" y="31"/>
                  </a:cubicBezTo>
                  <a:cubicBezTo>
                    <a:pt x="764" y="31"/>
                    <a:pt x="764" y="31"/>
                    <a:pt x="764" y="31"/>
                  </a:cubicBezTo>
                  <a:cubicBezTo>
                    <a:pt x="773" y="21"/>
                    <a:pt x="773" y="21"/>
                    <a:pt x="773" y="21"/>
                  </a:cubicBezTo>
                  <a:cubicBezTo>
                    <a:pt x="233" y="21"/>
                    <a:pt x="233" y="21"/>
                    <a:pt x="233" y="21"/>
                  </a:cubicBezTo>
                  <a:cubicBezTo>
                    <a:pt x="242" y="31"/>
                    <a:pt x="242" y="31"/>
                    <a:pt x="242" y="31"/>
                  </a:cubicBezTo>
                  <a:cubicBezTo>
                    <a:pt x="211" y="31"/>
                    <a:pt x="211" y="31"/>
                    <a:pt x="211" y="31"/>
                  </a:cubicBezTo>
                  <a:cubicBezTo>
                    <a:pt x="213" y="28"/>
                    <a:pt x="214" y="25"/>
                    <a:pt x="214" y="21"/>
                  </a:cubicBezTo>
                  <a:cubicBezTo>
                    <a:pt x="214" y="10"/>
                    <a:pt x="204" y="0"/>
                    <a:pt x="193" y="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84" y="0"/>
                    <a:pt x="75" y="10"/>
                    <a:pt x="75" y="21"/>
                  </a:cubicBezTo>
                  <a:cubicBezTo>
                    <a:pt x="75" y="25"/>
                    <a:pt x="76" y="28"/>
                    <a:pt x="77" y="31"/>
                  </a:cubicBezTo>
                  <a:cubicBezTo>
                    <a:pt x="49" y="31"/>
                    <a:pt x="49" y="31"/>
                    <a:pt x="49" y="31"/>
                  </a:cubicBezTo>
                  <a:cubicBezTo>
                    <a:pt x="50" y="36"/>
                    <a:pt x="51" y="42"/>
                    <a:pt x="53" y="48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3" y="36"/>
                    <a:pt x="26" y="28"/>
                    <a:pt x="19" y="28"/>
                  </a:cubicBezTo>
                  <a:cubicBezTo>
                    <a:pt x="8" y="28"/>
                    <a:pt x="0" y="43"/>
                    <a:pt x="0" y="62"/>
                  </a:cubicBezTo>
                  <a:cubicBezTo>
                    <a:pt x="0" y="80"/>
                    <a:pt x="8" y="95"/>
                    <a:pt x="19" y="95"/>
                  </a:cubicBezTo>
                  <a:cubicBezTo>
                    <a:pt x="26" y="95"/>
                    <a:pt x="33" y="87"/>
                    <a:pt x="36" y="76"/>
                  </a:cubicBezTo>
                  <a:cubicBezTo>
                    <a:pt x="64" y="76"/>
                    <a:pt x="64" y="76"/>
                    <a:pt x="64" y="76"/>
                  </a:cubicBezTo>
                  <a:cubicBezTo>
                    <a:pt x="87" y="100"/>
                    <a:pt x="87" y="100"/>
                    <a:pt x="87" y="100"/>
                  </a:cubicBezTo>
                  <a:cubicBezTo>
                    <a:pt x="96" y="83"/>
                    <a:pt x="114" y="72"/>
                    <a:pt x="135" y="72"/>
                  </a:cubicBezTo>
                  <a:cubicBezTo>
                    <a:pt x="158" y="72"/>
                    <a:pt x="178" y="86"/>
                    <a:pt x="186" y="107"/>
                  </a:cubicBezTo>
                  <a:cubicBezTo>
                    <a:pt x="194" y="86"/>
                    <a:pt x="214" y="72"/>
                    <a:pt x="238" y="72"/>
                  </a:cubicBezTo>
                  <a:cubicBezTo>
                    <a:pt x="261" y="72"/>
                    <a:pt x="281" y="86"/>
                    <a:pt x="289" y="107"/>
                  </a:cubicBezTo>
                  <a:cubicBezTo>
                    <a:pt x="297" y="86"/>
                    <a:pt x="317" y="72"/>
                    <a:pt x="341" y="72"/>
                  </a:cubicBezTo>
                  <a:cubicBezTo>
                    <a:pt x="363" y="72"/>
                    <a:pt x="382" y="85"/>
                    <a:pt x="391" y="104"/>
                  </a:cubicBezTo>
                  <a:cubicBezTo>
                    <a:pt x="435" y="71"/>
                    <a:pt x="435" y="71"/>
                    <a:pt x="435" y="71"/>
                  </a:cubicBezTo>
                  <a:cubicBezTo>
                    <a:pt x="503" y="71"/>
                    <a:pt x="503" y="71"/>
                    <a:pt x="503" y="71"/>
                  </a:cubicBezTo>
                  <a:cubicBezTo>
                    <a:pt x="571" y="71"/>
                    <a:pt x="571" y="71"/>
                    <a:pt x="571" y="71"/>
                  </a:cubicBezTo>
                  <a:cubicBezTo>
                    <a:pt x="587" y="83"/>
                    <a:pt x="587" y="83"/>
                    <a:pt x="587" y="83"/>
                  </a:cubicBezTo>
                  <a:cubicBezTo>
                    <a:pt x="597" y="76"/>
                    <a:pt x="608" y="72"/>
                    <a:pt x="621" y="72"/>
                  </a:cubicBezTo>
                  <a:cubicBezTo>
                    <a:pt x="644" y="72"/>
                    <a:pt x="664" y="86"/>
                    <a:pt x="672" y="107"/>
                  </a:cubicBezTo>
                  <a:cubicBezTo>
                    <a:pt x="680" y="86"/>
                    <a:pt x="700" y="72"/>
                    <a:pt x="723" y="72"/>
                  </a:cubicBezTo>
                  <a:cubicBezTo>
                    <a:pt x="747" y="72"/>
                    <a:pt x="767" y="86"/>
                    <a:pt x="775" y="107"/>
                  </a:cubicBezTo>
                  <a:cubicBezTo>
                    <a:pt x="783" y="86"/>
                    <a:pt x="803" y="72"/>
                    <a:pt x="826" y="72"/>
                  </a:cubicBezTo>
                  <a:cubicBezTo>
                    <a:pt x="851" y="72"/>
                    <a:pt x="872" y="88"/>
                    <a:pt x="879" y="111"/>
                  </a:cubicBezTo>
                  <a:cubicBezTo>
                    <a:pt x="910" y="111"/>
                    <a:pt x="910" y="111"/>
                    <a:pt x="910" y="111"/>
                  </a:cubicBezTo>
                  <a:cubicBezTo>
                    <a:pt x="934" y="85"/>
                    <a:pt x="934" y="85"/>
                    <a:pt x="934" y="85"/>
                  </a:cubicBezTo>
                  <a:cubicBezTo>
                    <a:pt x="979" y="85"/>
                    <a:pt x="979" y="85"/>
                    <a:pt x="979" y="85"/>
                  </a:cubicBezTo>
                  <a:cubicBezTo>
                    <a:pt x="982" y="95"/>
                    <a:pt x="988" y="102"/>
                    <a:pt x="996" y="102"/>
                  </a:cubicBezTo>
                  <a:cubicBezTo>
                    <a:pt x="1006" y="102"/>
                    <a:pt x="1014" y="88"/>
                    <a:pt x="1014" y="71"/>
                  </a:cubicBezTo>
                  <a:cubicBezTo>
                    <a:pt x="1014" y="54"/>
                    <a:pt x="1006" y="40"/>
                    <a:pt x="996" y="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47" name="Freeform 433"/>
            <p:cNvSpPr>
              <a:spLocks/>
            </p:cNvSpPr>
            <p:nvPr userDrawn="1"/>
          </p:nvSpPr>
          <p:spPr bwMode="auto">
            <a:xfrm>
              <a:off x="2629943" y="4138425"/>
              <a:ext cx="375834" cy="77725"/>
            </a:xfrm>
            <a:custGeom>
              <a:avLst/>
              <a:gdLst>
                <a:gd name="T0" fmla="*/ 65 w 382"/>
                <a:gd name="T1" fmla="*/ 79 h 79"/>
                <a:gd name="T2" fmla="*/ 65 w 382"/>
                <a:gd name="T3" fmla="*/ 79 h 79"/>
                <a:gd name="T4" fmla="*/ 316 w 382"/>
                <a:gd name="T5" fmla="*/ 79 h 79"/>
                <a:gd name="T6" fmla="*/ 382 w 382"/>
                <a:gd name="T7" fmla="*/ 9 h 79"/>
                <a:gd name="T8" fmla="*/ 382 w 382"/>
                <a:gd name="T9" fmla="*/ 0 h 79"/>
                <a:gd name="T10" fmla="*/ 191 w 382"/>
                <a:gd name="T11" fmla="*/ 0 h 79"/>
                <a:gd name="T12" fmla="*/ 0 w 382"/>
                <a:gd name="T13" fmla="*/ 0 h 79"/>
                <a:gd name="T14" fmla="*/ 1 w 382"/>
                <a:gd name="T15" fmla="*/ 9 h 79"/>
                <a:gd name="T16" fmla="*/ 65 w 382"/>
                <a:gd name="T17" fmla="*/ 7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2" h="79">
                  <a:moveTo>
                    <a:pt x="65" y="79"/>
                  </a:moveTo>
                  <a:lnTo>
                    <a:pt x="65" y="79"/>
                  </a:lnTo>
                  <a:lnTo>
                    <a:pt x="316" y="79"/>
                  </a:lnTo>
                  <a:lnTo>
                    <a:pt x="382" y="9"/>
                  </a:lnTo>
                  <a:lnTo>
                    <a:pt x="382" y="0"/>
                  </a:lnTo>
                  <a:lnTo>
                    <a:pt x="191" y="0"/>
                  </a:lnTo>
                  <a:lnTo>
                    <a:pt x="0" y="0"/>
                  </a:lnTo>
                  <a:lnTo>
                    <a:pt x="1" y="9"/>
                  </a:lnTo>
                  <a:lnTo>
                    <a:pt x="65" y="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48" name="Freeform 434"/>
            <p:cNvSpPr>
              <a:spLocks noEditPoints="1"/>
            </p:cNvSpPr>
            <p:nvPr userDrawn="1"/>
          </p:nvSpPr>
          <p:spPr bwMode="auto">
            <a:xfrm>
              <a:off x="3388497" y="4250585"/>
              <a:ext cx="36403" cy="36403"/>
            </a:xfrm>
            <a:custGeom>
              <a:avLst/>
              <a:gdLst>
                <a:gd name="T0" fmla="*/ 42 w 83"/>
                <a:gd name="T1" fmla="*/ 0 h 84"/>
                <a:gd name="T2" fmla="*/ 0 w 83"/>
                <a:gd name="T3" fmla="*/ 42 h 84"/>
                <a:gd name="T4" fmla="*/ 42 w 83"/>
                <a:gd name="T5" fmla="*/ 84 h 84"/>
                <a:gd name="T6" fmla="*/ 83 w 83"/>
                <a:gd name="T7" fmla="*/ 42 h 84"/>
                <a:gd name="T8" fmla="*/ 42 w 83"/>
                <a:gd name="T9" fmla="*/ 0 h 84"/>
                <a:gd name="T10" fmla="*/ 42 w 83"/>
                <a:gd name="T11" fmla="*/ 72 h 84"/>
                <a:gd name="T12" fmla="*/ 12 w 83"/>
                <a:gd name="T13" fmla="*/ 42 h 84"/>
                <a:gd name="T14" fmla="*/ 42 w 83"/>
                <a:gd name="T15" fmla="*/ 13 h 84"/>
                <a:gd name="T16" fmla="*/ 71 w 83"/>
                <a:gd name="T17" fmla="*/ 42 h 84"/>
                <a:gd name="T18" fmla="*/ 42 w 83"/>
                <a:gd name="T19" fmla="*/ 7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3" h="84">
                  <a:moveTo>
                    <a:pt x="42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65"/>
                    <a:pt x="19" y="84"/>
                    <a:pt x="42" y="84"/>
                  </a:cubicBezTo>
                  <a:cubicBezTo>
                    <a:pt x="65" y="84"/>
                    <a:pt x="83" y="65"/>
                    <a:pt x="83" y="42"/>
                  </a:cubicBezTo>
                  <a:cubicBezTo>
                    <a:pt x="83" y="19"/>
                    <a:pt x="65" y="0"/>
                    <a:pt x="42" y="0"/>
                  </a:cubicBezTo>
                  <a:close/>
                  <a:moveTo>
                    <a:pt x="42" y="72"/>
                  </a:moveTo>
                  <a:cubicBezTo>
                    <a:pt x="25" y="72"/>
                    <a:pt x="12" y="58"/>
                    <a:pt x="12" y="42"/>
                  </a:cubicBezTo>
                  <a:cubicBezTo>
                    <a:pt x="12" y="26"/>
                    <a:pt x="25" y="13"/>
                    <a:pt x="42" y="13"/>
                  </a:cubicBezTo>
                  <a:cubicBezTo>
                    <a:pt x="58" y="13"/>
                    <a:pt x="71" y="26"/>
                    <a:pt x="71" y="42"/>
                  </a:cubicBezTo>
                  <a:cubicBezTo>
                    <a:pt x="71" y="58"/>
                    <a:pt x="58" y="72"/>
                    <a:pt x="42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49" name="Oval 435"/>
            <p:cNvSpPr>
              <a:spLocks noChangeArrowheads="1"/>
            </p:cNvSpPr>
            <p:nvPr userDrawn="1"/>
          </p:nvSpPr>
          <p:spPr bwMode="auto">
            <a:xfrm>
              <a:off x="3396368" y="4258455"/>
              <a:ext cx="21645" cy="2066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50" name="Freeform 436"/>
            <p:cNvSpPr>
              <a:spLocks noEditPoints="1"/>
            </p:cNvSpPr>
            <p:nvPr userDrawn="1"/>
          </p:nvSpPr>
          <p:spPr bwMode="auto">
            <a:xfrm>
              <a:off x="3344223" y="4250585"/>
              <a:ext cx="36403" cy="36403"/>
            </a:xfrm>
            <a:custGeom>
              <a:avLst/>
              <a:gdLst>
                <a:gd name="T0" fmla="*/ 42 w 84"/>
                <a:gd name="T1" fmla="*/ 0 h 84"/>
                <a:gd name="T2" fmla="*/ 0 w 84"/>
                <a:gd name="T3" fmla="*/ 42 h 84"/>
                <a:gd name="T4" fmla="*/ 42 w 84"/>
                <a:gd name="T5" fmla="*/ 84 h 84"/>
                <a:gd name="T6" fmla="*/ 84 w 84"/>
                <a:gd name="T7" fmla="*/ 42 h 84"/>
                <a:gd name="T8" fmla="*/ 42 w 84"/>
                <a:gd name="T9" fmla="*/ 0 h 84"/>
                <a:gd name="T10" fmla="*/ 42 w 84"/>
                <a:gd name="T11" fmla="*/ 72 h 84"/>
                <a:gd name="T12" fmla="*/ 12 w 84"/>
                <a:gd name="T13" fmla="*/ 42 h 84"/>
                <a:gd name="T14" fmla="*/ 42 w 84"/>
                <a:gd name="T15" fmla="*/ 13 h 84"/>
                <a:gd name="T16" fmla="*/ 71 w 84"/>
                <a:gd name="T17" fmla="*/ 42 h 84"/>
                <a:gd name="T18" fmla="*/ 42 w 84"/>
                <a:gd name="T19" fmla="*/ 7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65"/>
                    <a:pt x="19" y="84"/>
                    <a:pt x="42" y="84"/>
                  </a:cubicBezTo>
                  <a:cubicBezTo>
                    <a:pt x="65" y="84"/>
                    <a:pt x="84" y="65"/>
                    <a:pt x="84" y="42"/>
                  </a:cubicBezTo>
                  <a:cubicBezTo>
                    <a:pt x="84" y="19"/>
                    <a:pt x="65" y="0"/>
                    <a:pt x="42" y="0"/>
                  </a:cubicBezTo>
                  <a:close/>
                  <a:moveTo>
                    <a:pt x="42" y="72"/>
                  </a:moveTo>
                  <a:cubicBezTo>
                    <a:pt x="26" y="72"/>
                    <a:pt x="12" y="58"/>
                    <a:pt x="12" y="42"/>
                  </a:cubicBezTo>
                  <a:cubicBezTo>
                    <a:pt x="12" y="26"/>
                    <a:pt x="26" y="13"/>
                    <a:pt x="42" y="13"/>
                  </a:cubicBezTo>
                  <a:cubicBezTo>
                    <a:pt x="58" y="13"/>
                    <a:pt x="71" y="26"/>
                    <a:pt x="71" y="42"/>
                  </a:cubicBezTo>
                  <a:cubicBezTo>
                    <a:pt x="71" y="58"/>
                    <a:pt x="58" y="72"/>
                    <a:pt x="42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51" name="Oval 437"/>
            <p:cNvSpPr>
              <a:spLocks noChangeArrowheads="1"/>
            </p:cNvSpPr>
            <p:nvPr userDrawn="1"/>
          </p:nvSpPr>
          <p:spPr bwMode="auto">
            <a:xfrm>
              <a:off x="3352094" y="4258455"/>
              <a:ext cx="20661" cy="2066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52" name="Freeform 438"/>
            <p:cNvSpPr>
              <a:spLocks noEditPoints="1"/>
            </p:cNvSpPr>
            <p:nvPr userDrawn="1"/>
          </p:nvSpPr>
          <p:spPr bwMode="auto">
            <a:xfrm>
              <a:off x="3298966" y="4250585"/>
              <a:ext cx="36403" cy="36403"/>
            </a:xfrm>
            <a:custGeom>
              <a:avLst/>
              <a:gdLst>
                <a:gd name="T0" fmla="*/ 42 w 84"/>
                <a:gd name="T1" fmla="*/ 0 h 84"/>
                <a:gd name="T2" fmla="*/ 0 w 84"/>
                <a:gd name="T3" fmla="*/ 42 h 84"/>
                <a:gd name="T4" fmla="*/ 42 w 84"/>
                <a:gd name="T5" fmla="*/ 84 h 84"/>
                <a:gd name="T6" fmla="*/ 84 w 84"/>
                <a:gd name="T7" fmla="*/ 42 h 84"/>
                <a:gd name="T8" fmla="*/ 42 w 84"/>
                <a:gd name="T9" fmla="*/ 0 h 84"/>
                <a:gd name="T10" fmla="*/ 42 w 84"/>
                <a:gd name="T11" fmla="*/ 72 h 84"/>
                <a:gd name="T12" fmla="*/ 13 w 84"/>
                <a:gd name="T13" fmla="*/ 42 h 84"/>
                <a:gd name="T14" fmla="*/ 42 w 84"/>
                <a:gd name="T15" fmla="*/ 13 h 84"/>
                <a:gd name="T16" fmla="*/ 72 w 84"/>
                <a:gd name="T17" fmla="*/ 42 h 84"/>
                <a:gd name="T18" fmla="*/ 42 w 84"/>
                <a:gd name="T19" fmla="*/ 7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65"/>
                    <a:pt x="19" y="84"/>
                    <a:pt x="42" y="84"/>
                  </a:cubicBezTo>
                  <a:cubicBezTo>
                    <a:pt x="65" y="84"/>
                    <a:pt x="84" y="65"/>
                    <a:pt x="84" y="42"/>
                  </a:cubicBezTo>
                  <a:cubicBezTo>
                    <a:pt x="84" y="19"/>
                    <a:pt x="65" y="0"/>
                    <a:pt x="42" y="0"/>
                  </a:cubicBezTo>
                  <a:close/>
                  <a:moveTo>
                    <a:pt x="42" y="72"/>
                  </a:moveTo>
                  <a:cubicBezTo>
                    <a:pt x="26" y="72"/>
                    <a:pt x="13" y="58"/>
                    <a:pt x="13" y="42"/>
                  </a:cubicBezTo>
                  <a:cubicBezTo>
                    <a:pt x="13" y="26"/>
                    <a:pt x="26" y="13"/>
                    <a:pt x="42" y="13"/>
                  </a:cubicBezTo>
                  <a:cubicBezTo>
                    <a:pt x="58" y="13"/>
                    <a:pt x="72" y="26"/>
                    <a:pt x="72" y="42"/>
                  </a:cubicBezTo>
                  <a:cubicBezTo>
                    <a:pt x="72" y="58"/>
                    <a:pt x="58" y="72"/>
                    <a:pt x="42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53" name="Oval 439"/>
            <p:cNvSpPr>
              <a:spLocks noChangeArrowheads="1"/>
            </p:cNvSpPr>
            <p:nvPr userDrawn="1"/>
          </p:nvSpPr>
          <p:spPr bwMode="auto">
            <a:xfrm>
              <a:off x="3306837" y="4258455"/>
              <a:ext cx="20661" cy="2066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54" name="Freeform 440"/>
            <p:cNvSpPr>
              <a:spLocks noEditPoints="1"/>
            </p:cNvSpPr>
            <p:nvPr userDrawn="1"/>
          </p:nvSpPr>
          <p:spPr bwMode="auto">
            <a:xfrm>
              <a:off x="3175984" y="4250585"/>
              <a:ext cx="37387" cy="36403"/>
            </a:xfrm>
            <a:custGeom>
              <a:avLst/>
              <a:gdLst>
                <a:gd name="T0" fmla="*/ 42 w 84"/>
                <a:gd name="T1" fmla="*/ 0 h 84"/>
                <a:gd name="T2" fmla="*/ 0 w 84"/>
                <a:gd name="T3" fmla="*/ 42 h 84"/>
                <a:gd name="T4" fmla="*/ 42 w 84"/>
                <a:gd name="T5" fmla="*/ 84 h 84"/>
                <a:gd name="T6" fmla="*/ 84 w 84"/>
                <a:gd name="T7" fmla="*/ 42 h 84"/>
                <a:gd name="T8" fmla="*/ 42 w 84"/>
                <a:gd name="T9" fmla="*/ 0 h 84"/>
                <a:gd name="T10" fmla="*/ 42 w 84"/>
                <a:gd name="T11" fmla="*/ 72 h 84"/>
                <a:gd name="T12" fmla="*/ 12 w 84"/>
                <a:gd name="T13" fmla="*/ 42 h 84"/>
                <a:gd name="T14" fmla="*/ 42 w 84"/>
                <a:gd name="T15" fmla="*/ 13 h 84"/>
                <a:gd name="T16" fmla="*/ 72 w 84"/>
                <a:gd name="T17" fmla="*/ 42 h 84"/>
                <a:gd name="T18" fmla="*/ 42 w 84"/>
                <a:gd name="T19" fmla="*/ 7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65"/>
                    <a:pt x="19" y="84"/>
                    <a:pt x="42" y="84"/>
                  </a:cubicBezTo>
                  <a:cubicBezTo>
                    <a:pt x="65" y="84"/>
                    <a:pt x="84" y="65"/>
                    <a:pt x="84" y="42"/>
                  </a:cubicBezTo>
                  <a:cubicBezTo>
                    <a:pt x="84" y="19"/>
                    <a:pt x="65" y="0"/>
                    <a:pt x="42" y="0"/>
                  </a:cubicBezTo>
                  <a:close/>
                  <a:moveTo>
                    <a:pt x="42" y="72"/>
                  </a:moveTo>
                  <a:cubicBezTo>
                    <a:pt x="26" y="72"/>
                    <a:pt x="12" y="58"/>
                    <a:pt x="12" y="42"/>
                  </a:cubicBezTo>
                  <a:cubicBezTo>
                    <a:pt x="12" y="26"/>
                    <a:pt x="26" y="13"/>
                    <a:pt x="42" y="13"/>
                  </a:cubicBezTo>
                  <a:cubicBezTo>
                    <a:pt x="58" y="13"/>
                    <a:pt x="72" y="26"/>
                    <a:pt x="72" y="42"/>
                  </a:cubicBezTo>
                  <a:cubicBezTo>
                    <a:pt x="72" y="58"/>
                    <a:pt x="58" y="72"/>
                    <a:pt x="42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55" name="Oval 441"/>
            <p:cNvSpPr>
              <a:spLocks noChangeArrowheads="1"/>
            </p:cNvSpPr>
            <p:nvPr userDrawn="1"/>
          </p:nvSpPr>
          <p:spPr bwMode="auto">
            <a:xfrm>
              <a:off x="3183854" y="4258455"/>
              <a:ext cx="21645" cy="2066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56" name="Freeform 442"/>
            <p:cNvSpPr>
              <a:spLocks noEditPoints="1"/>
            </p:cNvSpPr>
            <p:nvPr userDrawn="1"/>
          </p:nvSpPr>
          <p:spPr bwMode="auto">
            <a:xfrm>
              <a:off x="3131710" y="4250585"/>
              <a:ext cx="36403" cy="36403"/>
            </a:xfrm>
            <a:custGeom>
              <a:avLst/>
              <a:gdLst>
                <a:gd name="T0" fmla="*/ 42 w 84"/>
                <a:gd name="T1" fmla="*/ 0 h 84"/>
                <a:gd name="T2" fmla="*/ 0 w 84"/>
                <a:gd name="T3" fmla="*/ 42 h 84"/>
                <a:gd name="T4" fmla="*/ 42 w 84"/>
                <a:gd name="T5" fmla="*/ 84 h 84"/>
                <a:gd name="T6" fmla="*/ 84 w 84"/>
                <a:gd name="T7" fmla="*/ 42 h 84"/>
                <a:gd name="T8" fmla="*/ 42 w 84"/>
                <a:gd name="T9" fmla="*/ 0 h 84"/>
                <a:gd name="T10" fmla="*/ 42 w 84"/>
                <a:gd name="T11" fmla="*/ 72 h 84"/>
                <a:gd name="T12" fmla="*/ 13 w 84"/>
                <a:gd name="T13" fmla="*/ 42 h 84"/>
                <a:gd name="T14" fmla="*/ 42 w 84"/>
                <a:gd name="T15" fmla="*/ 13 h 84"/>
                <a:gd name="T16" fmla="*/ 72 w 84"/>
                <a:gd name="T17" fmla="*/ 42 h 84"/>
                <a:gd name="T18" fmla="*/ 42 w 84"/>
                <a:gd name="T19" fmla="*/ 7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65"/>
                    <a:pt x="19" y="84"/>
                    <a:pt x="42" y="84"/>
                  </a:cubicBezTo>
                  <a:cubicBezTo>
                    <a:pt x="65" y="84"/>
                    <a:pt x="84" y="65"/>
                    <a:pt x="84" y="42"/>
                  </a:cubicBezTo>
                  <a:cubicBezTo>
                    <a:pt x="84" y="19"/>
                    <a:pt x="65" y="0"/>
                    <a:pt x="42" y="0"/>
                  </a:cubicBezTo>
                  <a:close/>
                  <a:moveTo>
                    <a:pt x="42" y="72"/>
                  </a:moveTo>
                  <a:cubicBezTo>
                    <a:pt x="26" y="72"/>
                    <a:pt x="13" y="58"/>
                    <a:pt x="13" y="42"/>
                  </a:cubicBezTo>
                  <a:cubicBezTo>
                    <a:pt x="13" y="26"/>
                    <a:pt x="26" y="13"/>
                    <a:pt x="42" y="13"/>
                  </a:cubicBezTo>
                  <a:cubicBezTo>
                    <a:pt x="59" y="13"/>
                    <a:pt x="72" y="26"/>
                    <a:pt x="72" y="42"/>
                  </a:cubicBezTo>
                  <a:cubicBezTo>
                    <a:pt x="72" y="58"/>
                    <a:pt x="59" y="72"/>
                    <a:pt x="42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57" name="Oval 443"/>
            <p:cNvSpPr>
              <a:spLocks noChangeArrowheads="1"/>
            </p:cNvSpPr>
            <p:nvPr userDrawn="1"/>
          </p:nvSpPr>
          <p:spPr bwMode="auto">
            <a:xfrm>
              <a:off x="3139581" y="4258455"/>
              <a:ext cx="20661" cy="2066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58" name="Freeform 444"/>
            <p:cNvSpPr>
              <a:spLocks noEditPoints="1"/>
            </p:cNvSpPr>
            <p:nvPr userDrawn="1"/>
          </p:nvSpPr>
          <p:spPr bwMode="auto">
            <a:xfrm>
              <a:off x="3086453" y="4250585"/>
              <a:ext cx="36403" cy="36403"/>
            </a:xfrm>
            <a:custGeom>
              <a:avLst/>
              <a:gdLst>
                <a:gd name="T0" fmla="*/ 41 w 83"/>
                <a:gd name="T1" fmla="*/ 0 h 84"/>
                <a:gd name="T2" fmla="*/ 0 w 83"/>
                <a:gd name="T3" fmla="*/ 42 h 84"/>
                <a:gd name="T4" fmla="*/ 41 w 83"/>
                <a:gd name="T5" fmla="*/ 84 h 84"/>
                <a:gd name="T6" fmla="*/ 83 w 83"/>
                <a:gd name="T7" fmla="*/ 42 h 84"/>
                <a:gd name="T8" fmla="*/ 41 w 83"/>
                <a:gd name="T9" fmla="*/ 0 h 84"/>
                <a:gd name="T10" fmla="*/ 41 w 83"/>
                <a:gd name="T11" fmla="*/ 72 h 84"/>
                <a:gd name="T12" fmla="*/ 12 w 83"/>
                <a:gd name="T13" fmla="*/ 42 h 84"/>
                <a:gd name="T14" fmla="*/ 41 w 83"/>
                <a:gd name="T15" fmla="*/ 13 h 84"/>
                <a:gd name="T16" fmla="*/ 71 w 83"/>
                <a:gd name="T17" fmla="*/ 42 h 84"/>
                <a:gd name="T18" fmla="*/ 41 w 83"/>
                <a:gd name="T19" fmla="*/ 7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3" h="84">
                  <a:moveTo>
                    <a:pt x="41" y="0"/>
                  </a:moveTo>
                  <a:cubicBezTo>
                    <a:pt x="18" y="0"/>
                    <a:pt x="0" y="19"/>
                    <a:pt x="0" y="42"/>
                  </a:cubicBezTo>
                  <a:cubicBezTo>
                    <a:pt x="0" y="65"/>
                    <a:pt x="18" y="84"/>
                    <a:pt x="41" y="84"/>
                  </a:cubicBezTo>
                  <a:cubicBezTo>
                    <a:pt x="65" y="84"/>
                    <a:pt x="83" y="65"/>
                    <a:pt x="83" y="42"/>
                  </a:cubicBezTo>
                  <a:cubicBezTo>
                    <a:pt x="83" y="19"/>
                    <a:pt x="65" y="0"/>
                    <a:pt x="41" y="0"/>
                  </a:cubicBezTo>
                  <a:close/>
                  <a:moveTo>
                    <a:pt x="41" y="72"/>
                  </a:moveTo>
                  <a:cubicBezTo>
                    <a:pt x="25" y="72"/>
                    <a:pt x="12" y="58"/>
                    <a:pt x="12" y="42"/>
                  </a:cubicBezTo>
                  <a:cubicBezTo>
                    <a:pt x="12" y="26"/>
                    <a:pt x="25" y="13"/>
                    <a:pt x="41" y="13"/>
                  </a:cubicBezTo>
                  <a:cubicBezTo>
                    <a:pt x="58" y="13"/>
                    <a:pt x="71" y="26"/>
                    <a:pt x="71" y="42"/>
                  </a:cubicBezTo>
                  <a:cubicBezTo>
                    <a:pt x="71" y="58"/>
                    <a:pt x="58" y="72"/>
                    <a:pt x="41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59" name="Oval 445"/>
            <p:cNvSpPr>
              <a:spLocks noChangeArrowheads="1"/>
            </p:cNvSpPr>
            <p:nvPr userDrawn="1"/>
          </p:nvSpPr>
          <p:spPr bwMode="auto">
            <a:xfrm>
              <a:off x="3094323" y="4258455"/>
              <a:ext cx="20661" cy="2066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60" name="Freeform 446"/>
            <p:cNvSpPr>
              <a:spLocks/>
            </p:cNvSpPr>
            <p:nvPr userDrawn="1"/>
          </p:nvSpPr>
          <p:spPr bwMode="auto">
            <a:xfrm>
              <a:off x="3110065" y="4109893"/>
              <a:ext cx="328608" cy="25580"/>
            </a:xfrm>
            <a:custGeom>
              <a:avLst/>
              <a:gdLst>
                <a:gd name="T0" fmla="*/ 732 w 751"/>
                <a:gd name="T1" fmla="*/ 43 h 58"/>
                <a:gd name="T2" fmla="*/ 709 w 751"/>
                <a:gd name="T3" fmla="*/ 22 h 58"/>
                <a:gd name="T4" fmla="*/ 698 w 751"/>
                <a:gd name="T5" fmla="*/ 26 h 58"/>
                <a:gd name="T6" fmla="*/ 698 w 751"/>
                <a:gd name="T7" fmla="*/ 22 h 58"/>
                <a:gd name="T8" fmla="*/ 675 w 751"/>
                <a:gd name="T9" fmla="*/ 0 h 58"/>
                <a:gd name="T10" fmla="*/ 659 w 751"/>
                <a:gd name="T11" fmla="*/ 6 h 58"/>
                <a:gd name="T12" fmla="*/ 643 w 751"/>
                <a:gd name="T13" fmla="*/ 0 h 58"/>
                <a:gd name="T14" fmla="*/ 627 w 751"/>
                <a:gd name="T15" fmla="*/ 6 h 58"/>
                <a:gd name="T16" fmla="*/ 611 w 751"/>
                <a:gd name="T17" fmla="*/ 0 h 58"/>
                <a:gd name="T18" fmla="*/ 595 w 751"/>
                <a:gd name="T19" fmla="*/ 6 h 58"/>
                <a:gd name="T20" fmla="*/ 578 w 751"/>
                <a:gd name="T21" fmla="*/ 0 h 58"/>
                <a:gd name="T22" fmla="*/ 562 w 751"/>
                <a:gd name="T23" fmla="*/ 6 h 58"/>
                <a:gd name="T24" fmla="*/ 546 w 751"/>
                <a:gd name="T25" fmla="*/ 0 h 58"/>
                <a:gd name="T26" fmla="*/ 530 w 751"/>
                <a:gd name="T27" fmla="*/ 6 h 58"/>
                <a:gd name="T28" fmla="*/ 514 w 751"/>
                <a:gd name="T29" fmla="*/ 0 h 58"/>
                <a:gd name="T30" fmla="*/ 498 w 751"/>
                <a:gd name="T31" fmla="*/ 6 h 58"/>
                <a:gd name="T32" fmla="*/ 482 w 751"/>
                <a:gd name="T33" fmla="*/ 0 h 58"/>
                <a:gd name="T34" fmla="*/ 466 w 751"/>
                <a:gd name="T35" fmla="*/ 6 h 58"/>
                <a:gd name="T36" fmla="*/ 449 w 751"/>
                <a:gd name="T37" fmla="*/ 0 h 58"/>
                <a:gd name="T38" fmla="*/ 433 w 751"/>
                <a:gd name="T39" fmla="*/ 6 h 58"/>
                <a:gd name="T40" fmla="*/ 417 w 751"/>
                <a:gd name="T41" fmla="*/ 0 h 58"/>
                <a:gd name="T42" fmla="*/ 401 w 751"/>
                <a:gd name="T43" fmla="*/ 6 h 58"/>
                <a:gd name="T44" fmla="*/ 385 w 751"/>
                <a:gd name="T45" fmla="*/ 0 h 58"/>
                <a:gd name="T46" fmla="*/ 369 w 751"/>
                <a:gd name="T47" fmla="*/ 6 h 58"/>
                <a:gd name="T48" fmla="*/ 353 w 751"/>
                <a:gd name="T49" fmla="*/ 0 h 58"/>
                <a:gd name="T50" fmla="*/ 337 w 751"/>
                <a:gd name="T51" fmla="*/ 6 h 58"/>
                <a:gd name="T52" fmla="*/ 321 w 751"/>
                <a:gd name="T53" fmla="*/ 0 h 58"/>
                <a:gd name="T54" fmla="*/ 304 w 751"/>
                <a:gd name="T55" fmla="*/ 6 h 58"/>
                <a:gd name="T56" fmla="*/ 288 w 751"/>
                <a:gd name="T57" fmla="*/ 0 h 58"/>
                <a:gd name="T58" fmla="*/ 272 w 751"/>
                <a:gd name="T59" fmla="*/ 6 h 58"/>
                <a:gd name="T60" fmla="*/ 256 w 751"/>
                <a:gd name="T61" fmla="*/ 0 h 58"/>
                <a:gd name="T62" fmla="*/ 240 w 751"/>
                <a:gd name="T63" fmla="*/ 6 h 58"/>
                <a:gd name="T64" fmla="*/ 224 w 751"/>
                <a:gd name="T65" fmla="*/ 0 h 58"/>
                <a:gd name="T66" fmla="*/ 208 w 751"/>
                <a:gd name="T67" fmla="*/ 6 h 58"/>
                <a:gd name="T68" fmla="*/ 192 w 751"/>
                <a:gd name="T69" fmla="*/ 0 h 58"/>
                <a:gd name="T70" fmla="*/ 175 w 751"/>
                <a:gd name="T71" fmla="*/ 6 h 58"/>
                <a:gd name="T72" fmla="*/ 159 w 751"/>
                <a:gd name="T73" fmla="*/ 0 h 58"/>
                <a:gd name="T74" fmla="*/ 143 w 751"/>
                <a:gd name="T75" fmla="*/ 6 h 58"/>
                <a:gd name="T76" fmla="*/ 127 w 751"/>
                <a:gd name="T77" fmla="*/ 0 h 58"/>
                <a:gd name="T78" fmla="*/ 111 w 751"/>
                <a:gd name="T79" fmla="*/ 6 h 58"/>
                <a:gd name="T80" fmla="*/ 95 w 751"/>
                <a:gd name="T81" fmla="*/ 0 h 58"/>
                <a:gd name="T82" fmla="*/ 79 w 751"/>
                <a:gd name="T83" fmla="*/ 6 h 58"/>
                <a:gd name="T84" fmla="*/ 63 w 751"/>
                <a:gd name="T85" fmla="*/ 0 h 58"/>
                <a:gd name="T86" fmla="*/ 40 w 751"/>
                <a:gd name="T87" fmla="*/ 22 h 58"/>
                <a:gd name="T88" fmla="*/ 40 w 751"/>
                <a:gd name="T89" fmla="*/ 24 h 58"/>
                <a:gd name="T90" fmla="*/ 32 w 751"/>
                <a:gd name="T91" fmla="*/ 22 h 58"/>
                <a:gd name="T92" fmla="*/ 9 w 751"/>
                <a:gd name="T93" fmla="*/ 45 h 58"/>
                <a:gd name="T94" fmla="*/ 10 w 751"/>
                <a:gd name="T95" fmla="*/ 46 h 58"/>
                <a:gd name="T96" fmla="*/ 0 w 751"/>
                <a:gd name="T97" fmla="*/ 58 h 58"/>
                <a:gd name="T98" fmla="*/ 751 w 751"/>
                <a:gd name="T99" fmla="*/ 58 h 58"/>
                <a:gd name="T100" fmla="*/ 732 w 751"/>
                <a:gd name="T101" fmla="*/ 43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751" h="58">
                  <a:moveTo>
                    <a:pt x="732" y="43"/>
                  </a:moveTo>
                  <a:cubicBezTo>
                    <a:pt x="731" y="32"/>
                    <a:pt x="721" y="22"/>
                    <a:pt x="709" y="22"/>
                  </a:cubicBezTo>
                  <a:cubicBezTo>
                    <a:pt x="705" y="22"/>
                    <a:pt x="701" y="24"/>
                    <a:pt x="698" y="26"/>
                  </a:cubicBezTo>
                  <a:cubicBezTo>
                    <a:pt x="698" y="25"/>
                    <a:pt x="698" y="23"/>
                    <a:pt x="698" y="22"/>
                  </a:cubicBezTo>
                  <a:cubicBezTo>
                    <a:pt x="698" y="10"/>
                    <a:pt x="688" y="0"/>
                    <a:pt x="675" y="0"/>
                  </a:cubicBezTo>
                  <a:cubicBezTo>
                    <a:pt x="669" y="0"/>
                    <a:pt x="663" y="2"/>
                    <a:pt x="659" y="6"/>
                  </a:cubicBezTo>
                  <a:cubicBezTo>
                    <a:pt x="655" y="2"/>
                    <a:pt x="649" y="0"/>
                    <a:pt x="643" y="0"/>
                  </a:cubicBezTo>
                  <a:cubicBezTo>
                    <a:pt x="637" y="0"/>
                    <a:pt x="631" y="2"/>
                    <a:pt x="627" y="6"/>
                  </a:cubicBezTo>
                  <a:cubicBezTo>
                    <a:pt x="623" y="2"/>
                    <a:pt x="617" y="0"/>
                    <a:pt x="611" y="0"/>
                  </a:cubicBezTo>
                  <a:cubicBezTo>
                    <a:pt x="604" y="0"/>
                    <a:pt x="599" y="2"/>
                    <a:pt x="595" y="6"/>
                  </a:cubicBezTo>
                  <a:cubicBezTo>
                    <a:pt x="590" y="2"/>
                    <a:pt x="585" y="0"/>
                    <a:pt x="578" y="0"/>
                  </a:cubicBezTo>
                  <a:cubicBezTo>
                    <a:pt x="572" y="0"/>
                    <a:pt x="566" y="2"/>
                    <a:pt x="562" y="6"/>
                  </a:cubicBezTo>
                  <a:cubicBezTo>
                    <a:pt x="558" y="2"/>
                    <a:pt x="553" y="0"/>
                    <a:pt x="546" y="0"/>
                  </a:cubicBezTo>
                  <a:cubicBezTo>
                    <a:pt x="540" y="0"/>
                    <a:pt x="534" y="2"/>
                    <a:pt x="530" y="6"/>
                  </a:cubicBezTo>
                  <a:cubicBezTo>
                    <a:pt x="526" y="2"/>
                    <a:pt x="520" y="0"/>
                    <a:pt x="514" y="0"/>
                  </a:cubicBezTo>
                  <a:cubicBezTo>
                    <a:pt x="508" y="0"/>
                    <a:pt x="502" y="2"/>
                    <a:pt x="498" y="6"/>
                  </a:cubicBezTo>
                  <a:cubicBezTo>
                    <a:pt x="494" y="2"/>
                    <a:pt x="488" y="0"/>
                    <a:pt x="482" y="0"/>
                  </a:cubicBezTo>
                  <a:cubicBezTo>
                    <a:pt x="475" y="0"/>
                    <a:pt x="470" y="2"/>
                    <a:pt x="466" y="6"/>
                  </a:cubicBezTo>
                  <a:cubicBezTo>
                    <a:pt x="461" y="2"/>
                    <a:pt x="456" y="0"/>
                    <a:pt x="449" y="0"/>
                  </a:cubicBezTo>
                  <a:cubicBezTo>
                    <a:pt x="443" y="0"/>
                    <a:pt x="437" y="2"/>
                    <a:pt x="433" y="6"/>
                  </a:cubicBezTo>
                  <a:cubicBezTo>
                    <a:pt x="429" y="2"/>
                    <a:pt x="424" y="0"/>
                    <a:pt x="417" y="0"/>
                  </a:cubicBezTo>
                  <a:cubicBezTo>
                    <a:pt x="411" y="0"/>
                    <a:pt x="405" y="2"/>
                    <a:pt x="401" y="6"/>
                  </a:cubicBezTo>
                  <a:cubicBezTo>
                    <a:pt x="397" y="2"/>
                    <a:pt x="391" y="0"/>
                    <a:pt x="385" y="0"/>
                  </a:cubicBezTo>
                  <a:cubicBezTo>
                    <a:pt x="379" y="0"/>
                    <a:pt x="373" y="2"/>
                    <a:pt x="369" y="6"/>
                  </a:cubicBezTo>
                  <a:cubicBezTo>
                    <a:pt x="365" y="2"/>
                    <a:pt x="359" y="0"/>
                    <a:pt x="353" y="0"/>
                  </a:cubicBezTo>
                  <a:cubicBezTo>
                    <a:pt x="346" y="0"/>
                    <a:pt x="341" y="2"/>
                    <a:pt x="337" y="6"/>
                  </a:cubicBezTo>
                  <a:cubicBezTo>
                    <a:pt x="333" y="2"/>
                    <a:pt x="327" y="0"/>
                    <a:pt x="321" y="0"/>
                  </a:cubicBezTo>
                  <a:cubicBezTo>
                    <a:pt x="314" y="0"/>
                    <a:pt x="309" y="2"/>
                    <a:pt x="304" y="6"/>
                  </a:cubicBezTo>
                  <a:cubicBezTo>
                    <a:pt x="300" y="2"/>
                    <a:pt x="295" y="0"/>
                    <a:pt x="288" y="0"/>
                  </a:cubicBezTo>
                  <a:cubicBezTo>
                    <a:pt x="282" y="0"/>
                    <a:pt x="276" y="2"/>
                    <a:pt x="272" y="6"/>
                  </a:cubicBezTo>
                  <a:cubicBezTo>
                    <a:pt x="268" y="2"/>
                    <a:pt x="262" y="0"/>
                    <a:pt x="256" y="0"/>
                  </a:cubicBezTo>
                  <a:cubicBezTo>
                    <a:pt x="250" y="0"/>
                    <a:pt x="244" y="2"/>
                    <a:pt x="240" y="6"/>
                  </a:cubicBezTo>
                  <a:cubicBezTo>
                    <a:pt x="236" y="2"/>
                    <a:pt x="230" y="0"/>
                    <a:pt x="224" y="0"/>
                  </a:cubicBezTo>
                  <a:cubicBezTo>
                    <a:pt x="217" y="0"/>
                    <a:pt x="212" y="2"/>
                    <a:pt x="208" y="6"/>
                  </a:cubicBezTo>
                  <a:cubicBezTo>
                    <a:pt x="204" y="2"/>
                    <a:pt x="198" y="0"/>
                    <a:pt x="192" y="0"/>
                  </a:cubicBezTo>
                  <a:cubicBezTo>
                    <a:pt x="185" y="0"/>
                    <a:pt x="180" y="2"/>
                    <a:pt x="175" y="6"/>
                  </a:cubicBezTo>
                  <a:cubicBezTo>
                    <a:pt x="171" y="2"/>
                    <a:pt x="166" y="0"/>
                    <a:pt x="159" y="0"/>
                  </a:cubicBezTo>
                  <a:cubicBezTo>
                    <a:pt x="153" y="0"/>
                    <a:pt x="147" y="2"/>
                    <a:pt x="143" y="6"/>
                  </a:cubicBezTo>
                  <a:cubicBezTo>
                    <a:pt x="139" y="2"/>
                    <a:pt x="133" y="0"/>
                    <a:pt x="127" y="0"/>
                  </a:cubicBezTo>
                  <a:cubicBezTo>
                    <a:pt x="121" y="0"/>
                    <a:pt x="115" y="2"/>
                    <a:pt x="111" y="6"/>
                  </a:cubicBezTo>
                  <a:cubicBezTo>
                    <a:pt x="107" y="2"/>
                    <a:pt x="101" y="0"/>
                    <a:pt x="95" y="0"/>
                  </a:cubicBezTo>
                  <a:cubicBezTo>
                    <a:pt x="89" y="0"/>
                    <a:pt x="83" y="2"/>
                    <a:pt x="79" y="6"/>
                  </a:cubicBezTo>
                  <a:cubicBezTo>
                    <a:pt x="75" y="2"/>
                    <a:pt x="69" y="0"/>
                    <a:pt x="63" y="0"/>
                  </a:cubicBezTo>
                  <a:cubicBezTo>
                    <a:pt x="50" y="0"/>
                    <a:pt x="40" y="10"/>
                    <a:pt x="40" y="22"/>
                  </a:cubicBezTo>
                  <a:cubicBezTo>
                    <a:pt x="40" y="23"/>
                    <a:pt x="40" y="23"/>
                    <a:pt x="40" y="24"/>
                  </a:cubicBezTo>
                  <a:cubicBezTo>
                    <a:pt x="37" y="23"/>
                    <a:pt x="35" y="22"/>
                    <a:pt x="32" y="22"/>
                  </a:cubicBezTo>
                  <a:cubicBezTo>
                    <a:pt x="20" y="22"/>
                    <a:pt x="9" y="33"/>
                    <a:pt x="9" y="45"/>
                  </a:cubicBezTo>
                  <a:cubicBezTo>
                    <a:pt x="9" y="46"/>
                    <a:pt x="10" y="46"/>
                    <a:pt x="10" y="46"/>
                  </a:cubicBezTo>
                  <a:cubicBezTo>
                    <a:pt x="5" y="49"/>
                    <a:pt x="1" y="53"/>
                    <a:pt x="0" y="58"/>
                  </a:cubicBezTo>
                  <a:cubicBezTo>
                    <a:pt x="751" y="58"/>
                    <a:pt x="751" y="58"/>
                    <a:pt x="751" y="58"/>
                  </a:cubicBezTo>
                  <a:cubicBezTo>
                    <a:pt x="748" y="50"/>
                    <a:pt x="741" y="44"/>
                    <a:pt x="732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61" name="Freeform 447"/>
            <p:cNvSpPr>
              <a:spLocks/>
            </p:cNvSpPr>
            <p:nvPr userDrawn="1"/>
          </p:nvSpPr>
          <p:spPr bwMode="auto">
            <a:xfrm>
              <a:off x="3045131" y="4138425"/>
              <a:ext cx="444704" cy="122982"/>
            </a:xfrm>
            <a:custGeom>
              <a:avLst/>
              <a:gdLst>
                <a:gd name="T0" fmla="*/ 996 w 1015"/>
                <a:gd name="T1" fmla="*/ 209 h 280"/>
                <a:gd name="T2" fmla="*/ 980 w 1015"/>
                <a:gd name="T3" fmla="*/ 226 h 280"/>
                <a:gd name="T4" fmla="*/ 951 w 1015"/>
                <a:gd name="T5" fmla="*/ 226 h 280"/>
                <a:gd name="T6" fmla="*/ 958 w 1015"/>
                <a:gd name="T7" fmla="*/ 200 h 280"/>
                <a:gd name="T8" fmla="*/ 930 w 1015"/>
                <a:gd name="T9" fmla="*/ 200 h 280"/>
                <a:gd name="T10" fmla="*/ 932 w 1015"/>
                <a:gd name="T11" fmla="*/ 190 h 280"/>
                <a:gd name="T12" fmla="*/ 911 w 1015"/>
                <a:gd name="T13" fmla="*/ 169 h 280"/>
                <a:gd name="T14" fmla="*/ 814 w 1015"/>
                <a:gd name="T15" fmla="*/ 169 h 280"/>
                <a:gd name="T16" fmla="*/ 793 w 1015"/>
                <a:gd name="T17" fmla="*/ 190 h 280"/>
                <a:gd name="T18" fmla="*/ 795 w 1015"/>
                <a:gd name="T19" fmla="*/ 200 h 280"/>
                <a:gd name="T20" fmla="*/ 765 w 1015"/>
                <a:gd name="T21" fmla="*/ 200 h 280"/>
                <a:gd name="T22" fmla="*/ 932 w 1015"/>
                <a:gd name="T23" fmla="*/ 19 h 280"/>
                <a:gd name="T24" fmla="*/ 933 w 1015"/>
                <a:gd name="T25" fmla="*/ 0 h 280"/>
                <a:gd name="T26" fmla="*/ 524 w 1015"/>
                <a:gd name="T27" fmla="*/ 0 h 280"/>
                <a:gd name="T28" fmla="*/ 524 w 1015"/>
                <a:gd name="T29" fmla="*/ 201 h 280"/>
                <a:gd name="T30" fmla="*/ 491 w 1015"/>
                <a:gd name="T31" fmla="*/ 201 h 280"/>
                <a:gd name="T32" fmla="*/ 491 w 1015"/>
                <a:gd name="T33" fmla="*/ 0 h 280"/>
                <a:gd name="T34" fmla="*/ 74 w 1015"/>
                <a:gd name="T35" fmla="*/ 0 h 280"/>
                <a:gd name="T36" fmla="*/ 75 w 1015"/>
                <a:gd name="T37" fmla="*/ 19 h 280"/>
                <a:gd name="T38" fmla="*/ 242 w 1015"/>
                <a:gd name="T39" fmla="*/ 200 h 280"/>
                <a:gd name="T40" fmla="*/ 212 w 1015"/>
                <a:gd name="T41" fmla="*/ 200 h 280"/>
                <a:gd name="T42" fmla="*/ 214 w 1015"/>
                <a:gd name="T43" fmla="*/ 190 h 280"/>
                <a:gd name="T44" fmla="*/ 193 w 1015"/>
                <a:gd name="T45" fmla="*/ 169 h 280"/>
                <a:gd name="T46" fmla="*/ 96 w 1015"/>
                <a:gd name="T47" fmla="*/ 169 h 280"/>
                <a:gd name="T48" fmla="*/ 75 w 1015"/>
                <a:gd name="T49" fmla="*/ 190 h 280"/>
                <a:gd name="T50" fmla="*/ 77 w 1015"/>
                <a:gd name="T51" fmla="*/ 200 h 280"/>
                <a:gd name="T52" fmla="*/ 49 w 1015"/>
                <a:gd name="T53" fmla="*/ 200 h 280"/>
                <a:gd name="T54" fmla="*/ 53 w 1015"/>
                <a:gd name="T55" fmla="*/ 217 h 280"/>
                <a:gd name="T56" fmla="*/ 36 w 1015"/>
                <a:gd name="T57" fmla="*/ 217 h 280"/>
                <a:gd name="T58" fmla="*/ 19 w 1015"/>
                <a:gd name="T59" fmla="*/ 197 h 280"/>
                <a:gd name="T60" fmla="*/ 0 w 1015"/>
                <a:gd name="T61" fmla="*/ 231 h 280"/>
                <a:gd name="T62" fmla="*/ 19 w 1015"/>
                <a:gd name="T63" fmla="*/ 264 h 280"/>
                <a:gd name="T64" fmla="*/ 36 w 1015"/>
                <a:gd name="T65" fmla="*/ 245 h 280"/>
                <a:gd name="T66" fmla="*/ 64 w 1015"/>
                <a:gd name="T67" fmla="*/ 245 h 280"/>
                <a:gd name="T68" fmla="*/ 87 w 1015"/>
                <a:gd name="T69" fmla="*/ 269 h 280"/>
                <a:gd name="T70" fmla="*/ 135 w 1015"/>
                <a:gd name="T71" fmla="*/ 241 h 280"/>
                <a:gd name="T72" fmla="*/ 187 w 1015"/>
                <a:gd name="T73" fmla="*/ 276 h 280"/>
                <a:gd name="T74" fmla="*/ 238 w 1015"/>
                <a:gd name="T75" fmla="*/ 241 h 280"/>
                <a:gd name="T76" fmla="*/ 290 w 1015"/>
                <a:gd name="T77" fmla="*/ 276 h 280"/>
                <a:gd name="T78" fmla="*/ 341 w 1015"/>
                <a:gd name="T79" fmla="*/ 241 h 280"/>
                <a:gd name="T80" fmla="*/ 391 w 1015"/>
                <a:gd name="T81" fmla="*/ 273 h 280"/>
                <a:gd name="T82" fmla="*/ 435 w 1015"/>
                <a:gd name="T83" fmla="*/ 240 h 280"/>
                <a:gd name="T84" fmla="*/ 504 w 1015"/>
                <a:gd name="T85" fmla="*/ 240 h 280"/>
                <a:gd name="T86" fmla="*/ 572 w 1015"/>
                <a:gd name="T87" fmla="*/ 240 h 280"/>
                <a:gd name="T88" fmla="*/ 588 w 1015"/>
                <a:gd name="T89" fmla="*/ 252 h 280"/>
                <a:gd name="T90" fmla="*/ 621 w 1015"/>
                <a:gd name="T91" fmla="*/ 241 h 280"/>
                <a:gd name="T92" fmla="*/ 672 w 1015"/>
                <a:gd name="T93" fmla="*/ 276 h 280"/>
                <a:gd name="T94" fmla="*/ 724 w 1015"/>
                <a:gd name="T95" fmla="*/ 241 h 280"/>
                <a:gd name="T96" fmla="*/ 775 w 1015"/>
                <a:gd name="T97" fmla="*/ 276 h 280"/>
                <a:gd name="T98" fmla="*/ 827 w 1015"/>
                <a:gd name="T99" fmla="*/ 241 h 280"/>
                <a:gd name="T100" fmla="*/ 879 w 1015"/>
                <a:gd name="T101" fmla="*/ 280 h 280"/>
                <a:gd name="T102" fmla="*/ 910 w 1015"/>
                <a:gd name="T103" fmla="*/ 280 h 280"/>
                <a:gd name="T104" fmla="*/ 934 w 1015"/>
                <a:gd name="T105" fmla="*/ 254 h 280"/>
                <a:gd name="T106" fmla="*/ 980 w 1015"/>
                <a:gd name="T107" fmla="*/ 254 h 280"/>
                <a:gd name="T108" fmla="*/ 996 w 1015"/>
                <a:gd name="T109" fmla="*/ 271 h 280"/>
                <a:gd name="T110" fmla="*/ 1015 w 1015"/>
                <a:gd name="T111" fmla="*/ 240 h 280"/>
                <a:gd name="T112" fmla="*/ 996 w 1015"/>
                <a:gd name="T113" fmla="*/ 209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15" h="280">
                  <a:moveTo>
                    <a:pt x="996" y="209"/>
                  </a:moveTo>
                  <a:cubicBezTo>
                    <a:pt x="989" y="209"/>
                    <a:pt x="983" y="216"/>
                    <a:pt x="980" y="226"/>
                  </a:cubicBezTo>
                  <a:cubicBezTo>
                    <a:pt x="951" y="226"/>
                    <a:pt x="951" y="226"/>
                    <a:pt x="951" y="226"/>
                  </a:cubicBezTo>
                  <a:cubicBezTo>
                    <a:pt x="954" y="217"/>
                    <a:pt x="956" y="208"/>
                    <a:pt x="958" y="200"/>
                  </a:cubicBezTo>
                  <a:cubicBezTo>
                    <a:pt x="930" y="200"/>
                    <a:pt x="930" y="200"/>
                    <a:pt x="930" y="200"/>
                  </a:cubicBezTo>
                  <a:cubicBezTo>
                    <a:pt x="931" y="197"/>
                    <a:pt x="932" y="194"/>
                    <a:pt x="932" y="190"/>
                  </a:cubicBezTo>
                  <a:cubicBezTo>
                    <a:pt x="932" y="179"/>
                    <a:pt x="923" y="169"/>
                    <a:pt x="911" y="169"/>
                  </a:cubicBezTo>
                  <a:cubicBezTo>
                    <a:pt x="814" y="169"/>
                    <a:pt x="814" y="169"/>
                    <a:pt x="814" y="169"/>
                  </a:cubicBezTo>
                  <a:cubicBezTo>
                    <a:pt x="802" y="169"/>
                    <a:pt x="793" y="179"/>
                    <a:pt x="793" y="190"/>
                  </a:cubicBezTo>
                  <a:cubicBezTo>
                    <a:pt x="793" y="194"/>
                    <a:pt x="794" y="197"/>
                    <a:pt x="795" y="200"/>
                  </a:cubicBezTo>
                  <a:cubicBezTo>
                    <a:pt x="765" y="200"/>
                    <a:pt x="765" y="200"/>
                    <a:pt x="765" y="200"/>
                  </a:cubicBezTo>
                  <a:cubicBezTo>
                    <a:pt x="932" y="19"/>
                    <a:pt x="932" y="19"/>
                    <a:pt x="932" y="19"/>
                  </a:cubicBezTo>
                  <a:cubicBezTo>
                    <a:pt x="933" y="0"/>
                    <a:pt x="933" y="0"/>
                    <a:pt x="933" y="0"/>
                  </a:cubicBezTo>
                  <a:cubicBezTo>
                    <a:pt x="524" y="0"/>
                    <a:pt x="524" y="0"/>
                    <a:pt x="524" y="0"/>
                  </a:cubicBezTo>
                  <a:cubicBezTo>
                    <a:pt x="524" y="201"/>
                    <a:pt x="524" y="201"/>
                    <a:pt x="524" y="201"/>
                  </a:cubicBezTo>
                  <a:cubicBezTo>
                    <a:pt x="491" y="201"/>
                    <a:pt x="491" y="201"/>
                    <a:pt x="491" y="201"/>
                  </a:cubicBezTo>
                  <a:cubicBezTo>
                    <a:pt x="491" y="0"/>
                    <a:pt x="491" y="0"/>
                    <a:pt x="491" y="0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75" y="19"/>
                    <a:pt x="75" y="19"/>
                    <a:pt x="75" y="19"/>
                  </a:cubicBezTo>
                  <a:cubicBezTo>
                    <a:pt x="242" y="200"/>
                    <a:pt x="242" y="200"/>
                    <a:pt x="242" y="200"/>
                  </a:cubicBezTo>
                  <a:cubicBezTo>
                    <a:pt x="212" y="200"/>
                    <a:pt x="212" y="200"/>
                    <a:pt x="212" y="200"/>
                  </a:cubicBezTo>
                  <a:cubicBezTo>
                    <a:pt x="213" y="197"/>
                    <a:pt x="214" y="194"/>
                    <a:pt x="214" y="190"/>
                  </a:cubicBezTo>
                  <a:cubicBezTo>
                    <a:pt x="214" y="179"/>
                    <a:pt x="205" y="169"/>
                    <a:pt x="193" y="169"/>
                  </a:cubicBezTo>
                  <a:cubicBezTo>
                    <a:pt x="96" y="169"/>
                    <a:pt x="96" y="169"/>
                    <a:pt x="96" y="169"/>
                  </a:cubicBezTo>
                  <a:cubicBezTo>
                    <a:pt x="84" y="169"/>
                    <a:pt x="75" y="179"/>
                    <a:pt x="75" y="190"/>
                  </a:cubicBezTo>
                  <a:cubicBezTo>
                    <a:pt x="75" y="194"/>
                    <a:pt x="76" y="197"/>
                    <a:pt x="77" y="200"/>
                  </a:cubicBezTo>
                  <a:cubicBezTo>
                    <a:pt x="49" y="200"/>
                    <a:pt x="49" y="200"/>
                    <a:pt x="49" y="200"/>
                  </a:cubicBezTo>
                  <a:cubicBezTo>
                    <a:pt x="50" y="205"/>
                    <a:pt x="52" y="211"/>
                    <a:pt x="53" y="217"/>
                  </a:cubicBezTo>
                  <a:cubicBezTo>
                    <a:pt x="36" y="217"/>
                    <a:pt x="36" y="217"/>
                    <a:pt x="36" y="217"/>
                  </a:cubicBezTo>
                  <a:cubicBezTo>
                    <a:pt x="33" y="205"/>
                    <a:pt x="27" y="197"/>
                    <a:pt x="19" y="197"/>
                  </a:cubicBezTo>
                  <a:cubicBezTo>
                    <a:pt x="9" y="197"/>
                    <a:pt x="0" y="212"/>
                    <a:pt x="0" y="231"/>
                  </a:cubicBezTo>
                  <a:cubicBezTo>
                    <a:pt x="0" y="249"/>
                    <a:pt x="9" y="264"/>
                    <a:pt x="19" y="264"/>
                  </a:cubicBezTo>
                  <a:cubicBezTo>
                    <a:pt x="27" y="264"/>
                    <a:pt x="33" y="256"/>
                    <a:pt x="36" y="245"/>
                  </a:cubicBezTo>
                  <a:cubicBezTo>
                    <a:pt x="64" y="245"/>
                    <a:pt x="64" y="245"/>
                    <a:pt x="64" y="245"/>
                  </a:cubicBezTo>
                  <a:cubicBezTo>
                    <a:pt x="87" y="269"/>
                    <a:pt x="87" y="269"/>
                    <a:pt x="87" y="269"/>
                  </a:cubicBezTo>
                  <a:cubicBezTo>
                    <a:pt x="97" y="252"/>
                    <a:pt x="115" y="241"/>
                    <a:pt x="135" y="241"/>
                  </a:cubicBezTo>
                  <a:cubicBezTo>
                    <a:pt x="159" y="241"/>
                    <a:pt x="179" y="255"/>
                    <a:pt x="187" y="276"/>
                  </a:cubicBezTo>
                  <a:cubicBezTo>
                    <a:pt x="195" y="255"/>
                    <a:pt x="215" y="241"/>
                    <a:pt x="238" y="241"/>
                  </a:cubicBezTo>
                  <a:cubicBezTo>
                    <a:pt x="262" y="241"/>
                    <a:pt x="282" y="255"/>
                    <a:pt x="290" y="276"/>
                  </a:cubicBezTo>
                  <a:cubicBezTo>
                    <a:pt x="298" y="255"/>
                    <a:pt x="318" y="241"/>
                    <a:pt x="341" y="241"/>
                  </a:cubicBezTo>
                  <a:cubicBezTo>
                    <a:pt x="363" y="241"/>
                    <a:pt x="383" y="254"/>
                    <a:pt x="391" y="273"/>
                  </a:cubicBezTo>
                  <a:cubicBezTo>
                    <a:pt x="435" y="240"/>
                    <a:pt x="435" y="240"/>
                    <a:pt x="435" y="240"/>
                  </a:cubicBezTo>
                  <a:cubicBezTo>
                    <a:pt x="504" y="240"/>
                    <a:pt x="504" y="240"/>
                    <a:pt x="504" y="240"/>
                  </a:cubicBezTo>
                  <a:cubicBezTo>
                    <a:pt x="572" y="240"/>
                    <a:pt x="572" y="240"/>
                    <a:pt x="572" y="240"/>
                  </a:cubicBezTo>
                  <a:cubicBezTo>
                    <a:pt x="588" y="252"/>
                    <a:pt x="588" y="252"/>
                    <a:pt x="588" y="252"/>
                  </a:cubicBezTo>
                  <a:cubicBezTo>
                    <a:pt x="597" y="245"/>
                    <a:pt x="609" y="241"/>
                    <a:pt x="621" y="241"/>
                  </a:cubicBezTo>
                  <a:cubicBezTo>
                    <a:pt x="644" y="241"/>
                    <a:pt x="664" y="255"/>
                    <a:pt x="672" y="276"/>
                  </a:cubicBezTo>
                  <a:cubicBezTo>
                    <a:pt x="681" y="255"/>
                    <a:pt x="701" y="241"/>
                    <a:pt x="724" y="241"/>
                  </a:cubicBezTo>
                  <a:cubicBezTo>
                    <a:pt x="747" y="241"/>
                    <a:pt x="767" y="255"/>
                    <a:pt x="775" y="276"/>
                  </a:cubicBezTo>
                  <a:cubicBezTo>
                    <a:pt x="783" y="255"/>
                    <a:pt x="803" y="241"/>
                    <a:pt x="827" y="241"/>
                  </a:cubicBezTo>
                  <a:cubicBezTo>
                    <a:pt x="851" y="241"/>
                    <a:pt x="872" y="257"/>
                    <a:pt x="879" y="280"/>
                  </a:cubicBezTo>
                  <a:cubicBezTo>
                    <a:pt x="910" y="280"/>
                    <a:pt x="910" y="280"/>
                    <a:pt x="910" y="280"/>
                  </a:cubicBezTo>
                  <a:cubicBezTo>
                    <a:pt x="934" y="254"/>
                    <a:pt x="934" y="254"/>
                    <a:pt x="934" y="254"/>
                  </a:cubicBezTo>
                  <a:cubicBezTo>
                    <a:pt x="980" y="254"/>
                    <a:pt x="980" y="254"/>
                    <a:pt x="980" y="254"/>
                  </a:cubicBezTo>
                  <a:cubicBezTo>
                    <a:pt x="983" y="264"/>
                    <a:pt x="989" y="271"/>
                    <a:pt x="996" y="271"/>
                  </a:cubicBezTo>
                  <a:cubicBezTo>
                    <a:pt x="1006" y="271"/>
                    <a:pt x="1015" y="257"/>
                    <a:pt x="1015" y="240"/>
                  </a:cubicBezTo>
                  <a:cubicBezTo>
                    <a:pt x="1015" y="223"/>
                    <a:pt x="1006" y="209"/>
                    <a:pt x="996" y="20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62" name="Rectangle 448"/>
            <p:cNvSpPr>
              <a:spLocks noChangeArrowheads="1"/>
            </p:cNvSpPr>
            <p:nvPr userDrawn="1"/>
          </p:nvSpPr>
          <p:spPr bwMode="auto">
            <a:xfrm>
              <a:off x="1182688" y="4286987"/>
              <a:ext cx="2700000" cy="1672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="" xmlns:p14="http://schemas.microsoft.com/office/powerpoint/2010/main" val="19181613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1489" y="244987"/>
            <a:ext cx="8794113" cy="276999"/>
          </a:xfrm>
          <a:noFill/>
          <a:ln>
            <a:noFill/>
          </a:ln>
          <a:effectLst/>
          <a:extLst/>
        </p:spPr>
        <p:txBody>
          <a:bodyPr/>
          <a:lstStyle>
            <a:lvl1pPr>
              <a:defRPr lang="ru-RU" sz="1800">
                <a:latin typeface="RussianRail G Pro Extended" pitchFamily="34" charset="-52"/>
              </a:defRPr>
            </a:lvl1pPr>
          </a:lstStyle>
          <a:p>
            <a:pPr lvl="0"/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422426896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61925" cy="161925"/>
        </p:xfrm>
        <a:graphic>
          <a:graphicData uri="http://schemas.openxmlformats.org/presentationml/2006/ole">
            <p:oleObj spid="_x0000_s5122" name="think-cell Slide" r:id="rId4" imgW="360" imgH="360" progId="">
              <p:embed/>
            </p:oleObj>
          </a:graphicData>
        </a:graphic>
      </p:graphicFrame>
      <p:sp>
        <p:nvSpPr>
          <p:cNvPr id="4" name="Rectangle 1"/>
          <p:cNvSpPr>
            <a:spLocks/>
          </p:cNvSpPr>
          <p:nvPr/>
        </p:nvSpPr>
        <p:spPr bwMode="auto">
          <a:xfrm>
            <a:off x="0" y="4"/>
            <a:ext cx="9144000" cy="830263"/>
          </a:xfrm>
          <a:prstGeom prst="rect">
            <a:avLst/>
          </a:prstGeom>
          <a:solidFill>
            <a:srgbClr val="BFC5CE"/>
          </a:solidFill>
          <a:ln w="9525">
            <a:noFill/>
            <a:round/>
            <a:headEnd/>
            <a:tailEnd/>
          </a:ln>
        </p:spPr>
        <p:txBody>
          <a:bodyPr lIns="73690" tIns="73690" rIns="73690" bIns="73690" anchor="ctr"/>
          <a:lstStyle/>
          <a:p>
            <a:pPr algn="ctr" defTabSz="595313">
              <a:defRPr/>
            </a:pPr>
            <a:endParaRPr lang="ru-RU" sz="3700">
              <a:solidFill>
                <a:srgbClr val="000000"/>
              </a:solidFill>
              <a:latin typeface="Helvetica Light"/>
              <a:sym typeface="Helvetica Light"/>
            </a:endParaRPr>
          </a:p>
        </p:txBody>
      </p:sp>
      <p:sp>
        <p:nvSpPr>
          <p:cNvPr id="5" name="SlideBottomBar"/>
          <p:cNvSpPr>
            <a:spLocks noChangeArrowheads="1"/>
          </p:cNvSpPr>
          <p:nvPr/>
        </p:nvSpPr>
        <p:spPr bwMode="auto">
          <a:xfrm>
            <a:off x="0" y="6429376"/>
            <a:ext cx="9144000" cy="430213"/>
          </a:xfrm>
          <a:prstGeom prst="rect">
            <a:avLst/>
          </a:prstGeom>
          <a:solidFill>
            <a:srgbClr val="BFC5CE"/>
          </a:solidFill>
          <a:ln w="9525">
            <a:noFill/>
            <a:miter lim="800000"/>
            <a:headEnd/>
            <a:tailEnd/>
          </a:ln>
        </p:spPr>
        <p:txBody>
          <a:bodyPr wrap="none" lIns="93263" tIns="46632" rIns="93263" bIns="46632" anchor="ctr"/>
          <a:lstStyle/>
          <a:p>
            <a:pPr>
              <a:defRPr/>
            </a:pPr>
            <a:endParaRPr lang="ru-RU" sz="1800"/>
          </a:p>
        </p:txBody>
      </p:sp>
      <p:grpSp>
        <p:nvGrpSpPr>
          <p:cNvPr id="2" name="Group 14"/>
          <p:cNvGrpSpPr>
            <a:grpSpLocks/>
          </p:cNvGrpSpPr>
          <p:nvPr/>
        </p:nvGrpSpPr>
        <p:grpSpPr bwMode="auto">
          <a:xfrm>
            <a:off x="8466138" y="6523040"/>
            <a:ext cx="539750" cy="263525"/>
            <a:chOff x="0" y="0"/>
            <a:chExt cx="46" cy="21"/>
          </a:xfrm>
        </p:grpSpPr>
        <p:sp>
          <p:nvSpPr>
            <p:cNvPr id="7" name="AutoShape 15"/>
            <p:cNvSpPr>
              <a:spLocks/>
            </p:cNvSpPr>
            <p:nvPr/>
          </p:nvSpPr>
          <p:spPr bwMode="auto">
            <a:xfrm>
              <a:off x="28" y="0"/>
              <a:ext cx="18" cy="16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1600"/>
                <a:gd name="T13" fmla="*/ 0 h 21600"/>
                <a:gd name="T14" fmla="*/ 21600 w 21600"/>
                <a:gd name="T15" fmla="*/ 21600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4319" y="2514"/>
                  </a:moveTo>
                  <a:lnTo>
                    <a:pt x="4319" y="3583"/>
                  </a:lnTo>
                  <a:lnTo>
                    <a:pt x="12526" y="3583"/>
                  </a:lnTo>
                  <a:lnTo>
                    <a:pt x="12996" y="3583"/>
                  </a:lnTo>
                  <a:lnTo>
                    <a:pt x="13502" y="3662"/>
                  </a:lnTo>
                  <a:lnTo>
                    <a:pt x="13773" y="3722"/>
                  </a:lnTo>
                  <a:lnTo>
                    <a:pt x="14008" y="3840"/>
                  </a:lnTo>
                  <a:lnTo>
                    <a:pt x="14261" y="3999"/>
                  </a:lnTo>
                  <a:lnTo>
                    <a:pt x="14478" y="4197"/>
                  </a:lnTo>
                  <a:lnTo>
                    <a:pt x="14622" y="4434"/>
                  </a:lnTo>
                  <a:lnTo>
                    <a:pt x="14767" y="4672"/>
                  </a:lnTo>
                  <a:lnTo>
                    <a:pt x="14875" y="4969"/>
                  </a:lnTo>
                  <a:lnTo>
                    <a:pt x="14948" y="5226"/>
                  </a:lnTo>
                  <a:lnTo>
                    <a:pt x="15002" y="5800"/>
                  </a:lnTo>
                  <a:lnTo>
                    <a:pt x="15002" y="6295"/>
                  </a:lnTo>
                  <a:lnTo>
                    <a:pt x="15002" y="15304"/>
                  </a:lnTo>
                  <a:lnTo>
                    <a:pt x="15002" y="15799"/>
                  </a:lnTo>
                  <a:lnTo>
                    <a:pt x="14948" y="16333"/>
                  </a:lnTo>
                  <a:lnTo>
                    <a:pt x="14875" y="16630"/>
                  </a:lnTo>
                  <a:lnTo>
                    <a:pt x="14767" y="16887"/>
                  </a:lnTo>
                  <a:lnTo>
                    <a:pt x="14622" y="17165"/>
                  </a:lnTo>
                  <a:lnTo>
                    <a:pt x="14478" y="17382"/>
                  </a:lnTo>
                  <a:lnTo>
                    <a:pt x="14261" y="17600"/>
                  </a:lnTo>
                  <a:lnTo>
                    <a:pt x="14008" y="17739"/>
                  </a:lnTo>
                  <a:lnTo>
                    <a:pt x="13773" y="17858"/>
                  </a:lnTo>
                  <a:lnTo>
                    <a:pt x="13502" y="17917"/>
                  </a:lnTo>
                  <a:lnTo>
                    <a:pt x="12996" y="17976"/>
                  </a:lnTo>
                  <a:lnTo>
                    <a:pt x="12526" y="18016"/>
                  </a:lnTo>
                  <a:lnTo>
                    <a:pt x="8585" y="18016"/>
                  </a:lnTo>
                  <a:lnTo>
                    <a:pt x="8314" y="17976"/>
                  </a:lnTo>
                  <a:lnTo>
                    <a:pt x="8007" y="17976"/>
                  </a:lnTo>
                  <a:lnTo>
                    <a:pt x="7736" y="17957"/>
                  </a:lnTo>
                  <a:lnTo>
                    <a:pt x="7465" y="17897"/>
                  </a:lnTo>
                  <a:lnTo>
                    <a:pt x="7230" y="17798"/>
                  </a:lnTo>
                  <a:lnTo>
                    <a:pt x="6995" y="17660"/>
                  </a:lnTo>
                  <a:lnTo>
                    <a:pt x="6886" y="17541"/>
                  </a:lnTo>
                  <a:lnTo>
                    <a:pt x="6796" y="17442"/>
                  </a:lnTo>
                  <a:lnTo>
                    <a:pt x="6724" y="17303"/>
                  </a:lnTo>
                  <a:lnTo>
                    <a:pt x="6633" y="17165"/>
                  </a:lnTo>
                  <a:lnTo>
                    <a:pt x="6579" y="17006"/>
                  </a:lnTo>
                  <a:lnTo>
                    <a:pt x="6561" y="16868"/>
                  </a:lnTo>
                  <a:lnTo>
                    <a:pt x="6525" y="16709"/>
                  </a:lnTo>
                  <a:lnTo>
                    <a:pt x="6525" y="16571"/>
                  </a:lnTo>
                  <a:lnTo>
                    <a:pt x="6561" y="16274"/>
                  </a:lnTo>
                  <a:lnTo>
                    <a:pt x="6633" y="16016"/>
                  </a:lnTo>
                  <a:lnTo>
                    <a:pt x="6742" y="15739"/>
                  </a:lnTo>
                  <a:lnTo>
                    <a:pt x="6886" y="15482"/>
                  </a:lnTo>
                  <a:lnTo>
                    <a:pt x="7049" y="15205"/>
                  </a:lnTo>
                  <a:lnTo>
                    <a:pt x="7212" y="15007"/>
                  </a:lnTo>
                  <a:lnTo>
                    <a:pt x="12526" y="7206"/>
                  </a:lnTo>
                  <a:lnTo>
                    <a:pt x="4319" y="7206"/>
                  </a:lnTo>
                  <a:lnTo>
                    <a:pt x="1012" y="11997"/>
                  </a:lnTo>
                  <a:lnTo>
                    <a:pt x="632" y="12591"/>
                  </a:lnTo>
                  <a:lnTo>
                    <a:pt x="289" y="13146"/>
                  </a:lnTo>
                  <a:lnTo>
                    <a:pt x="180" y="13443"/>
                  </a:lnTo>
                  <a:lnTo>
                    <a:pt x="72" y="13740"/>
                  </a:lnTo>
                  <a:lnTo>
                    <a:pt x="18" y="14056"/>
                  </a:lnTo>
                  <a:lnTo>
                    <a:pt x="0" y="14393"/>
                  </a:lnTo>
                  <a:lnTo>
                    <a:pt x="18" y="14710"/>
                  </a:lnTo>
                  <a:lnTo>
                    <a:pt x="72" y="15026"/>
                  </a:lnTo>
                  <a:lnTo>
                    <a:pt x="162" y="15323"/>
                  </a:lnTo>
                  <a:lnTo>
                    <a:pt x="289" y="15620"/>
                  </a:lnTo>
                  <a:lnTo>
                    <a:pt x="614" y="16175"/>
                  </a:lnTo>
                  <a:lnTo>
                    <a:pt x="1012" y="16808"/>
                  </a:lnTo>
                  <a:lnTo>
                    <a:pt x="1843" y="18016"/>
                  </a:lnTo>
                  <a:lnTo>
                    <a:pt x="2476" y="18887"/>
                  </a:lnTo>
                  <a:lnTo>
                    <a:pt x="3108" y="19719"/>
                  </a:lnTo>
                  <a:lnTo>
                    <a:pt x="3470" y="20095"/>
                  </a:lnTo>
                  <a:lnTo>
                    <a:pt x="3813" y="20451"/>
                  </a:lnTo>
                  <a:lnTo>
                    <a:pt x="4193" y="20748"/>
                  </a:lnTo>
                  <a:lnTo>
                    <a:pt x="4591" y="21006"/>
                  </a:lnTo>
                  <a:lnTo>
                    <a:pt x="5006" y="21184"/>
                  </a:lnTo>
                  <a:lnTo>
                    <a:pt x="5458" y="21342"/>
                  </a:lnTo>
                  <a:lnTo>
                    <a:pt x="5910" y="21461"/>
                  </a:lnTo>
                  <a:lnTo>
                    <a:pt x="6416" y="21520"/>
                  </a:lnTo>
                  <a:lnTo>
                    <a:pt x="6958" y="21580"/>
                  </a:lnTo>
                  <a:lnTo>
                    <a:pt x="7519" y="21600"/>
                  </a:lnTo>
                  <a:lnTo>
                    <a:pt x="8115" y="21600"/>
                  </a:lnTo>
                  <a:lnTo>
                    <a:pt x="8766" y="21600"/>
                  </a:lnTo>
                  <a:lnTo>
                    <a:pt x="12345" y="21600"/>
                  </a:lnTo>
                  <a:lnTo>
                    <a:pt x="13158" y="21600"/>
                  </a:lnTo>
                  <a:lnTo>
                    <a:pt x="14044" y="21580"/>
                  </a:lnTo>
                  <a:lnTo>
                    <a:pt x="14496" y="21540"/>
                  </a:lnTo>
                  <a:lnTo>
                    <a:pt x="14984" y="21481"/>
                  </a:lnTo>
                  <a:lnTo>
                    <a:pt x="15472" y="21402"/>
                  </a:lnTo>
                  <a:lnTo>
                    <a:pt x="15942" y="21303"/>
                  </a:lnTo>
                  <a:lnTo>
                    <a:pt x="16412" y="21184"/>
                  </a:lnTo>
                  <a:lnTo>
                    <a:pt x="16900" y="21045"/>
                  </a:lnTo>
                  <a:lnTo>
                    <a:pt x="17370" y="20867"/>
                  </a:lnTo>
                  <a:lnTo>
                    <a:pt x="17840" y="20649"/>
                  </a:lnTo>
                  <a:lnTo>
                    <a:pt x="18292" y="20392"/>
                  </a:lnTo>
                  <a:lnTo>
                    <a:pt x="18726" y="20095"/>
                  </a:lnTo>
                  <a:lnTo>
                    <a:pt x="19159" y="19738"/>
                  </a:lnTo>
                  <a:lnTo>
                    <a:pt x="19521" y="19342"/>
                  </a:lnTo>
                  <a:lnTo>
                    <a:pt x="19900" y="18927"/>
                  </a:lnTo>
                  <a:lnTo>
                    <a:pt x="20226" y="18452"/>
                  </a:lnTo>
                  <a:lnTo>
                    <a:pt x="20497" y="17976"/>
                  </a:lnTo>
                  <a:lnTo>
                    <a:pt x="20732" y="17501"/>
                  </a:lnTo>
                  <a:lnTo>
                    <a:pt x="20931" y="17046"/>
                  </a:lnTo>
                  <a:lnTo>
                    <a:pt x="21093" y="16531"/>
                  </a:lnTo>
                  <a:lnTo>
                    <a:pt x="21220" y="16056"/>
                  </a:lnTo>
                  <a:lnTo>
                    <a:pt x="21328" y="15561"/>
                  </a:lnTo>
                  <a:lnTo>
                    <a:pt x="21419" y="15125"/>
                  </a:lnTo>
                  <a:lnTo>
                    <a:pt x="21491" y="14650"/>
                  </a:lnTo>
                  <a:lnTo>
                    <a:pt x="21527" y="14235"/>
                  </a:lnTo>
                  <a:lnTo>
                    <a:pt x="21581" y="13819"/>
                  </a:lnTo>
                  <a:lnTo>
                    <a:pt x="21600" y="13126"/>
                  </a:lnTo>
                  <a:lnTo>
                    <a:pt x="21600" y="12591"/>
                  </a:lnTo>
                  <a:lnTo>
                    <a:pt x="21600" y="9008"/>
                  </a:lnTo>
                  <a:lnTo>
                    <a:pt x="21600" y="8434"/>
                  </a:lnTo>
                  <a:lnTo>
                    <a:pt x="21581" y="7741"/>
                  </a:lnTo>
                  <a:lnTo>
                    <a:pt x="21527" y="7345"/>
                  </a:lnTo>
                  <a:lnTo>
                    <a:pt x="21491" y="6909"/>
                  </a:lnTo>
                  <a:lnTo>
                    <a:pt x="21419" y="6474"/>
                  </a:lnTo>
                  <a:lnTo>
                    <a:pt x="21328" y="5998"/>
                  </a:lnTo>
                  <a:lnTo>
                    <a:pt x="21220" y="5523"/>
                  </a:lnTo>
                  <a:lnTo>
                    <a:pt x="21093" y="5048"/>
                  </a:lnTo>
                  <a:lnTo>
                    <a:pt x="20931" y="4553"/>
                  </a:lnTo>
                  <a:lnTo>
                    <a:pt x="20732" y="4078"/>
                  </a:lnTo>
                  <a:lnTo>
                    <a:pt x="20497" y="3583"/>
                  </a:lnTo>
                  <a:lnTo>
                    <a:pt x="20226" y="3108"/>
                  </a:lnTo>
                  <a:lnTo>
                    <a:pt x="19900" y="2672"/>
                  </a:lnTo>
                  <a:lnTo>
                    <a:pt x="19521" y="2237"/>
                  </a:lnTo>
                  <a:lnTo>
                    <a:pt x="19159" y="1841"/>
                  </a:lnTo>
                  <a:lnTo>
                    <a:pt x="18726" y="1484"/>
                  </a:lnTo>
                  <a:lnTo>
                    <a:pt x="18292" y="1207"/>
                  </a:lnTo>
                  <a:lnTo>
                    <a:pt x="17840" y="930"/>
                  </a:lnTo>
                  <a:lnTo>
                    <a:pt x="17370" y="732"/>
                  </a:lnTo>
                  <a:lnTo>
                    <a:pt x="16900" y="514"/>
                  </a:lnTo>
                  <a:lnTo>
                    <a:pt x="16412" y="376"/>
                  </a:lnTo>
                  <a:lnTo>
                    <a:pt x="15942" y="257"/>
                  </a:lnTo>
                  <a:lnTo>
                    <a:pt x="15472" y="158"/>
                  </a:lnTo>
                  <a:lnTo>
                    <a:pt x="14984" y="98"/>
                  </a:lnTo>
                  <a:lnTo>
                    <a:pt x="14496" y="59"/>
                  </a:lnTo>
                  <a:lnTo>
                    <a:pt x="14044" y="19"/>
                  </a:lnTo>
                  <a:lnTo>
                    <a:pt x="13158" y="0"/>
                  </a:lnTo>
                  <a:lnTo>
                    <a:pt x="12345" y="0"/>
                  </a:lnTo>
                  <a:lnTo>
                    <a:pt x="6633" y="0"/>
                  </a:lnTo>
                  <a:lnTo>
                    <a:pt x="6217" y="0"/>
                  </a:lnTo>
                  <a:lnTo>
                    <a:pt x="5747" y="59"/>
                  </a:lnTo>
                  <a:lnTo>
                    <a:pt x="5512" y="138"/>
                  </a:lnTo>
                  <a:lnTo>
                    <a:pt x="5296" y="217"/>
                  </a:lnTo>
                  <a:lnTo>
                    <a:pt x="5079" y="376"/>
                  </a:lnTo>
                  <a:lnTo>
                    <a:pt x="4862" y="574"/>
                  </a:lnTo>
                  <a:lnTo>
                    <a:pt x="4681" y="811"/>
                  </a:lnTo>
                  <a:lnTo>
                    <a:pt x="4536" y="1049"/>
                  </a:lnTo>
                  <a:lnTo>
                    <a:pt x="4428" y="1306"/>
                  </a:lnTo>
                  <a:lnTo>
                    <a:pt x="4374" y="1544"/>
                  </a:lnTo>
                  <a:lnTo>
                    <a:pt x="4319" y="2059"/>
                  </a:lnTo>
                  <a:lnTo>
                    <a:pt x="4319" y="2514"/>
                  </a:lnTo>
                  <a:close/>
                </a:path>
              </a:pathLst>
            </a:custGeom>
            <a:solidFill>
              <a:srgbClr val="E21A1A"/>
            </a:solidFill>
            <a:ln w="9525" cap="flat" cmpd="sng">
              <a:noFill/>
              <a:prstDash val="solid"/>
              <a:round/>
              <a:headEnd/>
              <a:tailEnd/>
            </a:ln>
          </p:spPr>
          <p:txBody>
            <a:bodyPr lIns="72248" tIns="72248" rIns="72248" bIns="72248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8" name="AutoShape 16"/>
            <p:cNvSpPr>
              <a:spLocks/>
            </p:cNvSpPr>
            <p:nvPr/>
          </p:nvSpPr>
          <p:spPr bwMode="auto">
            <a:xfrm>
              <a:off x="17" y="5"/>
              <a:ext cx="14" cy="11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1600"/>
                <a:gd name="T13" fmla="*/ 0 h 21600"/>
                <a:gd name="T14" fmla="*/ 21600 w 21600"/>
                <a:gd name="T15" fmla="*/ 21600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11770" y="0"/>
                  </a:moveTo>
                  <a:lnTo>
                    <a:pt x="21600" y="0"/>
                  </a:lnTo>
                  <a:lnTo>
                    <a:pt x="9829" y="21600"/>
                  </a:lnTo>
                  <a:lnTo>
                    <a:pt x="0" y="21600"/>
                  </a:lnTo>
                  <a:lnTo>
                    <a:pt x="11770" y="0"/>
                  </a:lnTo>
                  <a:close/>
                </a:path>
              </a:pathLst>
            </a:custGeom>
            <a:solidFill>
              <a:srgbClr val="E21A1A"/>
            </a:solidFill>
            <a:ln w="9525" cap="flat" cmpd="sng">
              <a:noFill/>
              <a:prstDash val="solid"/>
              <a:round/>
              <a:headEnd/>
              <a:tailEnd/>
            </a:ln>
          </p:spPr>
          <p:txBody>
            <a:bodyPr lIns="72248" tIns="72248" rIns="72248" bIns="72248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9" name="AutoShape 17"/>
            <p:cNvSpPr>
              <a:spLocks/>
            </p:cNvSpPr>
            <p:nvPr/>
          </p:nvSpPr>
          <p:spPr bwMode="auto">
            <a:xfrm>
              <a:off x="0" y="5"/>
              <a:ext cx="20" cy="16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1600"/>
                <a:gd name="T13" fmla="*/ 0 h 21600"/>
                <a:gd name="T14" fmla="*/ 21600 w 21600"/>
                <a:gd name="T15" fmla="*/ 21600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2534"/>
                  </a:moveTo>
                  <a:lnTo>
                    <a:pt x="0" y="2059"/>
                  </a:lnTo>
                  <a:lnTo>
                    <a:pt x="47" y="1564"/>
                  </a:lnTo>
                  <a:lnTo>
                    <a:pt x="109" y="1286"/>
                  </a:lnTo>
                  <a:lnTo>
                    <a:pt x="188" y="1049"/>
                  </a:lnTo>
                  <a:lnTo>
                    <a:pt x="298" y="831"/>
                  </a:lnTo>
                  <a:lnTo>
                    <a:pt x="470" y="593"/>
                  </a:lnTo>
                  <a:lnTo>
                    <a:pt x="658" y="376"/>
                  </a:lnTo>
                  <a:lnTo>
                    <a:pt x="831" y="237"/>
                  </a:lnTo>
                  <a:lnTo>
                    <a:pt x="1050" y="118"/>
                  </a:lnTo>
                  <a:lnTo>
                    <a:pt x="1239" y="59"/>
                  </a:lnTo>
                  <a:lnTo>
                    <a:pt x="1631" y="0"/>
                  </a:lnTo>
                  <a:lnTo>
                    <a:pt x="2007" y="0"/>
                  </a:lnTo>
                  <a:lnTo>
                    <a:pt x="13992" y="0"/>
                  </a:lnTo>
                  <a:lnTo>
                    <a:pt x="14541" y="0"/>
                  </a:lnTo>
                  <a:lnTo>
                    <a:pt x="15058" y="0"/>
                  </a:lnTo>
                  <a:lnTo>
                    <a:pt x="15545" y="19"/>
                  </a:lnTo>
                  <a:lnTo>
                    <a:pt x="16015" y="59"/>
                  </a:lnTo>
                  <a:lnTo>
                    <a:pt x="16439" y="118"/>
                  </a:lnTo>
                  <a:lnTo>
                    <a:pt x="16862" y="237"/>
                  </a:lnTo>
                  <a:lnTo>
                    <a:pt x="17239" y="376"/>
                  </a:lnTo>
                  <a:lnTo>
                    <a:pt x="17600" y="593"/>
                  </a:lnTo>
                  <a:lnTo>
                    <a:pt x="17960" y="831"/>
                  </a:lnTo>
                  <a:lnTo>
                    <a:pt x="18290" y="1148"/>
                  </a:lnTo>
                  <a:lnTo>
                    <a:pt x="18588" y="1465"/>
                  </a:lnTo>
                  <a:lnTo>
                    <a:pt x="18886" y="1861"/>
                  </a:lnTo>
                  <a:lnTo>
                    <a:pt x="19450" y="2712"/>
                  </a:lnTo>
                  <a:lnTo>
                    <a:pt x="19984" y="3583"/>
                  </a:lnTo>
                  <a:lnTo>
                    <a:pt x="20705" y="4791"/>
                  </a:lnTo>
                  <a:lnTo>
                    <a:pt x="21066" y="5385"/>
                  </a:lnTo>
                  <a:lnTo>
                    <a:pt x="21349" y="5979"/>
                  </a:lnTo>
                  <a:lnTo>
                    <a:pt x="21443" y="6276"/>
                  </a:lnTo>
                  <a:lnTo>
                    <a:pt x="21521" y="6553"/>
                  </a:lnTo>
                  <a:lnTo>
                    <a:pt x="21568" y="6850"/>
                  </a:lnTo>
                  <a:lnTo>
                    <a:pt x="21600" y="7186"/>
                  </a:lnTo>
                  <a:lnTo>
                    <a:pt x="21568" y="7503"/>
                  </a:lnTo>
                  <a:lnTo>
                    <a:pt x="21521" y="7820"/>
                  </a:lnTo>
                  <a:lnTo>
                    <a:pt x="21443" y="8117"/>
                  </a:lnTo>
                  <a:lnTo>
                    <a:pt x="21317" y="8414"/>
                  </a:lnTo>
                  <a:lnTo>
                    <a:pt x="21035" y="9008"/>
                  </a:lnTo>
                  <a:lnTo>
                    <a:pt x="20705" y="9602"/>
                  </a:lnTo>
                  <a:lnTo>
                    <a:pt x="17835" y="14393"/>
                  </a:lnTo>
                  <a:lnTo>
                    <a:pt x="10698" y="14393"/>
                  </a:lnTo>
                  <a:lnTo>
                    <a:pt x="15341" y="6592"/>
                  </a:lnTo>
                  <a:lnTo>
                    <a:pt x="15482" y="6355"/>
                  </a:lnTo>
                  <a:lnTo>
                    <a:pt x="15623" y="6117"/>
                  </a:lnTo>
                  <a:lnTo>
                    <a:pt x="15733" y="5860"/>
                  </a:lnTo>
                  <a:lnTo>
                    <a:pt x="15827" y="5583"/>
                  </a:lnTo>
                  <a:lnTo>
                    <a:pt x="15905" y="5305"/>
                  </a:lnTo>
                  <a:lnTo>
                    <a:pt x="15921" y="5008"/>
                  </a:lnTo>
                  <a:lnTo>
                    <a:pt x="15921" y="4850"/>
                  </a:lnTo>
                  <a:lnTo>
                    <a:pt x="15905" y="4712"/>
                  </a:lnTo>
                  <a:lnTo>
                    <a:pt x="15874" y="4553"/>
                  </a:lnTo>
                  <a:lnTo>
                    <a:pt x="15827" y="4415"/>
                  </a:lnTo>
                  <a:lnTo>
                    <a:pt x="15764" y="4276"/>
                  </a:lnTo>
                  <a:lnTo>
                    <a:pt x="15686" y="4157"/>
                  </a:lnTo>
                  <a:lnTo>
                    <a:pt x="15592" y="4038"/>
                  </a:lnTo>
                  <a:lnTo>
                    <a:pt x="15529" y="3939"/>
                  </a:lnTo>
                  <a:lnTo>
                    <a:pt x="15309" y="3801"/>
                  </a:lnTo>
                  <a:lnTo>
                    <a:pt x="15105" y="3682"/>
                  </a:lnTo>
                  <a:lnTo>
                    <a:pt x="14870" y="3623"/>
                  </a:lnTo>
                  <a:lnTo>
                    <a:pt x="14619" y="3583"/>
                  </a:lnTo>
                  <a:lnTo>
                    <a:pt x="14384" y="3583"/>
                  </a:lnTo>
                  <a:lnTo>
                    <a:pt x="14149" y="3583"/>
                  </a:lnTo>
                  <a:lnTo>
                    <a:pt x="8564" y="3583"/>
                  </a:lnTo>
                  <a:lnTo>
                    <a:pt x="8564" y="21600"/>
                  </a:lnTo>
                  <a:lnTo>
                    <a:pt x="2839" y="21600"/>
                  </a:lnTo>
                  <a:lnTo>
                    <a:pt x="2839" y="3583"/>
                  </a:lnTo>
                  <a:lnTo>
                    <a:pt x="0" y="3583"/>
                  </a:lnTo>
                  <a:lnTo>
                    <a:pt x="0" y="2534"/>
                  </a:lnTo>
                  <a:close/>
                </a:path>
              </a:pathLst>
            </a:custGeom>
            <a:solidFill>
              <a:srgbClr val="E21A1A"/>
            </a:solidFill>
            <a:ln w="9525" cap="flat" cmpd="sng">
              <a:noFill/>
              <a:prstDash val="solid"/>
              <a:round/>
              <a:headEnd/>
              <a:tailEnd/>
            </a:ln>
          </p:spPr>
          <p:txBody>
            <a:bodyPr lIns="72248" tIns="72248" rIns="72248" bIns="72248" anchor="ctr"/>
            <a:lstStyle/>
            <a:p>
              <a:pPr>
                <a:defRPr/>
              </a:pPr>
              <a:endParaRPr lang="ru-RU"/>
            </a:p>
          </p:txBody>
        </p:sp>
      </p:grpSp>
      <p:sp>
        <p:nvSpPr>
          <p:cNvPr id="10" name="doc id"/>
          <p:cNvSpPr>
            <a:spLocks noChangeArrowheads="1"/>
          </p:cNvSpPr>
          <p:nvPr/>
        </p:nvSpPr>
        <p:spPr bwMode="auto">
          <a:xfrm>
            <a:off x="8247071" y="36515"/>
            <a:ext cx="669925" cy="125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algn="r" defTabSz="912813">
              <a:defRPr/>
            </a:pPr>
            <a:endParaRPr lang="ru-RU" sz="800">
              <a:solidFill>
                <a:srgbClr val="000000"/>
              </a:solidFill>
            </a:endParaRPr>
          </a:p>
        </p:txBody>
      </p:sp>
      <p:sp>
        <p:nvSpPr>
          <p:cNvPr id="11" name="Working Draft" hidden="1"/>
          <p:cNvSpPr txBox="1">
            <a:spLocks noChangeArrowheads="1"/>
          </p:cNvSpPr>
          <p:nvPr/>
        </p:nvSpPr>
        <p:spPr bwMode="auto">
          <a:xfrm rot="5400000">
            <a:off x="8070687" y="1981076"/>
            <a:ext cx="2003754" cy="9233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/>
              <a:t>Last Modified 25.05.2015 9:51 Russia TZ 2 Standard Time</a:t>
            </a:r>
            <a:endParaRPr lang="ru-RU" dirty="0"/>
          </a:p>
        </p:txBody>
      </p:sp>
      <p:sp>
        <p:nvSpPr>
          <p:cNvPr id="13" name="Printed" hidden="1"/>
          <p:cNvSpPr txBox="1">
            <a:spLocks noChangeArrowheads="1"/>
          </p:cNvSpPr>
          <p:nvPr/>
        </p:nvSpPr>
        <p:spPr bwMode="auto">
          <a:xfrm rot="5400000">
            <a:off x="8156454" y="4198815"/>
            <a:ext cx="1832233" cy="9233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/>
              <a:t>Printed 22.05.2015 15:05 Russia TZ 2 Standard Time</a:t>
            </a:r>
            <a:endParaRPr lang="ru-RU" dirty="0"/>
          </a:p>
        </p:txBody>
      </p:sp>
      <p:sp>
        <p:nvSpPr>
          <p:cNvPr id="14" name="McK 1. On-page tracker" hidden="1"/>
          <p:cNvSpPr>
            <a:spLocks noChangeArrowheads="1"/>
          </p:cNvSpPr>
          <p:nvPr/>
        </p:nvSpPr>
        <p:spPr bwMode="auto">
          <a:xfrm>
            <a:off x="122239" y="26988"/>
            <a:ext cx="85921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ru-RU" sz="14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5" name="McK 3. Unit of measure" hidden="1"/>
          <p:cNvSpPr txBox="1">
            <a:spLocks noChangeArrowheads="1"/>
          </p:cNvSpPr>
          <p:nvPr/>
        </p:nvSpPr>
        <p:spPr bwMode="auto">
          <a:xfrm>
            <a:off x="122238" y="855667"/>
            <a:ext cx="8793162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6" name="McK Slide Elements" hidden="1"/>
          <p:cNvGrpSpPr>
            <a:grpSpLocks/>
          </p:cNvGrpSpPr>
          <p:nvPr/>
        </p:nvGrpSpPr>
        <p:grpSpPr bwMode="auto">
          <a:xfrm>
            <a:off x="122242" y="6254734"/>
            <a:ext cx="8721725" cy="492126"/>
            <a:chOff x="75" y="3862"/>
            <a:chExt cx="5385" cy="303"/>
          </a:xfrm>
        </p:grpSpPr>
        <p:sp>
          <p:nvSpPr>
            <p:cNvPr id="17" name="McK 4. Footnote"/>
            <p:cNvSpPr txBox="1">
              <a:spLocks noChangeArrowheads="1"/>
            </p:cNvSpPr>
            <p:nvPr/>
          </p:nvSpPr>
          <p:spPr bwMode="auto">
            <a:xfrm>
              <a:off x="75" y="3862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>
                  <a:latin typeface="+mn-lt"/>
                </a:rPr>
                <a:t>1 Сноска</a:t>
              </a:r>
            </a:p>
          </p:txBody>
        </p:sp>
        <p:sp>
          <p:nvSpPr>
            <p:cNvPr id="18" name="McK 5. Source"/>
            <p:cNvSpPr>
              <a:spLocks noChangeArrowheads="1"/>
            </p:cNvSpPr>
            <p:nvPr/>
          </p:nvSpPr>
          <p:spPr bwMode="auto">
            <a:xfrm>
              <a:off x="75" y="4070"/>
              <a:ext cx="4323" cy="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620713" indent="-620713" defTabSz="912813">
                <a:tabLst>
                  <a:tab pos="623888" algn="l"/>
                </a:tabLst>
                <a:defRPr/>
              </a:pPr>
              <a:r>
                <a:rPr lang="ru-RU" sz="1000"/>
                <a:t>ИСТОЧНИК: источник</a:t>
              </a:r>
            </a:p>
          </p:txBody>
        </p:sp>
      </p:grpSp>
      <p:grpSp>
        <p:nvGrpSpPr>
          <p:cNvPr id="16" name="ACET" hidden="1"/>
          <p:cNvGrpSpPr>
            <a:grpSpLocks/>
          </p:cNvGrpSpPr>
          <p:nvPr/>
        </p:nvGrpSpPr>
        <p:grpSpPr bwMode="auto">
          <a:xfrm>
            <a:off x="1482725" y="1341431"/>
            <a:ext cx="4349750" cy="573118"/>
            <a:chOff x="915" y="828"/>
            <a:chExt cx="2686" cy="354"/>
          </a:xfrm>
        </p:grpSpPr>
        <p:cxnSp>
          <p:nvCxnSpPr>
            <p:cNvPr id="20" name="AutoShape 249"/>
            <p:cNvCxnSpPr>
              <a:cxnSpLocks noChangeShapeType="1"/>
            </p:cNvCxnSpPr>
            <p:nvPr/>
          </p:nvCxnSpPr>
          <p:spPr bwMode="auto">
            <a:xfrm>
              <a:off x="915" y="1181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21" name="AutoShape 250"/>
            <p:cNvSpPr>
              <a:spLocks noChangeArrowheads="1"/>
            </p:cNvSpPr>
            <p:nvPr/>
          </p:nvSpPr>
          <p:spPr bwMode="auto">
            <a:xfrm>
              <a:off x="915" y="828"/>
              <a:ext cx="2686" cy="35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ru-RU" sz="1800" b="1"/>
                <a:t>Title</a:t>
              </a:r>
            </a:p>
            <a:p>
              <a:pPr>
                <a:defRPr/>
              </a:pPr>
              <a:r>
                <a:rPr lang="ru-RU" sz="180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2" name="Slide Number Placeholder 4"/>
          <p:cNvSpPr txBox="1">
            <a:spLocks noGrp="1"/>
          </p:cNvSpPr>
          <p:nvPr/>
        </p:nvSpPr>
        <p:spPr bwMode="auto">
          <a:xfrm>
            <a:off x="142875" y="6427791"/>
            <a:ext cx="349250" cy="430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>
              <a:defRPr/>
            </a:pPr>
            <a:fld id="{55BB5A5B-DB3A-4930-AAD4-48E56B803074}" type="slidenum">
              <a:rPr lang="en-US" altLang="ru-RU" sz="1000">
                <a:solidFill>
                  <a:srgbClr val="000000"/>
                </a:solidFill>
                <a:latin typeface="RussianRail G Pro Extended" pitchFamily="34" charset="-52"/>
              </a:rPr>
              <a:pPr>
                <a:defRPr/>
              </a:pPr>
              <a:t>‹#›</a:t>
            </a:fld>
            <a:endParaRPr lang="en-US" altLang="ru-RU" sz="1000">
              <a:solidFill>
                <a:srgbClr val="000000"/>
              </a:solidFill>
              <a:latin typeface="RussianRail G Pro Extended" pitchFamily="34" charset="-52"/>
            </a:endParaRPr>
          </a:p>
        </p:txBody>
      </p:sp>
      <p:sp>
        <p:nvSpPr>
          <p:cNvPr id="23" name="Rectangle 13"/>
          <p:cNvSpPr>
            <a:spLocks noChangeArrowheads="1"/>
          </p:cNvSpPr>
          <p:nvPr/>
        </p:nvSpPr>
        <p:spPr bwMode="auto">
          <a:xfrm>
            <a:off x="-374650" y="-17458"/>
            <a:ext cx="366712" cy="366713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10" tIns="45703" rIns="91410" bIns="45703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24" name="Rectangle 14"/>
          <p:cNvSpPr>
            <a:spLocks noChangeArrowheads="1"/>
          </p:cNvSpPr>
          <p:nvPr/>
        </p:nvSpPr>
        <p:spPr bwMode="auto">
          <a:xfrm>
            <a:off x="-374650" y="349256"/>
            <a:ext cx="366712" cy="366713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10" tIns="45703" rIns="91410" bIns="45703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25" name="Rectangle 15"/>
          <p:cNvSpPr>
            <a:spLocks noChangeArrowheads="1"/>
          </p:cNvSpPr>
          <p:nvPr/>
        </p:nvSpPr>
        <p:spPr bwMode="auto">
          <a:xfrm>
            <a:off x="-374650" y="715963"/>
            <a:ext cx="366712" cy="366712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10" tIns="45703" rIns="91410" bIns="45703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26" name="Rectangle 16"/>
          <p:cNvSpPr>
            <a:spLocks noChangeArrowheads="1"/>
          </p:cNvSpPr>
          <p:nvPr/>
        </p:nvSpPr>
        <p:spPr bwMode="auto">
          <a:xfrm>
            <a:off x="-374650" y="1081088"/>
            <a:ext cx="366712" cy="366712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10" tIns="45703" rIns="91410" bIns="45703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27" name="Rectangle 17"/>
          <p:cNvSpPr>
            <a:spLocks noChangeArrowheads="1"/>
          </p:cNvSpPr>
          <p:nvPr/>
        </p:nvSpPr>
        <p:spPr bwMode="auto">
          <a:xfrm>
            <a:off x="-374650" y="1447805"/>
            <a:ext cx="366712" cy="366713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10" tIns="45703" rIns="91410" bIns="45703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28" name="Rectangle 18"/>
          <p:cNvSpPr>
            <a:spLocks noChangeArrowheads="1"/>
          </p:cNvSpPr>
          <p:nvPr/>
        </p:nvSpPr>
        <p:spPr bwMode="auto">
          <a:xfrm>
            <a:off x="-374650" y="1814513"/>
            <a:ext cx="366712" cy="366712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10" tIns="45703" rIns="91410" bIns="45703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29" name="Rectangle 19"/>
          <p:cNvSpPr>
            <a:spLocks noChangeArrowheads="1"/>
          </p:cNvSpPr>
          <p:nvPr/>
        </p:nvSpPr>
        <p:spPr bwMode="auto">
          <a:xfrm>
            <a:off x="-374650" y="2181230"/>
            <a:ext cx="366712" cy="366713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10" tIns="45703" rIns="91410" bIns="45703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30" name="Rectangle 20"/>
          <p:cNvSpPr>
            <a:spLocks noChangeArrowheads="1"/>
          </p:cNvSpPr>
          <p:nvPr/>
        </p:nvSpPr>
        <p:spPr bwMode="auto">
          <a:xfrm>
            <a:off x="-374650" y="2546356"/>
            <a:ext cx="366712" cy="366713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10" tIns="45703" rIns="91410" bIns="45703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31" name="Rectangle 20"/>
          <p:cNvSpPr>
            <a:spLocks noChangeArrowheads="1"/>
          </p:cNvSpPr>
          <p:nvPr/>
        </p:nvSpPr>
        <p:spPr bwMode="auto">
          <a:xfrm>
            <a:off x="-374650" y="2941639"/>
            <a:ext cx="366712" cy="366712"/>
          </a:xfrm>
          <a:prstGeom prst="rect">
            <a:avLst/>
          </a:prstGeom>
          <a:solidFill>
            <a:srgbClr val="225D9E"/>
          </a:solidFill>
          <a:ln w="9525">
            <a:noFill/>
            <a:miter lim="800000"/>
            <a:headEnd/>
            <a:tailEnd/>
          </a:ln>
        </p:spPr>
        <p:txBody>
          <a:bodyPr lIns="143949" tIns="45703" rIns="91410" bIns="45703" anchor="ctr"/>
          <a:lstStyle/>
          <a:p>
            <a:pPr defTabSz="984250" eaLnBrk="1" hangingPunct="1">
              <a:defRPr/>
            </a:pPr>
            <a:endParaRPr lang="en-US" sz="1400" b="1">
              <a:solidFill>
                <a:srgbClr val="FFFFFF"/>
              </a:solidFill>
              <a:latin typeface="Verdana" pitchFamily="34" charset="0"/>
            </a:endParaRPr>
          </a:p>
        </p:txBody>
      </p:sp>
      <p:sp>
        <p:nvSpPr>
          <p:cNvPr id="32" name="Rectangle 20"/>
          <p:cNvSpPr>
            <a:spLocks noChangeArrowheads="1"/>
          </p:cNvSpPr>
          <p:nvPr/>
        </p:nvSpPr>
        <p:spPr bwMode="auto">
          <a:xfrm>
            <a:off x="-376238" y="4395788"/>
            <a:ext cx="366713" cy="366712"/>
          </a:xfrm>
          <a:prstGeom prst="rect">
            <a:avLst/>
          </a:prstGeom>
          <a:solidFill>
            <a:srgbClr val="394A58"/>
          </a:solidFill>
          <a:ln w="9525">
            <a:noFill/>
            <a:miter lim="800000"/>
            <a:headEnd/>
            <a:tailEnd/>
          </a:ln>
        </p:spPr>
        <p:txBody>
          <a:bodyPr lIns="143949" tIns="45703" rIns="91410" bIns="45703" anchor="ctr"/>
          <a:lstStyle/>
          <a:p>
            <a:pPr defTabSz="984250" eaLnBrk="1" hangingPunct="1">
              <a:defRPr/>
            </a:pPr>
            <a:endParaRPr lang="en-US" sz="1400" b="1">
              <a:solidFill>
                <a:srgbClr val="FFFFFF"/>
              </a:solidFill>
              <a:latin typeface="Verdana" pitchFamily="34" charset="0"/>
            </a:endParaRPr>
          </a:p>
        </p:txBody>
      </p:sp>
      <p:sp>
        <p:nvSpPr>
          <p:cNvPr id="33" name="Rectangle 20"/>
          <p:cNvSpPr>
            <a:spLocks noChangeArrowheads="1"/>
          </p:cNvSpPr>
          <p:nvPr/>
        </p:nvSpPr>
        <p:spPr bwMode="auto">
          <a:xfrm>
            <a:off x="-376238" y="3306763"/>
            <a:ext cx="366713" cy="366712"/>
          </a:xfrm>
          <a:prstGeom prst="rect">
            <a:avLst/>
          </a:prstGeom>
          <a:solidFill>
            <a:srgbClr val="73AFB5"/>
          </a:solidFill>
          <a:ln w="9525">
            <a:noFill/>
            <a:miter lim="800000"/>
            <a:headEnd/>
            <a:tailEnd/>
          </a:ln>
        </p:spPr>
        <p:txBody>
          <a:bodyPr lIns="143949" tIns="45703" rIns="91410" bIns="45703" anchor="ctr"/>
          <a:lstStyle/>
          <a:p>
            <a:pPr defTabSz="984250" eaLnBrk="1" hangingPunct="1">
              <a:defRPr/>
            </a:pPr>
            <a:endParaRPr lang="en-US" sz="1400" b="1">
              <a:solidFill>
                <a:srgbClr val="FFFFFF"/>
              </a:solidFill>
              <a:latin typeface="Verdana" pitchFamily="34" charset="0"/>
            </a:endParaRPr>
          </a:p>
        </p:txBody>
      </p:sp>
      <p:sp>
        <p:nvSpPr>
          <p:cNvPr id="34" name="Rectangle 20"/>
          <p:cNvSpPr>
            <a:spLocks noChangeArrowheads="1"/>
          </p:cNvSpPr>
          <p:nvPr/>
        </p:nvSpPr>
        <p:spPr bwMode="auto">
          <a:xfrm>
            <a:off x="-376238" y="3671888"/>
            <a:ext cx="366713" cy="366712"/>
          </a:xfrm>
          <a:prstGeom prst="rect">
            <a:avLst/>
          </a:prstGeom>
          <a:solidFill>
            <a:srgbClr val="66C28B"/>
          </a:solidFill>
          <a:ln w="9525">
            <a:noFill/>
            <a:miter lim="800000"/>
            <a:headEnd/>
            <a:tailEnd/>
          </a:ln>
        </p:spPr>
        <p:txBody>
          <a:bodyPr lIns="143949" tIns="45703" rIns="91410" bIns="45703" anchor="ctr"/>
          <a:lstStyle/>
          <a:p>
            <a:pPr defTabSz="984250" eaLnBrk="1" hangingPunct="1">
              <a:defRPr/>
            </a:pPr>
            <a:endParaRPr lang="en-US" sz="1400" b="1">
              <a:solidFill>
                <a:srgbClr val="FFFFFF"/>
              </a:solidFill>
              <a:latin typeface="Verdana" pitchFamily="34" charset="0"/>
            </a:endParaRPr>
          </a:p>
        </p:txBody>
      </p:sp>
      <p:sp>
        <p:nvSpPr>
          <p:cNvPr id="35" name="Rectangle 20"/>
          <p:cNvSpPr>
            <a:spLocks noChangeArrowheads="1"/>
          </p:cNvSpPr>
          <p:nvPr/>
        </p:nvSpPr>
        <p:spPr bwMode="auto">
          <a:xfrm>
            <a:off x="-376238" y="4033839"/>
            <a:ext cx="366713" cy="366712"/>
          </a:xfrm>
          <a:prstGeom prst="rect">
            <a:avLst/>
          </a:prstGeom>
          <a:solidFill>
            <a:srgbClr val="008000"/>
          </a:solidFill>
          <a:ln w="9525">
            <a:noFill/>
            <a:miter lim="800000"/>
            <a:headEnd/>
            <a:tailEnd/>
          </a:ln>
        </p:spPr>
        <p:txBody>
          <a:bodyPr lIns="143949" tIns="45703" rIns="91410" bIns="45703" anchor="ctr"/>
          <a:lstStyle/>
          <a:p>
            <a:pPr defTabSz="984250" eaLnBrk="1" hangingPunct="1">
              <a:defRPr/>
            </a:pPr>
            <a:endParaRPr lang="en-US" sz="1400" b="1">
              <a:solidFill>
                <a:srgbClr val="FFFFFF"/>
              </a:solidFill>
              <a:latin typeface="Verdana" pitchFamily="34" charset="0"/>
            </a:endParaRPr>
          </a:p>
        </p:txBody>
      </p:sp>
      <p:sp>
        <p:nvSpPr>
          <p:cNvPr id="36" name="Rectangle 6"/>
          <p:cNvSpPr>
            <a:spLocks noChangeArrowheads="1"/>
          </p:cNvSpPr>
          <p:nvPr userDrawn="1"/>
        </p:nvSpPr>
        <p:spPr bwMode="auto">
          <a:xfrm>
            <a:off x="-374650" y="-17458"/>
            <a:ext cx="366712" cy="366713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37" name="Rectangle 7"/>
          <p:cNvSpPr>
            <a:spLocks noChangeArrowheads="1"/>
          </p:cNvSpPr>
          <p:nvPr userDrawn="1"/>
        </p:nvSpPr>
        <p:spPr bwMode="auto">
          <a:xfrm>
            <a:off x="-374650" y="349256"/>
            <a:ext cx="366712" cy="366713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38" name="Rectangle 8"/>
          <p:cNvSpPr>
            <a:spLocks noChangeArrowheads="1"/>
          </p:cNvSpPr>
          <p:nvPr userDrawn="1"/>
        </p:nvSpPr>
        <p:spPr bwMode="auto">
          <a:xfrm>
            <a:off x="-374650" y="715963"/>
            <a:ext cx="366712" cy="366712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39" name="Rectangle 9"/>
          <p:cNvSpPr>
            <a:spLocks noChangeArrowheads="1"/>
          </p:cNvSpPr>
          <p:nvPr userDrawn="1"/>
        </p:nvSpPr>
        <p:spPr bwMode="auto">
          <a:xfrm>
            <a:off x="-374650" y="1081088"/>
            <a:ext cx="366712" cy="366712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40" name="Rectangle 13"/>
          <p:cNvSpPr>
            <a:spLocks noChangeArrowheads="1"/>
          </p:cNvSpPr>
          <p:nvPr userDrawn="1"/>
        </p:nvSpPr>
        <p:spPr bwMode="auto">
          <a:xfrm>
            <a:off x="-374650" y="1447805"/>
            <a:ext cx="366712" cy="366713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41" name="Rectangle 10"/>
          <p:cNvSpPr>
            <a:spLocks noChangeArrowheads="1"/>
          </p:cNvSpPr>
          <p:nvPr userDrawn="1"/>
        </p:nvSpPr>
        <p:spPr bwMode="auto">
          <a:xfrm>
            <a:off x="-374650" y="1814513"/>
            <a:ext cx="366712" cy="366712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42" name="Rectangle 11"/>
          <p:cNvSpPr>
            <a:spLocks noChangeArrowheads="1"/>
          </p:cNvSpPr>
          <p:nvPr userDrawn="1"/>
        </p:nvSpPr>
        <p:spPr bwMode="auto">
          <a:xfrm>
            <a:off x="-374650" y="2181230"/>
            <a:ext cx="366712" cy="366713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43" name="Rectangle 12"/>
          <p:cNvSpPr>
            <a:spLocks noChangeArrowheads="1"/>
          </p:cNvSpPr>
          <p:nvPr userDrawn="1"/>
        </p:nvSpPr>
        <p:spPr bwMode="auto">
          <a:xfrm>
            <a:off x="-374650" y="2546356"/>
            <a:ext cx="366712" cy="366713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44" name="Rectangle 16"/>
          <p:cNvSpPr>
            <a:spLocks noChangeArrowheads="1"/>
          </p:cNvSpPr>
          <p:nvPr userDrawn="1"/>
        </p:nvSpPr>
        <p:spPr bwMode="auto">
          <a:xfrm>
            <a:off x="0" y="0"/>
            <a:ext cx="9144000" cy="836613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45" name="Rectangle 17"/>
          <p:cNvSpPr>
            <a:spLocks noChangeArrowheads="1"/>
          </p:cNvSpPr>
          <p:nvPr userDrawn="1"/>
        </p:nvSpPr>
        <p:spPr bwMode="auto">
          <a:xfrm>
            <a:off x="0" y="6507164"/>
            <a:ext cx="9144000" cy="350837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pic>
        <p:nvPicPr>
          <p:cNvPr id="46" name="Picture 17" descr="rzd_logo.png"/>
          <p:cNvPicPr>
            <a:picLocks noChangeAspect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auto">
          <a:xfrm>
            <a:off x="8459788" y="6510342"/>
            <a:ext cx="393700" cy="347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7" name="Footer Placeholder 25"/>
          <p:cNvSpPr txBox="1">
            <a:spLocks/>
          </p:cNvSpPr>
          <p:nvPr userDrawn="1"/>
        </p:nvSpPr>
        <p:spPr bwMode="auto">
          <a:xfrm>
            <a:off x="547689" y="6546852"/>
            <a:ext cx="7724775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en-US" sz="1000">
              <a:solidFill>
                <a:srgbClr val="000000"/>
              </a:solidFill>
              <a:latin typeface="Verdana" pitchFamily="34" charset="0"/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107504" y="1"/>
            <a:ext cx="8856983" cy="836712"/>
          </a:xfrm>
        </p:spPr>
        <p:txBody>
          <a:bodyPr>
            <a:normAutofit/>
          </a:bodyPr>
          <a:lstStyle>
            <a:lvl1pPr algn="l">
              <a:defRPr sz="2000" b="1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8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6232525" y="6500816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mtClean="0"/>
            </a:lvl1pPr>
          </a:lstStyle>
          <a:p>
            <a:pPr>
              <a:defRPr/>
            </a:pPr>
            <a:fld id="{FEA988EE-8017-46EF-8BB2-3231DDA25A22}" type="slidenum">
              <a:rPr lang="en-US" altLang="ru-RU"/>
              <a:pPr>
                <a:defRPr/>
              </a:pPr>
              <a:t>‹#›</a:t>
            </a:fld>
            <a:endParaRPr lang="en-US" altLang="ru-RU"/>
          </a:p>
        </p:txBody>
      </p:sp>
    </p:spTree>
  </p:cSld>
  <p:clrMapOvr>
    <a:masterClrMapping/>
  </p:clrMapOvr>
  <p:transition>
    <p:pull dir="r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Заголовок и контент (1 колонка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6"/>
          <p:cNvSpPr>
            <a:spLocks noChangeArrowheads="1"/>
          </p:cNvSpPr>
          <p:nvPr userDrawn="1"/>
        </p:nvSpPr>
        <p:spPr bwMode="auto">
          <a:xfrm>
            <a:off x="0" y="1"/>
            <a:ext cx="9144000" cy="762000"/>
          </a:xfrm>
          <a:prstGeom prst="rect">
            <a:avLst/>
          </a:prstGeom>
          <a:solidFill>
            <a:srgbClr val="BFC5CE"/>
          </a:solidFill>
          <a:ln>
            <a:noFill/>
            <a:headEnd/>
            <a:tailEnd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68496" tIns="34247" rIns="68496" bIns="34247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b="1" dirty="0">
              <a:solidFill>
                <a:schemeClr val="lt1"/>
              </a:solidFill>
              <a:latin typeface="+mn-lt"/>
              <a:ea typeface="+mn-ea"/>
            </a:endParaRPr>
          </a:p>
        </p:txBody>
      </p:sp>
      <p:sp>
        <p:nvSpPr>
          <p:cNvPr id="17" name="Rectangle 17"/>
          <p:cNvSpPr>
            <a:spLocks noChangeArrowheads="1"/>
          </p:cNvSpPr>
          <p:nvPr userDrawn="1"/>
        </p:nvSpPr>
        <p:spPr bwMode="auto">
          <a:xfrm>
            <a:off x="0" y="6507164"/>
            <a:ext cx="9144000" cy="350837"/>
          </a:xfrm>
          <a:prstGeom prst="rect">
            <a:avLst/>
          </a:prstGeom>
          <a:ln>
            <a:noFill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68496" tIns="34247" rIns="68496" bIns="34247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chemeClr val="lt1"/>
              </a:solidFill>
              <a:latin typeface="+mn-lt"/>
              <a:ea typeface="+mn-ea"/>
            </a:endParaRPr>
          </a:p>
        </p:txBody>
      </p:sp>
      <p:pic>
        <p:nvPicPr>
          <p:cNvPr id="18" name="Picture 17" descr="rzd_logo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280406" y="6510357"/>
            <a:ext cx="573088" cy="347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107951" y="7"/>
            <a:ext cx="8928100" cy="762001"/>
          </a:xfrm>
          <a:prstGeom prst="rect">
            <a:avLst/>
          </a:prstGeom>
        </p:spPr>
        <p:txBody>
          <a:bodyPr lIns="68496" tIns="34247" rIns="68496" bIns="34247" anchor="ctr">
            <a:normAutofit/>
          </a:bodyPr>
          <a:lstStyle>
            <a:lvl1pPr algn="l">
              <a:defRPr sz="1400" b="1" baseline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Заголовок слайда презентации (шрифт </a:t>
            </a:r>
            <a:r>
              <a:rPr lang="en-US" dirty="0" smtClean="0"/>
              <a:t>Verdana 18pt Bold)</a:t>
            </a:r>
            <a:endParaRPr lang="en-US" dirty="0"/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141323" y="6540963"/>
            <a:ext cx="831273" cy="292100"/>
          </a:xfrm>
          <a:prstGeom prst="rect">
            <a:avLst/>
          </a:prstGeom>
        </p:spPr>
        <p:txBody>
          <a:bodyPr lIns="68496" tIns="34247" rIns="68496" bIns="34247"/>
          <a:lstStyle>
            <a:lvl1pPr algn="l">
              <a:defRPr sz="900" b="1" smtClean="0">
                <a:solidFill>
                  <a:srgbClr val="C00000"/>
                </a:solidFill>
                <a:latin typeface="RussianRail G Pro Extended" pitchFamily="34" charset="-52"/>
              </a:defRPr>
            </a:lvl1pPr>
          </a:lstStyle>
          <a:p>
            <a:pPr>
              <a:defRPr/>
            </a:pPr>
            <a:fld id="{ED04B228-B6B7-46EC-B347-C9C2F5B8AD0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 userDrawn="1">
            <p:extLst>
              <p:ext uri="{D42A27DB-BD31-4B8C-83A1-F6EECF244321}">
                <p14:modId xmlns="" xmlns:p14="http://schemas.microsoft.com/office/powerpoint/2010/main" val="1380904917"/>
              </p:ext>
            </p:extLst>
          </p:nvPr>
        </p:nvGraphicFramePr>
        <p:xfrm>
          <a:off x="6408740" y="-252410"/>
          <a:ext cx="2627310" cy="25241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193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43962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25193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43962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251934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143962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251934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143962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  <a:gridCol w="251934">
                  <a:extLst>
                    <a:ext uri="{9D8B030D-6E8A-4147-A177-3AD203B41FA5}">
                      <a16:colId xmlns="" xmlns:a16="http://schemas.microsoft.com/office/drawing/2014/main" val="20008"/>
                    </a:ext>
                  </a:extLst>
                </a:gridCol>
                <a:gridCol w="143962">
                  <a:extLst>
                    <a:ext uri="{9D8B030D-6E8A-4147-A177-3AD203B41FA5}">
                      <a16:colId xmlns="" xmlns:a16="http://schemas.microsoft.com/office/drawing/2014/main" val="20009"/>
                    </a:ext>
                  </a:extLst>
                </a:gridCol>
                <a:gridCol w="251934">
                  <a:extLst>
                    <a:ext uri="{9D8B030D-6E8A-4147-A177-3AD203B41FA5}">
                      <a16:colId xmlns="" xmlns:a16="http://schemas.microsoft.com/office/drawing/2014/main" val="20010"/>
                    </a:ext>
                  </a:extLst>
                </a:gridCol>
                <a:gridCol w="143962">
                  <a:extLst>
                    <a:ext uri="{9D8B030D-6E8A-4147-A177-3AD203B41FA5}">
                      <a16:colId xmlns="" xmlns:a16="http://schemas.microsoft.com/office/drawing/2014/main" val="20011"/>
                    </a:ext>
                  </a:extLst>
                </a:gridCol>
                <a:gridCol w="251934">
                  <a:extLst>
                    <a:ext uri="{9D8B030D-6E8A-4147-A177-3AD203B41FA5}">
                      <a16:colId xmlns="" xmlns:a16="http://schemas.microsoft.com/office/drawing/2014/main" val="20012"/>
                    </a:ext>
                  </a:extLst>
                </a:gridCol>
              </a:tblGrid>
              <a:tr h="252412">
                <a:tc>
                  <a:txBody>
                    <a:bodyPr/>
                    <a:lstStyle/>
                    <a:p>
                      <a:endParaRPr lang="ru-RU" sz="500" dirty="0"/>
                    </a:p>
                  </a:txBody>
                  <a:tcPr marL="35991" marR="35991" marT="36059" marB="36059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94A58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500" dirty="0"/>
                    </a:p>
                  </a:txBody>
                  <a:tcPr marL="35991" marR="35991" marT="36059" marB="36059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500" dirty="0"/>
                    </a:p>
                  </a:txBody>
                  <a:tcPr marL="35991" marR="35991" marT="36059" marB="36059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09CAA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500" dirty="0"/>
                    </a:p>
                  </a:txBody>
                  <a:tcPr marL="35991" marR="35991" marT="36059" marB="36059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500" dirty="0"/>
                    </a:p>
                  </a:txBody>
                  <a:tcPr marL="35991" marR="35991" marT="36059" marB="36059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202C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500" dirty="0"/>
                    </a:p>
                  </a:txBody>
                  <a:tcPr marL="35991" marR="35991" marT="36059" marB="36059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500" dirty="0"/>
                    </a:p>
                  </a:txBody>
                  <a:tcPr marL="35991" marR="35991" marT="36059" marB="36059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3A86B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500" dirty="0"/>
                    </a:p>
                  </a:txBody>
                  <a:tcPr marL="35991" marR="35991" marT="36059" marB="36059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500" dirty="0"/>
                    </a:p>
                  </a:txBody>
                  <a:tcPr marL="35991" marR="35991" marT="36059" marB="36059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7BD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500" dirty="0"/>
                    </a:p>
                  </a:txBody>
                  <a:tcPr marL="35991" marR="35991" marT="36059" marB="36059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500" dirty="0"/>
                    </a:p>
                  </a:txBody>
                  <a:tcPr marL="35991" marR="35991" marT="36059" marB="36059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AB0D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500" dirty="0"/>
                    </a:p>
                  </a:txBody>
                  <a:tcPr marL="35991" marR="35991" marT="36059" marB="36059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500" dirty="0"/>
                    </a:p>
                  </a:txBody>
                  <a:tcPr marL="35991" marR="35991" marT="36059" marB="36059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A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="" xmlns:p14="http://schemas.microsoft.com/office/powerpoint/2010/main" val="36438120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/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469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4246901636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p:oleObj spid="_x0000_s6146" name="think-cell Slide" r:id="rId3" imgW="360" imgH="360" progId="">
              <p:embed/>
            </p:oleObj>
          </a:graphicData>
        </a:graphic>
      </p:graphicFrame>
      <p:sp>
        <p:nvSpPr>
          <p:cNvPr id="4" name="Rectangle 7">
            <a:extLst>
              <a:ext uri="{FF2B5EF4-FFF2-40B4-BE49-F238E27FC236}">
                <a16:creationId xmlns="" xmlns:a16="http://schemas.microsoft.com/office/drawing/2014/main" id="{F2B484AE-DC43-4717-818D-107B07B71DC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7938" y="6507164"/>
            <a:ext cx="9151938" cy="350837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defRPr/>
            </a:pPr>
            <a:endParaRPr lang="ru-RU" altLang="ru-RU" dirty="0">
              <a:solidFill>
                <a:srgbClr val="FFFFFF"/>
              </a:solidFill>
              <a:latin typeface="Verdana" panose="020B0604030504040204" pitchFamily="34" charset="0"/>
            </a:endParaRPr>
          </a:p>
        </p:txBody>
      </p:sp>
      <p:pic>
        <p:nvPicPr>
          <p:cNvPr id="5" name="Picture 17" descr="rzd_logo.pn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80400" y="6510341"/>
            <a:ext cx="573088" cy="347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Rectangle 10">
            <a:extLst>
              <a:ext uri="{FF2B5EF4-FFF2-40B4-BE49-F238E27FC236}">
                <a16:creationId xmlns="" xmlns:a16="http://schemas.microsoft.com/office/drawing/2014/main" id="{76CA3288-D209-4420-BBA8-413E02D8DCF8}"/>
              </a:ext>
            </a:extLst>
          </p:cNvPr>
          <p:cNvSpPr/>
          <p:nvPr userDrawn="1"/>
        </p:nvSpPr>
        <p:spPr>
          <a:xfrm>
            <a:off x="0" y="3"/>
            <a:ext cx="9144000" cy="825388"/>
          </a:xfrm>
          <a:prstGeom prst="rect">
            <a:avLst/>
          </a:prstGeom>
          <a:solidFill>
            <a:srgbClr val="BFC5C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8" name="TextBox 6">
            <a:extLst>
              <a:ext uri="{FF2B5EF4-FFF2-40B4-BE49-F238E27FC236}">
                <a16:creationId xmlns="" xmlns:a16="http://schemas.microsoft.com/office/drawing/2014/main" id="{A064494C-526E-4DCB-A7E0-F8C3010A288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3351" y="133349"/>
            <a:ext cx="184731" cy="369332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defRPr/>
            </a:pPr>
            <a:endParaRPr lang="ru-RU" altLang="ru-RU" dirty="0">
              <a:latin typeface="Verdana" panose="020B0604030504040204" pitchFamily="34" charset="0"/>
            </a:endParaRPr>
          </a:p>
        </p:txBody>
      </p:sp>
      <p:grpSp>
        <p:nvGrpSpPr>
          <p:cNvPr id="2" name="Group 12"/>
          <p:cNvGrpSpPr>
            <a:grpSpLocks/>
          </p:cNvGrpSpPr>
          <p:nvPr/>
        </p:nvGrpSpPr>
        <p:grpSpPr bwMode="auto">
          <a:xfrm>
            <a:off x="-374650" y="-17464"/>
            <a:ext cx="366712" cy="2930527"/>
            <a:chOff x="-374650" y="-17463"/>
            <a:chExt cx="366712" cy="2930526"/>
          </a:xfrm>
        </p:grpSpPr>
        <p:sp>
          <p:nvSpPr>
            <p:cNvPr id="10" name="Rectangle 13">
              <a:extLst>
                <a:ext uri="{FF2B5EF4-FFF2-40B4-BE49-F238E27FC236}">
                  <a16:creationId xmlns="" xmlns:a16="http://schemas.microsoft.com/office/drawing/2014/main" id="{5628A5AF-0069-420E-9729-322C37E2A40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-374650" y="-17463"/>
              <a:ext cx="366712" cy="366713"/>
            </a:xfrm>
            <a:prstGeom prst="rect">
              <a:avLst/>
            </a:prstGeom>
            <a:solidFill>
              <a:srgbClr val="CD202C"/>
            </a:solidFill>
            <a:ln>
              <a:noFill/>
            </a:ln>
            <a:effectLst>
              <a:outerShdw dist="23000" dir="5400000" rotWithShape="0">
                <a:srgbClr val="808080">
                  <a:alpha val="34998"/>
                </a:srgbClr>
              </a:outerShdw>
            </a:effectLst>
            <a:extLst/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>
                <a:defRPr/>
              </a:pPr>
              <a:endParaRPr lang="ru-RU" altLang="ru-RU" dirty="0">
                <a:solidFill>
                  <a:srgbClr val="FFFFFF"/>
                </a:solidFill>
                <a:latin typeface="Verdana" panose="020B0604030504040204" pitchFamily="34" charset="0"/>
              </a:endParaRPr>
            </a:p>
          </p:txBody>
        </p:sp>
        <p:sp>
          <p:nvSpPr>
            <p:cNvPr id="11" name="Rectangle 14">
              <a:extLst>
                <a:ext uri="{FF2B5EF4-FFF2-40B4-BE49-F238E27FC236}">
                  <a16:creationId xmlns="" xmlns:a16="http://schemas.microsoft.com/office/drawing/2014/main" id="{2660A7EB-E973-4A82-9ECA-79391443E67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-374650" y="349250"/>
              <a:ext cx="366712" cy="366713"/>
            </a:xfrm>
            <a:prstGeom prst="rect">
              <a:avLst/>
            </a:prstGeom>
            <a:solidFill>
              <a:srgbClr val="455D70"/>
            </a:solidFill>
            <a:ln>
              <a:noFill/>
            </a:ln>
            <a:effectLst>
              <a:outerShdw dist="23000" dir="5400000" rotWithShape="0">
                <a:srgbClr val="808080">
                  <a:alpha val="34998"/>
                </a:srgbClr>
              </a:outerShdw>
            </a:effectLst>
            <a:extLst/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>
                <a:defRPr/>
              </a:pPr>
              <a:endParaRPr lang="ru-RU" altLang="ru-RU" dirty="0">
                <a:solidFill>
                  <a:srgbClr val="FFFFFF"/>
                </a:solidFill>
                <a:latin typeface="Verdana" panose="020B0604030504040204" pitchFamily="34" charset="0"/>
              </a:endParaRPr>
            </a:p>
          </p:txBody>
        </p:sp>
        <p:sp>
          <p:nvSpPr>
            <p:cNvPr id="12" name="Rectangle 15">
              <a:extLst>
                <a:ext uri="{FF2B5EF4-FFF2-40B4-BE49-F238E27FC236}">
                  <a16:creationId xmlns="" xmlns:a16="http://schemas.microsoft.com/office/drawing/2014/main" id="{E145F483-0E66-4957-91A2-1EB7C8AAF88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-374650" y="715963"/>
              <a:ext cx="366712" cy="366712"/>
            </a:xfrm>
            <a:prstGeom prst="rect">
              <a:avLst/>
            </a:prstGeom>
            <a:solidFill>
              <a:srgbClr val="68798B"/>
            </a:solidFill>
            <a:ln>
              <a:noFill/>
            </a:ln>
            <a:effectLst>
              <a:outerShdw dist="23000" dir="5400000" rotWithShape="0">
                <a:srgbClr val="808080">
                  <a:alpha val="34998"/>
                </a:srgbClr>
              </a:outerShdw>
            </a:effectLst>
            <a:extLst/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>
                <a:defRPr/>
              </a:pPr>
              <a:endParaRPr lang="ru-RU" altLang="ru-RU" dirty="0">
                <a:solidFill>
                  <a:srgbClr val="FFFFFF"/>
                </a:solidFill>
                <a:latin typeface="Verdana" panose="020B0604030504040204" pitchFamily="34" charset="0"/>
              </a:endParaRPr>
            </a:p>
          </p:txBody>
        </p:sp>
        <p:sp>
          <p:nvSpPr>
            <p:cNvPr id="13" name="Rectangle 16">
              <a:extLst>
                <a:ext uri="{FF2B5EF4-FFF2-40B4-BE49-F238E27FC236}">
                  <a16:creationId xmlns="" xmlns:a16="http://schemas.microsoft.com/office/drawing/2014/main" id="{222C273F-0163-467A-97C8-3CA21142058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-374650" y="1081088"/>
              <a:ext cx="366712" cy="366712"/>
            </a:xfrm>
            <a:prstGeom prst="rect">
              <a:avLst/>
            </a:prstGeom>
            <a:solidFill>
              <a:srgbClr val="909CAA"/>
            </a:solidFill>
            <a:ln>
              <a:noFill/>
            </a:ln>
            <a:effectLst>
              <a:outerShdw dist="23000" dir="5400000" rotWithShape="0">
                <a:srgbClr val="808080">
                  <a:alpha val="34998"/>
                </a:srgbClr>
              </a:outerShdw>
            </a:effectLst>
            <a:extLst/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>
                <a:defRPr/>
              </a:pPr>
              <a:endParaRPr lang="ru-RU" altLang="ru-RU" dirty="0">
                <a:solidFill>
                  <a:srgbClr val="FFFFFF"/>
                </a:solidFill>
                <a:latin typeface="Verdana" panose="020B0604030504040204" pitchFamily="34" charset="0"/>
              </a:endParaRPr>
            </a:p>
          </p:txBody>
        </p:sp>
        <p:sp>
          <p:nvSpPr>
            <p:cNvPr id="14" name="Rectangle 17">
              <a:extLst>
                <a:ext uri="{FF2B5EF4-FFF2-40B4-BE49-F238E27FC236}">
                  <a16:creationId xmlns="" xmlns:a16="http://schemas.microsoft.com/office/drawing/2014/main" id="{C789ADE8-BBF2-416D-8AAE-ABD0B48E3D0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-374650" y="1447800"/>
              <a:ext cx="366712" cy="366713"/>
            </a:xfrm>
            <a:prstGeom prst="rect">
              <a:avLst/>
            </a:prstGeom>
            <a:solidFill>
              <a:srgbClr val="BFC5CE"/>
            </a:solidFill>
            <a:ln>
              <a:noFill/>
            </a:ln>
            <a:effectLst>
              <a:outerShdw dist="23000" dir="5400000" rotWithShape="0">
                <a:srgbClr val="808080">
                  <a:alpha val="34998"/>
                </a:srgbClr>
              </a:outerShdw>
            </a:effectLst>
            <a:extLst/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>
                <a:defRPr/>
              </a:pPr>
              <a:endParaRPr lang="ru-RU" altLang="ru-RU" dirty="0">
                <a:solidFill>
                  <a:srgbClr val="FFFFFF"/>
                </a:solidFill>
                <a:latin typeface="Verdana" panose="020B0604030504040204" pitchFamily="34" charset="0"/>
              </a:endParaRPr>
            </a:p>
          </p:txBody>
        </p:sp>
        <p:sp>
          <p:nvSpPr>
            <p:cNvPr id="15" name="Rectangle 18">
              <a:extLst>
                <a:ext uri="{FF2B5EF4-FFF2-40B4-BE49-F238E27FC236}">
                  <a16:creationId xmlns="" xmlns:a16="http://schemas.microsoft.com/office/drawing/2014/main" id="{69770D4F-CEF5-43E6-B51D-21C7CC50FAA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-374650" y="1814513"/>
              <a:ext cx="366712" cy="366712"/>
            </a:xfrm>
            <a:prstGeom prst="rect">
              <a:avLst/>
            </a:prstGeom>
            <a:solidFill>
              <a:srgbClr val="A3A86B"/>
            </a:solidFill>
            <a:ln>
              <a:noFill/>
            </a:ln>
            <a:effectLst>
              <a:outerShdw dist="23000" dir="5400000" rotWithShape="0">
                <a:srgbClr val="808080">
                  <a:alpha val="34998"/>
                </a:srgbClr>
              </a:outerShdw>
            </a:effectLst>
            <a:extLst/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>
                <a:defRPr/>
              </a:pPr>
              <a:endParaRPr lang="ru-RU" altLang="ru-RU" dirty="0">
                <a:solidFill>
                  <a:srgbClr val="FFFFFF"/>
                </a:solidFill>
                <a:latin typeface="Verdana" panose="020B0604030504040204" pitchFamily="34" charset="0"/>
              </a:endParaRPr>
            </a:p>
          </p:txBody>
        </p:sp>
        <p:sp>
          <p:nvSpPr>
            <p:cNvPr id="16" name="Rectangle 19">
              <a:extLst>
                <a:ext uri="{FF2B5EF4-FFF2-40B4-BE49-F238E27FC236}">
                  <a16:creationId xmlns="" xmlns:a16="http://schemas.microsoft.com/office/drawing/2014/main" id="{0AB76795-02F3-48A1-A88B-DF6C3F8F345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-374650" y="2181225"/>
              <a:ext cx="366712" cy="366713"/>
            </a:xfrm>
            <a:prstGeom prst="rect">
              <a:avLst/>
            </a:prstGeom>
            <a:solidFill>
              <a:srgbClr val="D3D7BD"/>
            </a:solidFill>
            <a:ln>
              <a:noFill/>
            </a:ln>
            <a:effectLst>
              <a:outerShdw dist="23000" dir="5400000" rotWithShape="0">
                <a:srgbClr val="808080">
                  <a:alpha val="34998"/>
                </a:srgbClr>
              </a:outerShdw>
            </a:effectLst>
            <a:extLst/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>
                <a:defRPr/>
              </a:pPr>
              <a:endParaRPr lang="ru-RU" altLang="ru-RU" dirty="0">
                <a:solidFill>
                  <a:srgbClr val="FFFFFF"/>
                </a:solidFill>
                <a:latin typeface="Verdana" panose="020B0604030504040204" pitchFamily="34" charset="0"/>
              </a:endParaRPr>
            </a:p>
          </p:txBody>
        </p:sp>
        <p:sp>
          <p:nvSpPr>
            <p:cNvPr id="17" name="Rectangle 20">
              <a:extLst>
                <a:ext uri="{FF2B5EF4-FFF2-40B4-BE49-F238E27FC236}">
                  <a16:creationId xmlns="" xmlns:a16="http://schemas.microsoft.com/office/drawing/2014/main" id="{9F2521B3-E7C6-4ACF-96CD-AF0F730C7E8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-374650" y="2546350"/>
              <a:ext cx="366712" cy="366713"/>
            </a:xfrm>
            <a:prstGeom prst="rect">
              <a:avLst/>
            </a:prstGeom>
            <a:solidFill>
              <a:srgbClr val="0066A1"/>
            </a:solidFill>
            <a:ln>
              <a:noFill/>
            </a:ln>
            <a:effectLst>
              <a:outerShdw dist="23000" dir="5400000" rotWithShape="0">
                <a:srgbClr val="808080">
                  <a:alpha val="34998"/>
                </a:srgbClr>
              </a:outerShdw>
            </a:effectLst>
            <a:extLst/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>
                <a:defRPr/>
              </a:pPr>
              <a:endParaRPr lang="ru-RU" altLang="ru-RU" dirty="0">
                <a:solidFill>
                  <a:srgbClr val="FFFFFF"/>
                </a:solidFill>
                <a:latin typeface="Verdana" panose="020B0604030504040204" pitchFamily="34" charset="0"/>
              </a:endParaRPr>
            </a:p>
          </p:txBody>
        </p:sp>
      </p:grpSp>
      <p:graphicFrame>
        <p:nvGraphicFramePr>
          <p:cNvPr id="18" name="Object 438"/>
          <p:cNvGraphicFramePr>
            <a:graphicFrameLocks noChangeAspect="1"/>
          </p:cNvGraphicFramePr>
          <p:nvPr/>
        </p:nvGraphicFramePr>
        <p:xfrm>
          <a:off x="1589" y="1589"/>
          <a:ext cx="1587" cy="1587"/>
        </p:xfrm>
        <a:graphic>
          <a:graphicData uri="http://schemas.openxmlformats.org/presentationml/2006/ole">
            <p:oleObj spid="_x0000_s6147" name="think-cell Slide" r:id="rId5" imgW="360" imgH="360" progId="">
              <p:embed/>
            </p:oleObj>
          </a:graphicData>
        </a:graphic>
      </p:graphicFrame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 bwMode="auto">
          <a:xfrm>
            <a:off x="230190" y="1"/>
            <a:ext cx="8808614" cy="369332"/>
          </a:xfrm>
          <a:prstGeom prst="rect">
            <a:avLst/>
          </a:prstGeom>
          <a:noFill/>
          <a:ln>
            <a:noFill/>
          </a:ln>
          <a:extLst/>
        </p:spPr>
        <p:txBody>
          <a:bodyPr/>
          <a:lstStyle>
            <a:lvl1pPr>
              <a:defRPr sz="2400">
                <a:latin typeface="RussianRail G Pro" panose="02000503040000020004" pitchFamily="50" charset="-52"/>
              </a:defRPr>
            </a:lvl1pPr>
          </a:lstStyle>
          <a:p>
            <a:pPr lvl="0"/>
            <a:r>
              <a:rPr lang="ru-RU" altLang="ru-RU" dirty="0" smtClean="0"/>
              <a:t>Заголовок слайда</a:t>
            </a:r>
            <a:endParaRPr lang="en-US" altLang="ru-RU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5B106E36-FD25-4E2D-B0AA-010F637433A0}" type="datetimeFigureOut">
              <a:rPr lang="ru-RU" smtClean="0"/>
              <a:pPr/>
              <a:t>25.06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1.xml"/><Relationship Id="rId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oleObject" Target="../embeddings/oleObject2.bin"/><Relationship Id="rId5" Type="http://schemas.openxmlformats.org/officeDocument/2006/relationships/slideLayout" Target="../slideLayouts/slideLayout7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6.xml"/><Relationship Id="rId9" Type="http://schemas.openxmlformats.org/officeDocument/2006/relationships/vmlDrawing" Target="../drawings/vmlDrawing2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="" xmlns:p14="http://schemas.microsoft.com/office/powerpoint/2010/main" val="4093031719"/>
              </p:ext>
            </p:extLst>
          </p:nvPr>
        </p:nvGraphicFramePr>
        <p:xfrm>
          <a:off x="2" y="4"/>
          <a:ext cx="161984" cy="161975"/>
        </p:xfrm>
        <a:graphic>
          <a:graphicData uri="http://schemas.openxmlformats.org/presentationml/2006/ole">
            <p:oleObj spid="_x0000_s1026" name="think-cell Slide" r:id="rId6" imgW="360" imgH="360" progId="">
              <p:embed/>
            </p:oleObj>
          </a:graphicData>
        </a:graphic>
      </p:graphicFrame>
      <p:sp>
        <p:nvSpPr>
          <p:cNvPr id="22" name="Rectangle 1"/>
          <p:cNvSpPr>
            <a:spLocks/>
          </p:cNvSpPr>
          <p:nvPr/>
        </p:nvSpPr>
        <p:spPr bwMode="auto">
          <a:xfrm>
            <a:off x="0" y="1"/>
            <a:ext cx="9144000" cy="830931"/>
          </a:xfrm>
          <a:prstGeom prst="rect">
            <a:avLst/>
          </a:prstGeom>
          <a:solidFill>
            <a:srgbClr val="BFC5CE"/>
          </a:solidFill>
          <a:ln w="9525">
            <a:noFill/>
            <a:round/>
            <a:headEnd/>
            <a:tailEnd/>
          </a:ln>
        </p:spPr>
        <p:txBody>
          <a:bodyPr lIns="73690" tIns="73690" rIns="73690" bIns="73690" anchor="ctr">
            <a:noAutofit/>
          </a:bodyPr>
          <a:lstStyle/>
          <a:p>
            <a:pPr algn="ctr" defTabSz="595855" hangingPunct="0"/>
            <a:endParaRPr lang="ru-RU" sz="3700" dirty="0">
              <a:solidFill>
                <a:srgbClr val="000000"/>
              </a:solidFill>
              <a:latin typeface="Helvetica Light" charset="0"/>
              <a:sym typeface="Helvetica Light" charset="0"/>
            </a:endParaRPr>
          </a:p>
        </p:txBody>
      </p:sp>
      <p:sp>
        <p:nvSpPr>
          <p:cNvPr id="23" name="SlideBottomBar"/>
          <p:cNvSpPr>
            <a:spLocks noChangeArrowheads="1"/>
          </p:cNvSpPr>
          <p:nvPr/>
        </p:nvSpPr>
        <p:spPr bwMode="auto">
          <a:xfrm>
            <a:off x="0" y="6428771"/>
            <a:ext cx="9144000" cy="430852"/>
          </a:xfrm>
          <a:prstGeom prst="rect">
            <a:avLst/>
          </a:prstGeom>
          <a:solidFill>
            <a:srgbClr val="BFC5CE"/>
          </a:solidFill>
          <a:ln>
            <a:noFill/>
          </a:ln>
          <a:effectLst/>
          <a:extLst/>
        </p:spPr>
        <p:txBody>
          <a:bodyPr wrap="none" lIns="93263" tIns="46632" rIns="93263" bIns="46632" anchor="ctr">
            <a:noAutofit/>
          </a:bodyPr>
          <a:lstStyle/>
          <a:p>
            <a:endParaRPr lang="ru-RU" dirty="0"/>
          </a:p>
        </p:txBody>
      </p:sp>
      <p:grpSp>
        <p:nvGrpSpPr>
          <p:cNvPr id="3" name="Group 14"/>
          <p:cNvGrpSpPr>
            <a:grpSpLocks/>
          </p:cNvGrpSpPr>
          <p:nvPr/>
        </p:nvGrpSpPr>
        <p:grpSpPr bwMode="auto">
          <a:xfrm>
            <a:off x="8465770" y="6523717"/>
            <a:ext cx="540172" cy="262399"/>
            <a:chOff x="0" y="0"/>
            <a:chExt cx="46" cy="21"/>
          </a:xfrm>
        </p:grpSpPr>
        <p:sp>
          <p:nvSpPr>
            <p:cNvPr id="25" name="AutoShape 15"/>
            <p:cNvSpPr>
              <a:spLocks/>
            </p:cNvSpPr>
            <p:nvPr/>
          </p:nvSpPr>
          <p:spPr bwMode="auto">
            <a:xfrm>
              <a:off x="28" y="0"/>
              <a:ext cx="18" cy="16"/>
            </a:xfrm>
            <a:custGeom>
              <a:avLst/>
              <a:gdLst>
                <a:gd name="T0" fmla="*/ 9 w 21600"/>
                <a:gd name="T1" fmla="*/ 8 h 21600"/>
                <a:gd name="T2" fmla="*/ 9 w 21600"/>
                <a:gd name="T3" fmla="*/ 8 h 21600"/>
                <a:gd name="T4" fmla="*/ 9 w 21600"/>
                <a:gd name="T5" fmla="*/ 8 h 21600"/>
                <a:gd name="T6" fmla="*/ 9 w 21600"/>
                <a:gd name="T7" fmla="*/ 8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1600"/>
                <a:gd name="T13" fmla="*/ 0 h 21600"/>
                <a:gd name="T14" fmla="*/ 21600 w 21600"/>
                <a:gd name="T15" fmla="*/ 21600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4319" y="2514"/>
                  </a:moveTo>
                  <a:lnTo>
                    <a:pt x="4319" y="3583"/>
                  </a:lnTo>
                  <a:lnTo>
                    <a:pt x="12526" y="3583"/>
                  </a:lnTo>
                  <a:lnTo>
                    <a:pt x="12996" y="3583"/>
                  </a:lnTo>
                  <a:lnTo>
                    <a:pt x="13502" y="3662"/>
                  </a:lnTo>
                  <a:lnTo>
                    <a:pt x="13773" y="3722"/>
                  </a:lnTo>
                  <a:lnTo>
                    <a:pt x="14008" y="3840"/>
                  </a:lnTo>
                  <a:lnTo>
                    <a:pt x="14261" y="3999"/>
                  </a:lnTo>
                  <a:lnTo>
                    <a:pt x="14478" y="4197"/>
                  </a:lnTo>
                  <a:lnTo>
                    <a:pt x="14622" y="4434"/>
                  </a:lnTo>
                  <a:lnTo>
                    <a:pt x="14767" y="4672"/>
                  </a:lnTo>
                  <a:lnTo>
                    <a:pt x="14875" y="4969"/>
                  </a:lnTo>
                  <a:lnTo>
                    <a:pt x="14948" y="5226"/>
                  </a:lnTo>
                  <a:lnTo>
                    <a:pt x="15002" y="5800"/>
                  </a:lnTo>
                  <a:lnTo>
                    <a:pt x="15002" y="6295"/>
                  </a:lnTo>
                  <a:lnTo>
                    <a:pt x="15002" y="15304"/>
                  </a:lnTo>
                  <a:lnTo>
                    <a:pt x="15002" y="15799"/>
                  </a:lnTo>
                  <a:lnTo>
                    <a:pt x="14948" y="16333"/>
                  </a:lnTo>
                  <a:lnTo>
                    <a:pt x="14875" y="16630"/>
                  </a:lnTo>
                  <a:lnTo>
                    <a:pt x="14767" y="16887"/>
                  </a:lnTo>
                  <a:lnTo>
                    <a:pt x="14622" y="17165"/>
                  </a:lnTo>
                  <a:lnTo>
                    <a:pt x="14478" y="17382"/>
                  </a:lnTo>
                  <a:lnTo>
                    <a:pt x="14261" y="17600"/>
                  </a:lnTo>
                  <a:lnTo>
                    <a:pt x="14008" y="17739"/>
                  </a:lnTo>
                  <a:lnTo>
                    <a:pt x="13773" y="17858"/>
                  </a:lnTo>
                  <a:lnTo>
                    <a:pt x="13502" y="17917"/>
                  </a:lnTo>
                  <a:lnTo>
                    <a:pt x="12996" y="17976"/>
                  </a:lnTo>
                  <a:lnTo>
                    <a:pt x="12526" y="18016"/>
                  </a:lnTo>
                  <a:lnTo>
                    <a:pt x="8585" y="18016"/>
                  </a:lnTo>
                  <a:lnTo>
                    <a:pt x="8314" y="17976"/>
                  </a:lnTo>
                  <a:lnTo>
                    <a:pt x="8007" y="17976"/>
                  </a:lnTo>
                  <a:lnTo>
                    <a:pt x="7736" y="17957"/>
                  </a:lnTo>
                  <a:lnTo>
                    <a:pt x="7465" y="17897"/>
                  </a:lnTo>
                  <a:lnTo>
                    <a:pt x="7230" y="17798"/>
                  </a:lnTo>
                  <a:lnTo>
                    <a:pt x="6995" y="17660"/>
                  </a:lnTo>
                  <a:lnTo>
                    <a:pt x="6886" y="17541"/>
                  </a:lnTo>
                  <a:lnTo>
                    <a:pt x="6796" y="17442"/>
                  </a:lnTo>
                  <a:lnTo>
                    <a:pt x="6724" y="17303"/>
                  </a:lnTo>
                  <a:lnTo>
                    <a:pt x="6633" y="17165"/>
                  </a:lnTo>
                  <a:lnTo>
                    <a:pt x="6579" y="17006"/>
                  </a:lnTo>
                  <a:lnTo>
                    <a:pt x="6561" y="16868"/>
                  </a:lnTo>
                  <a:lnTo>
                    <a:pt x="6525" y="16709"/>
                  </a:lnTo>
                  <a:lnTo>
                    <a:pt x="6525" y="16571"/>
                  </a:lnTo>
                  <a:lnTo>
                    <a:pt x="6561" y="16274"/>
                  </a:lnTo>
                  <a:lnTo>
                    <a:pt x="6633" y="16016"/>
                  </a:lnTo>
                  <a:lnTo>
                    <a:pt x="6742" y="15739"/>
                  </a:lnTo>
                  <a:lnTo>
                    <a:pt x="6886" y="15482"/>
                  </a:lnTo>
                  <a:lnTo>
                    <a:pt x="7049" y="15205"/>
                  </a:lnTo>
                  <a:lnTo>
                    <a:pt x="7212" y="15007"/>
                  </a:lnTo>
                  <a:lnTo>
                    <a:pt x="12526" y="7206"/>
                  </a:lnTo>
                  <a:lnTo>
                    <a:pt x="4319" y="7206"/>
                  </a:lnTo>
                  <a:lnTo>
                    <a:pt x="1012" y="11997"/>
                  </a:lnTo>
                  <a:lnTo>
                    <a:pt x="632" y="12591"/>
                  </a:lnTo>
                  <a:lnTo>
                    <a:pt x="289" y="13146"/>
                  </a:lnTo>
                  <a:lnTo>
                    <a:pt x="180" y="13443"/>
                  </a:lnTo>
                  <a:lnTo>
                    <a:pt x="72" y="13740"/>
                  </a:lnTo>
                  <a:lnTo>
                    <a:pt x="18" y="14056"/>
                  </a:lnTo>
                  <a:lnTo>
                    <a:pt x="0" y="14393"/>
                  </a:lnTo>
                  <a:lnTo>
                    <a:pt x="18" y="14710"/>
                  </a:lnTo>
                  <a:lnTo>
                    <a:pt x="72" y="15026"/>
                  </a:lnTo>
                  <a:lnTo>
                    <a:pt x="162" y="15323"/>
                  </a:lnTo>
                  <a:lnTo>
                    <a:pt x="289" y="15620"/>
                  </a:lnTo>
                  <a:lnTo>
                    <a:pt x="614" y="16175"/>
                  </a:lnTo>
                  <a:lnTo>
                    <a:pt x="1012" y="16808"/>
                  </a:lnTo>
                  <a:lnTo>
                    <a:pt x="1843" y="18016"/>
                  </a:lnTo>
                  <a:lnTo>
                    <a:pt x="2476" y="18887"/>
                  </a:lnTo>
                  <a:lnTo>
                    <a:pt x="3108" y="19719"/>
                  </a:lnTo>
                  <a:lnTo>
                    <a:pt x="3470" y="20095"/>
                  </a:lnTo>
                  <a:lnTo>
                    <a:pt x="3813" y="20451"/>
                  </a:lnTo>
                  <a:lnTo>
                    <a:pt x="4193" y="20748"/>
                  </a:lnTo>
                  <a:lnTo>
                    <a:pt x="4591" y="21006"/>
                  </a:lnTo>
                  <a:lnTo>
                    <a:pt x="5006" y="21184"/>
                  </a:lnTo>
                  <a:lnTo>
                    <a:pt x="5458" y="21342"/>
                  </a:lnTo>
                  <a:lnTo>
                    <a:pt x="5910" y="21461"/>
                  </a:lnTo>
                  <a:lnTo>
                    <a:pt x="6416" y="21520"/>
                  </a:lnTo>
                  <a:lnTo>
                    <a:pt x="6958" y="21580"/>
                  </a:lnTo>
                  <a:lnTo>
                    <a:pt x="7519" y="21600"/>
                  </a:lnTo>
                  <a:lnTo>
                    <a:pt x="8115" y="21600"/>
                  </a:lnTo>
                  <a:lnTo>
                    <a:pt x="8766" y="21600"/>
                  </a:lnTo>
                  <a:lnTo>
                    <a:pt x="12345" y="21600"/>
                  </a:lnTo>
                  <a:lnTo>
                    <a:pt x="13158" y="21600"/>
                  </a:lnTo>
                  <a:lnTo>
                    <a:pt x="14044" y="21580"/>
                  </a:lnTo>
                  <a:lnTo>
                    <a:pt x="14496" y="21540"/>
                  </a:lnTo>
                  <a:lnTo>
                    <a:pt x="14984" y="21481"/>
                  </a:lnTo>
                  <a:lnTo>
                    <a:pt x="15472" y="21402"/>
                  </a:lnTo>
                  <a:lnTo>
                    <a:pt x="15942" y="21303"/>
                  </a:lnTo>
                  <a:lnTo>
                    <a:pt x="16412" y="21184"/>
                  </a:lnTo>
                  <a:lnTo>
                    <a:pt x="16900" y="21045"/>
                  </a:lnTo>
                  <a:lnTo>
                    <a:pt x="17370" y="20867"/>
                  </a:lnTo>
                  <a:lnTo>
                    <a:pt x="17840" y="20649"/>
                  </a:lnTo>
                  <a:lnTo>
                    <a:pt x="18292" y="20392"/>
                  </a:lnTo>
                  <a:lnTo>
                    <a:pt x="18726" y="20095"/>
                  </a:lnTo>
                  <a:lnTo>
                    <a:pt x="19159" y="19738"/>
                  </a:lnTo>
                  <a:lnTo>
                    <a:pt x="19521" y="19342"/>
                  </a:lnTo>
                  <a:lnTo>
                    <a:pt x="19900" y="18927"/>
                  </a:lnTo>
                  <a:lnTo>
                    <a:pt x="20226" y="18452"/>
                  </a:lnTo>
                  <a:lnTo>
                    <a:pt x="20497" y="17976"/>
                  </a:lnTo>
                  <a:lnTo>
                    <a:pt x="20732" y="17501"/>
                  </a:lnTo>
                  <a:lnTo>
                    <a:pt x="20931" y="17046"/>
                  </a:lnTo>
                  <a:lnTo>
                    <a:pt x="21093" y="16531"/>
                  </a:lnTo>
                  <a:lnTo>
                    <a:pt x="21220" y="16056"/>
                  </a:lnTo>
                  <a:lnTo>
                    <a:pt x="21328" y="15561"/>
                  </a:lnTo>
                  <a:lnTo>
                    <a:pt x="21419" y="15125"/>
                  </a:lnTo>
                  <a:lnTo>
                    <a:pt x="21491" y="14650"/>
                  </a:lnTo>
                  <a:lnTo>
                    <a:pt x="21527" y="14235"/>
                  </a:lnTo>
                  <a:lnTo>
                    <a:pt x="21581" y="13819"/>
                  </a:lnTo>
                  <a:lnTo>
                    <a:pt x="21600" y="13126"/>
                  </a:lnTo>
                  <a:lnTo>
                    <a:pt x="21600" y="12591"/>
                  </a:lnTo>
                  <a:lnTo>
                    <a:pt x="21600" y="9008"/>
                  </a:lnTo>
                  <a:lnTo>
                    <a:pt x="21600" y="8434"/>
                  </a:lnTo>
                  <a:lnTo>
                    <a:pt x="21581" y="7741"/>
                  </a:lnTo>
                  <a:lnTo>
                    <a:pt x="21527" y="7345"/>
                  </a:lnTo>
                  <a:lnTo>
                    <a:pt x="21491" y="6909"/>
                  </a:lnTo>
                  <a:lnTo>
                    <a:pt x="21419" y="6474"/>
                  </a:lnTo>
                  <a:lnTo>
                    <a:pt x="21328" y="5998"/>
                  </a:lnTo>
                  <a:lnTo>
                    <a:pt x="21220" y="5523"/>
                  </a:lnTo>
                  <a:lnTo>
                    <a:pt x="21093" y="5048"/>
                  </a:lnTo>
                  <a:lnTo>
                    <a:pt x="20931" y="4553"/>
                  </a:lnTo>
                  <a:lnTo>
                    <a:pt x="20732" y="4078"/>
                  </a:lnTo>
                  <a:lnTo>
                    <a:pt x="20497" y="3583"/>
                  </a:lnTo>
                  <a:lnTo>
                    <a:pt x="20226" y="3108"/>
                  </a:lnTo>
                  <a:lnTo>
                    <a:pt x="19900" y="2672"/>
                  </a:lnTo>
                  <a:lnTo>
                    <a:pt x="19521" y="2237"/>
                  </a:lnTo>
                  <a:lnTo>
                    <a:pt x="19159" y="1841"/>
                  </a:lnTo>
                  <a:lnTo>
                    <a:pt x="18726" y="1484"/>
                  </a:lnTo>
                  <a:lnTo>
                    <a:pt x="18292" y="1207"/>
                  </a:lnTo>
                  <a:lnTo>
                    <a:pt x="17840" y="930"/>
                  </a:lnTo>
                  <a:lnTo>
                    <a:pt x="17370" y="732"/>
                  </a:lnTo>
                  <a:lnTo>
                    <a:pt x="16900" y="514"/>
                  </a:lnTo>
                  <a:lnTo>
                    <a:pt x="16412" y="376"/>
                  </a:lnTo>
                  <a:lnTo>
                    <a:pt x="15942" y="257"/>
                  </a:lnTo>
                  <a:lnTo>
                    <a:pt x="15472" y="158"/>
                  </a:lnTo>
                  <a:lnTo>
                    <a:pt x="14984" y="98"/>
                  </a:lnTo>
                  <a:lnTo>
                    <a:pt x="14496" y="59"/>
                  </a:lnTo>
                  <a:lnTo>
                    <a:pt x="14044" y="19"/>
                  </a:lnTo>
                  <a:lnTo>
                    <a:pt x="13158" y="0"/>
                  </a:lnTo>
                  <a:lnTo>
                    <a:pt x="12345" y="0"/>
                  </a:lnTo>
                  <a:lnTo>
                    <a:pt x="6633" y="0"/>
                  </a:lnTo>
                  <a:lnTo>
                    <a:pt x="6217" y="0"/>
                  </a:lnTo>
                  <a:lnTo>
                    <a:pt x="5747" y="59"/>
                  </a:lnTo>
                  <a:lnTo>
                    <a:pt x="5512" y="138"/>
                  </a:lnTo>
                  <a:lnTo>
                    <a:pt x="5296" y="217"/>
                  </a:lnTo>
                  <a:lnTo>
                    <a:pt x="5079" y="376"/>
                  </a:lnTo>
                  <a:lnTo>
                    <a:pt x="4862" y="574"/>
                  </a:lnTo>
                  <a:lnTo>
                    <a:pt x="4681" y="811"/>
                  </a:lnTo>
                  <a:lnTo>
                    <a:pt x="4536" y="1049"/>
                  </a:lnTo>
                  <a:lnTo>
                    <a:pt x="4428" y="1306"/>
                  </a:lnTo>
                  <a:lnTo>
                    <a:pt x="4374" y="1544"/>
                  </a:lnTo>
                  <a:lnTo>
                    <a:pt x="4319" y="2059"/>
                  </a:lnTo>
                  <a:lnTo>
                    <a:pt x="4319" y="2514"/>
                  </a:lnTo>
                  <a:close/>
                </a:path>
              </a:pathLst>
            </a:custGeom>
            <a:solidFill>
              <a:srgbClr val="E21A1A"/>
            </a:solidFill>
            <a:ln w="9525" cap="flat" cmpd="sng">
              <a:noFill/>
              <a:prstDash val="solid"/>
              <a:round/>
              <a:headEnd/>
              <a:tailEnd/>
            </a:ln>
          </p:spPr>
          <p:txBody>
            <a:bodyPr lIns="72248" tIns="72248" rIns="72248" bIns="72248" anchor="ctr"/>
            <a:lstStyle/>
            <a:p>
              <a:endParaRPr lang="ru-RU" dirty="0"/>
            </a:p>
          </p:txBody>
        </p:sp>
        <p:sp>
          <p:nvSpPr>
            <p:cNvPr id="26" name="AutoShape 16"/>
            <p:cNvSpPr>
              <a:spLocks/>
            </p:cNvSpPr>
            <p:nvPr/>
          </p:nvSpPr>
          <p:spPr bwMode="auto">
            <a:xfrm>
              <a:off x="17" y="5"/>
              <a:ext cx="14" cy="11"/>
            </a:xfrm>
            <a:custGeom>
              <a:avLst/>
              <a:gdLst>
                <a:gd name="T0" fmla="*/ 7 w 21600"/>
                <a:gd name="T1" fmla="*/ 6 h 21600"/>
                <a:gd name="T2" fmla="*/ 7 w 21600"/>
                <a:gd name="T3" fmla="*/ 6 h 21600"/>
                <a:gd name="T4" fmla="*/ 7 w 21600"/>
                <a:gd name="T5" fmla="*/ 6 h 21600"/>
                <a:gd name="T6" fmla="*/ 7 w 21600"/>
                <a:gd name="T7" fmla="*/ 6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1600"/>
                <a:gd name="T13" fmla="*/ 0 h 21600"/>
                <a:gd name="T14" fmla="*/ 21600 w 21600"/>
                <a:gd name="T15" fmla="*/ 21600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11770" y="0"/>
                  </a:moveTo>
                  <a:lnTo>
                    <a:pt x="21600" y="0"/>
                  </a:lnTo>
                  <a:lnTo>
                    <a:pt x="9829" y="21600"/>
                  </a:lnTo>
                  <a:lnTo>
                    <a:pt x="0" y="21600"/>
                  </a:lnTo>
                  <a:lnTo>
                    <a:pt x="11770" y="0"/>
                  </a:lnTo>
                  <a:close/>
                </a:path>
              </a:pathLst>
            </a:custGeom>
            <a:solidFill>
              <a:srgbClr val="E21A1A"/>
            </a:solidFill>
            <a:ln w="9525" cap="flat" cmpd="sng">
              <a:noFill/>
              <a:prstDash val="solid"/>
              <a:round/>
              <a:headEnd/>
              <a:tailEnd/>
            </a:ln>
          </p:spPr>
          <p:txBody>
            <a:bodyPr lIns="72248" tIns="72248" rIns="72248" bIns="72248" anchor="ctr"/>
            <a:lstStyle/>
            <a:p>
              <a:endParaRPr lang="ru-RU" dirty="0"/>
            </a:p>
          </p:txBody>
        </p:sp>
        <p:sp>
          <p:nvSpPr>
            <p:cNvPr id="27" name="AutoShape 17"/>
            <p:cNvSpPr>
              <a:spLocks/>
            </p:cNvSpPr>
            <p:nvPr/>
          </p:nvSpPr>
          <p:spPr bwMode="auto">
            <a:xfrm>
              <a:off x="0" y="5"/>
              <a:ext cx="20" cy="16"/>
            </a:xfrm>
            <a:custGeom>
              <a:avLst/>
              <a:gdLst>
                <a:gd name="T0" fmla="*/ 10 w 21600"/>
                <a:gd name="T1" fmla="*/ 8 h 21600"/>
                <a:gd name="T2" fmla="*/ 10 w 21600"/>
                <a:gd name="T3" fmla="*/ 8 h 21600"/>
                <a:gd name="T4" fmla="*/ 10 w 21600"/>
                <a:gd name="T5" fmla="*/ 8 h 21600"/>
                <a:gd name="T6" fmla="*/ 10 w 21600"/>
                <a:gd name="T7" fmla="*/ 8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1600"/>
                <a:gd name="T13" fmla="*/ 0 h 21600"/>
                <a:gd name="T14" fmla="*/ 21600 w 21600"/>
                <a:gd name="T15" fmla="*/ 21600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2534"/>
                  </a:moveTo>
                  <a:lnTo>
                    <a:pt x="0" y="2059"/>
                  </a:lnTo>
                  <a:lnTo>
                    <a:pt x="47" y="1564"/>
                  </a:lnTo>
                  <a:lnTo>
                    <a:pt x="109" y="1286"/>
                  </a:lnTo>
                  <a:lnTo>
                    <a:pt x="188" y="1049"/>
                  </a:lnTo>
                  <a:lnTo>
                    <a:pt x="298" y="831"/>
                  </a:lnTo>
                  <a:lnTo>
                    <a:pt x="470" y="593"/>
                  </a:lnTo>
                  <a:lnTo>
                    <a:pt x="658" y="376"/>
                  </a:lnTo>
                  <a:lnTo>
                    <a:pt x="831" y="237"/>
                  </a:lnTo>
                  <a:lnTo>
                    <a:pt x="1050" y="118"/>
                  </a:lnTo>
                  <a:lnTo>
                    <a:pt x="1239" y="59"/>
                  </a:lnTo>
                  <a:lnTo>
                    <a:pt x="1631" y="0"/>
                  </a:lnTo>
                  <a:lnTo>
                    <a:pt x="2007" y="0"/>
                  </a:lnTo>
                  <a:lnTo>
                    <a:pt x="13992" y="0"/>
                  </a:lnTo>
                  <a:lnTo>
                    <a:pt x="14541" y="0"/>
                  </a:lnTo>
                  <a:lnTo>
                    <a:pt x="15058" y="0"/>
                  </a:lnTo>
                  <a:lnTo>
                    <a:pt x="15545" y="19"/>
                  </a:lnTo>
                  <a:lnTo>
                    <a:pt x="16015" y="59"/>
                  </a:lnTo>
                  <a:lnTo>
                    <a:pt x="16439" y="118"/>
                  </a:lnTo>
                  <a:lnTo>
                    <a:pt x="16862" y="237"/>
                  </a:lnTo>
                  <a:lnTo>
                    <a:pt x="17239" y="376"/>
                  </a:lnTo>
                  <a:lnTo>
                    <a:pt x="17600" y="593"/>
                  </a:lnTo>
                  <a:lnTo>
                    <a:pt x="17960" y="831"/>
                  </a:lnTo>
                  <a:lnTo>
                    <a:pt x="18290" y="1148"/>
                  </a:lnTo>
                  <a:lnTo>
                    <a:pt x="18588" y="1465"/>
                  </a:lnTo>
                  <a:lnTo>
                    <a:pt x="18886" y="1861"/>
                  </a:lnTo>
                  <a:lnTo>
                    <a:pt x="19450" y="2712"/>
                  </a:lnTo>
                  <a:lnTo>
                    <a:pt x="19984" y="3583"/>
                  </a:lnTo>
                  <a:lnTo>
                    <a:pt x="20705" y="4791"/>
                  </a:lnTo>
                  <a:lnTo>
                    <a:pt x="21066" y="5385"/>
                  </a:lnTo>
                  <a:lnTo>
                    <a:pt x="21349" y="5979"/>
                  </a:lnTo>
                  <a:lnTo>
                    <a:pt x="21443" y="6276"/>
                  </a:lnTo>
                  <a:lnTo>
                    <a:pt x="21521" y="6553"/>
                  </a:lnTo>
                  <a:lnTo>
                    <a:pt x="21568" y="6850"/>
                  </a:lnTo>
                  <a:lnTo>
                    <a:pt x="21600" y="7186"/>
                  </a:lnTo>
                  <a:lnTo>
                    <a:pt x="21568" y="7503"/>
                  </a:lnTo>
                  <a:lnTo>
                    <a:pt x="21521" y="7820"/>
                  </a:lnTo>
                  <a:lnTo>
                    <a:pt x="21443" y="8117"/>
                  </a:lnTo>
                  <a:lnTo>
                    <a:pt x="21317" y="8414"/>
                  </a:lnTo>
                  <a:lnTo>
                    <a:pt x="21035" y="9008"/>
                  </a:lnTo>
                  <a:lnTo>
                    <a:pt x="20705" y="9602"/>
                  </a:lnTo>
                  <a:lnTo>
                    <a:pt x="17835" y="14393"/>
                  </a:lnTo>
                  <a:lnTo>
                    <a:pt x="10698" y="14393"/>
                  </a:lnTo>
                  <a:lnTo>
                    <a:pt x="15341" y="6592"/>
                  </a:lnTo>
                  <a:lnTo>
                    <a:pt x="15482" y="6355"/>
                  </a:lnTo>
                  <a:lnTo>
                    <a:pt x="15623" y="6117"/>
                  </a:lnTo>
                  <a:lnTo>
                    <a:pt x="15733" y="5860"/>
                  </a:lnTo>
                  <a:lnTo>
                    <a:pt x="15827" y="5583"/>
                  </a:lnTo>
                  <a:lnTo>
                    <a:pt x="15905" y="5305"/>
                  </a:lnTo>
                  <a:lnTo>
                    <a:pt x="15921" y="5008"/>
                  </a:lnTo>
                  <a:lnTo>
                    <a:pt x="15921" y="4850"/>
                  </a:lnTo>
                  <a:lnTo>
                    <a:pt x="15905" y="4712"/>
                  </a:lnTo>
                  <a:lnTo>
                    <a:pt x="15874" y="4553"/>
                  </a:lnTo>
                  <a:lnTo>
                    <a:pt x="15827" y="4415"/>
                  </a:lnTo>
                  <a:lnTo>
                    <a:pt x="15764" y="4276"/>
                  </a:lnTo>
                  <a:lnTo>
                    <a:pt x="15686" y="4157"/>
                  </a:lnTo>
                  <a:lnTo>
                    <a:pt x="15592" y="4038"/>
                  </a:lnTo>
                  <a:lnTo>
                    <a:pt x="15529" y="3939"/>
                  </a:lnTo>
                  <a:lnTo>
                    <a:pt x="15309" y="3801"/>
                  </a:lnTo>
                  <a:lnTo>
                    <a:pt x="15105" y="3682"/>
                  </a:lnTo>
                  <a:lnTo>
                    <a:pt x="14870" y="3623"/>
                  </a:lnTo>
                  <a:lnTo>
                    <a:pt x="14619" y="3583"/>
                  </a:lnTo>
                  <a:lnTo>
                    <a:pt x="14384" y="3583"/>
                  </a:lnTo>
                  <a:lnTo>
                    <a:pt x="14149" y="3583"/>
                  </a:lnTo>
                  <a:lnTo>
                    <a:pt x="8564" y="3583"/>
                  </a:lnTo>
                  <a:lnTo>
                    <a:pt x="8564" y="21600"/>
                  </a:lnTo>
                  <a:lnTo>
                    <a:pt x="2839" y="21600"/>
                  </a:lnTo>
                  <a:lnTo>
                    <a:pt x="2839" y="3583"/>
                  </a:lnTo>
                  <a:lnTo>
                    <a:pt x="0" y="3583"/>
                  </a:lnTo>
                  <a:lnTo>
                    <a:pt x="0" y="2534"/>
                  </a:lnTo>
                  <a:close/>
                </a:path>
              </a:pathLst>
            </a:custGeom>
            <a:solidFill>
              <a:srgbClr val="E21A1A"/>
            </a:solidFill>
            <a:ln w="9525" cap="flat" cmpd="sng">
              <a:noFill/>
              <a:prstDash val="solid"/>
              <a:round/>
              <a:headEnd/>
              <a:tailEnd/>
            </a:ln>
          </p:spPr>
          <p:txBody>
            <a:bodyPr lIns="72248" tIns="72248" rIns="72248" bIns="72248" anchor="ctr"/>
            <a:lstStyle/>
            <a:p>
              <a:endParaRPr lang="ru-RU" dirty="0"/>
            </a:p>
          </p:txBody>
        </p:sp>
      </p:grp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246609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214"/>
            <a:endParaRPr lang="ru-RU" sz="800" dirty="0">
              <a:solidFill>
                <a:srgbClr val="000000"/>
              </a:solidFill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070853" y="1980950"/>
            <a:ext cx="2003754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/>
              <a:t>Last Modified 25.05.2015 9:51 Russia TZ 2 Standard Time</a:t>
            </a:r>
            <a:endParaRPr lang="ru-RU" dirty="0"/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156619" y="4198930"/>
            <a:ext cx="183223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/>
              <a:t>Printed 22.05.2015 15:05 Russia TZ 2 Standard Time</a:t>
            </a:r>
            <a:endParaRPr lang="ru-RU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89" y="244982"/>
            <a:ext cx="8794113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dirty="0"/>
              <a:t>Образец заголовка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91" y="27536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>
                <a:solidFill>
                  <a:srgbClr val="808080"/>
                </a:solidFill>
                <a:latin typeface="+mn-lt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89" y="856189"/>
            <a:ext cx="87941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4" name="McK Slide Elements" hidden="1"/>
          <p:cNvGrpSpPr>
            <a:grpSpLocks/>
          </p:cNvGrpSpPr>
          <p:nvPr/>
        </p:nvGrpSpPr>
        <p:grpSpPr bwMode="auto">
          <a:xfrm>
            <a:off x="121489" y="6203644"/>
            <a:ext cx="8722840" cy="516701"/>
            <a:chOff x="75" y="3830"/>
            <a:chExt cx="5385" cy="319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30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baseline="0" dirty="0">
                  <a:latin typeface="+mn-lt"/>
                </a:rPr>
                <a:t>1 Сноска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21763" indent="-621763" defTabSz="913214">
                <a:tabLst>
                  <a:tab pos="625001" algn="l"/>
                </a:tabLst>
              </a:pPr>
              <a:r>
                <a:rPr lang="ru-RU" sz="1000" baseline="0" dirty="0">
                  <a:solidFill>
                    <a:schemeClr val="tx1"/>
                  </a:solidFill>
                  <a:latin typeface="+mn-lt"/>
                </a:rPr>
                <a:t>ИСТОЧНИК: источник</a:t>
              </a:r>
            </a:p>
          </p:txBody>
        </p:sp>
      </p:grpSp>
      <p:grpSp>
        <p:nvGrpSpPr>
          <p:cNvPr id="5" name="ACET" hidden="1"/>
          <p:cNvGrpSpPr>
            <a:grpSpLocks/>
          </p:cNvGrpSpPr>
          <p:nvPr/>
        </p:nvGrpSpPr>
        <p:grpSpPr bwMode="auto">
          <a:xfrm>
            <a:off x="1482155" y="1150020"/>
            <a:ext cx="4352512" cy="571771"/>
            <a:chOff x="915" y="710"/>
            <a:chExt cx="2687" cy="353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 rot="16200000" flipH="1">
              <a:off x="2258" y="-280"/>
              <a:ext cx="1" cy="268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5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/>
                <a:t>Title</a:t>
              </a:r>
            </a:p>
            <a:p>
              <a:r>
                <a:rPr lang="ru-RU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8" name="Rectangle 13"/>
          <p:cNvSpPr>
            <a:spLocks noChangeArrowheads="1"/>
          </p:cNvSpPr>
          <p:nvPr/>
        </p:nvSpPr>
        <p:spPr bwMode="auto">
          <a:xfrm>
            <a:off x="-374650" y="-17458"/>
            <a:ext cx="366712" cy="366713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10" tIns="45703" rIns="91410" bIns="45703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29" name="Rectangle 14"/>
          <p:cNvSpPr>
            <a:spLocks noChangeArrowheads="1"/>
          </p:cNvSpPr>
          <p:nvPr/>
        </p:nvSpPr>
        <p:spPr bwMode="auto">
          <a:xfrm>
            <a:off x="-374650" y="349256"/>
            <a:ext cx="366712" cy="366713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10" tIns="45703" rIns="91410" bIns="45703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30" name="Rectangle 15"/>
          <p:cNvSpPr>
            <a:spLocks noChangeArrowheads="1"/>
          </p:cNvSpPr>
          <p:nvPr/>
        </p:nvSpPr>
        <p:spPr bwMode="auto">
          <a:xfrm>
            <a:off x="-374650" y="715963"/>
            <a:ext cx="366712" cy="366712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10" tIns="45703" rIns="91410" bIns="45703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31" name="Rectangle 16"/>
          <p:cNvSpPr>
            <a:spLocks noChangeArrowheads="1"/>
          </p:cNvSpPr>
          <p:nvPr/>
        </p:nvSpPr>
        <p:spPr bwMode="auto">
          <a:xfrm>
            <a:off x="-374650" y="1081087"/>
            <a:ext cx="366712" cy="366712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10" tIns="45703" rIns="91410" bIns="45703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32" name="Rectangle 17"/>
          <p:cNvSpPr>
            <a:spLocks noChangeArrowheads="1"/>
          </p:cNvSpPr>
          <p:nvPr/>
        </p:nvSpPr>
        <p:spPr bwMode="auto">
          <a:xfrm>
            <a:off x="-374650" y="1447806"/>
            <a:ext cx="366712" cy="366713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10" tIns="45703" rIns="91410" bIns="45703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33" name="Rectangle 18"/>
          <p:cNvSpPr>
            <a:spLocks noChangeArrowheads="1"/>
          </p:cNvSpPr>
          <p:nvPr/>
        </p:nvSpPr>
        <p:spPr bwMode="auto">
          <a:xfrm>
            <a:off x="-374650" y="1814512"/>
            <a:ext cx="366712" cy="366712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10" tIns="45703" rIns="91410" bIns="45703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34" name="Rectangle 19"/>
          <p:cNvSpPr>
            <a:spLocks noChangeArrowheads="1"/>
          </p:cNvSpPr>
          <p:nvPr/>
        </p:nvSpPr>
        <p:spPr bwMode="auto">
          <a:xfrm>
            <a:off x="-374650" y="2181230"/>
            <a:ext cx="366712" cy="366713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10" tIns="45703" rIns="91410" bIns="45703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35" name="Rectangle 20"/>
          <p:cNvSpPr>
            <a:spLocks noChangeArrowheads="1"/>
          </p:cNvSpPr>
          <p:nvPr/>
        </p:nvSpPr>
        <p:spPr bwMode="auto">
          <a:xfrm>
            <a:off x="-374650" y="2546356"/>
            <a:ext cx="366712" cy="366713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10" tIns="45703" rIns="91410" bIns="45703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36" name="Rectangle 20"/>
          <p:cNvSpPr>
            <a:spLocks noChangeArrowheads="1"/>
          </p:cNvSpPr>
          <p:nvPr/>
        </p:nvSpPr>
        <p:spPr bwMode="auto">
          <a:xfrm>
            <a:off x="-373857" y="2941660"/>
            <a:ext cx="366712" cy="366713"/>
          </a:xfrm>
          <a:prstGeom prst="rect">
            <a:avLst/>
          </a:prstGeom>
          <a:solidFill>
            <a:srgbClr val="225D9E"/>
          </a:solidFill>
          <a:ln w="158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43949" tIns="45703" rIns="91410" bIns="45703" anchor="ctr"/>
          <a:lstStyle/>
          <a:p>
            <a:pPr marL="0" algn="l" defTabSz="985502" rtl="0" eaLnBrk="1" fontAlgn="base" latinLnBrk="0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sz="1400" b="1" kern="1200" dirty="0">
              <a:solidFill>
                <a:prstClr val="white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37" name="Rectangle 20"/>
          <p:cNvSpPr>
            <a:spLocks noChangeArrowheads="1"/>
          </p:cNvSpPr>
          <p:nvPr/>
        </p:nvSpPr>
        <p:spPr bwMode="auto">
          <a:xfrm>
            <a:off x="-376174" y="4395802"/>
            <a:ext cx="366712" cy="366713"/>
          </a:xfrm>
          <a:prstGeom prst="rect">
            <a:avLst/>
          </a:prstGeom>
          <a:solidFill>
            <a:srgbClr val="394A58"/>
          </a:solidFill>
          <a:ln w="158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43949" tIns="45703" rIns="91410" bIns="45703" anchor="ctr"/>
          <a:lstStyle/>
          <a:p>
            <a:pPr marL="0" algn="l" defTabSz="985502" rtl="0" eaLnBrk="1" fontAlgn="base" latinLnBrk="0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sz="1400" b="1" kern="1200" dirty="0">
              <a:solidFill>
                <a:prstClr val="white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38" name="Rectangle 20"/>
          <p:cNvSpPr>
            <a:spLocks noChangeArrowheads="1"/>
          </p:cNvSpPr>
          <p:nvPr/>
        </p:nvSpPr>
        <p:spPr bwMode="auto">
          <a:xfrm>
            <a:off x="-376238" y="3306786"/>
            <a:ext cx="366712" cy="366713"/>
          </a:xfrm>
          <a:prstGeom prst="rect">
            <a:avLst/>
          </a:prstGeom>
          <a:solidFill>
            <a:srgbClr val="73AFB5"/>
          </a:solidFill>
          <a:ln w="158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43949" tIns="45703" rIns="91410" bIns="45703" anchor="ctr"/>
          <a:lstStyle/>
          <a:p>
            <a:pPr marL="0" algn="l" defTabSz="985502" rtl="0" eaLnBrk="1" fontAlgn="base" latinLnBrk="0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sz="1400" b="1" kern="1200" dirty="0">
              <a:solidFill>
                <a:prstClr val="white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39" name="Rectangle 20"/>
          <p:cNvSpPr>
            <a:spLocks noChangeArrowheads="1"/>
          </p:cNvSpPr>
          <p:nvPr/>
        </p:nvSpPr>
        <p:spPr bwMode="auto">
          <a:xfrm>
            <a:off x="-376238" y="3671910"/>
            <a:ext cx="366712" cy="366713"/>
          </a:xfrm>
          <a:prstGeom prst="rect">
            <a:avLst/>
          </a:prstGeom>
          <a:solidFill>
            <a:srgbClr val="66C28B"/>
          </a:solidFill>
          <a:ln w="158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43949" tIns="45703" rIns="91410" bIns="45703" anchor="ctr"/>
          <a:lstStyle/>
          <a:p>
            <a:pPr marL="0" algn="l" defTabSz="985502" rtl="0" eaLnBrk="1" fontAlgn="base" latinLnBrk="0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sz="1400" b="1" kern="1200" dirty="0">
              <a:solidFill>
                <a:prstClr val="white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40" name="Rectangle 20"/>
          <p:cNvSpPr>
            <a:spLocks noChangeArrowheads="1"/>
          </p:cNvSpPr>
          <p:nvPr/>
        </p:nvSpPr>
        <p:spPr bwMode="auto">
          <a:xfrm>
            <a:off x="-376269" y="4033868"/>
            <a:ext cx="366712" cy="366713"/>
          </a:xfrm>
          <a:prstGeom prst="rect">
            <a:avLst/>
          </a:prstGeom>
          <a:solidFill>
            <a:srgbClr val="008000"/>
          </a:solidFill>
          <a:ln w="158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43949" tIns="45703" rIns="91410" bIns="45703" anchor="ctr"/>
          <a:lstStyle/>
          <a:p>
            <a:pPr marL="0" algn="l" defTabSz="985502" rtl="0" eaLnBrk="1" fontAlgn="base" latinLnBrk="0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sz="1400" b="1" kern="1200" dirty="0">
              <a:solidFill>
                <a:prstClr val="white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41" name="Slide Number Placeholder 4"/>
          <p:cNvSpPr txBox="1">
            <a:spLocks noGrp="1"/>
          </p:cNvSpPr>
          <p:nvPr/>
        </p:nvSpPr>
        <p:spPr bwMode="auto">
          <a:xfrm>
            <a:off x="142844" y="6427047"/>
            <a:ext cx="349250" cy="4309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fld id="{94465FF9-623C-4A65-8EAA-9ACEBF5DE920}" type="slidenum">
              <a:rPr lang="en-US" sz="1000">
                <a:solidFill>
                  <a:srgbClr val="000000"/>
                </a:solidFill>
                <a:latin typeface="RussianRail G Pro Extended" pitchFamily="34" charset="-52"/>
              </a:rPr>
              <a:pPr/>
              <a:t>‹#›</a:t>
            </a:fld>
            <a:endParaRPr lang="en-US" sz="1000" dirty="0">
              <a:solidFill>
                <a:srgbClr val="000000"/>
              </a:solidFill>
              <a:latin typeface="RussianRail G Pro Extended" pitchFamily="34" charset="-52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</p:sldLayoutIdLst>
  <p:txStyles>
    <p:titleStyle>
      <a:lvl1pPr algn="l" defTabSz="913214" rtl="0" eaLnBrk="1" fontAlgn="base" hangingPunct="1">
        <a:spcBef>
          <a:spcPct val="0"/>
        </a:spcBef>
        <a:spcAft>
          <a:spcPct val="0"/>
        </a:spcAft>
        <a:tabLst>
          <a:tab pos="364315" algn="l"/>
        </a:tabLst>
        <a:defRPr lang="ru-RU" sz="1800" b="1" dirty="0" smtClean="0">
          <a:solidFill>
            <a:schemeClr val="tx1"/>
          </a:solidFill>
          <a:latin typeface="RussianRail G Pro Extended" pitchFamily="34" charset="-52"/>
          <a:ea typeface="+mj-ea"/>
          <a:cs typeface="+mj-cs"/>
        </a:defRPr>
      </a:lvl1pPr>
      <a:lvl2pPr algn="l" defTabSz="91321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21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21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21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322" algn="l" defTabSz="91321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644" algn="l" defTabSz="91321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8965" algn="l" defTabSz="91321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289" algn="l" defTabSz="91321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214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7538" indent="-195921" algn="l" defTabSz="9132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66322" indent="-267164" algn="l" defTabSz="9132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26622" indent="-158679" algn="l" defTabSz="9132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64768" indent="-132773" algn="l" defTabSz="9132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64768" indent="-132773" algn="l" defTabSz="9132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64768" indent="-132773" algn="l" defTabSz="9132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64768" indent="-132773" algn="l" defTabSz="9132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64768" indent="-132773" algn="l" defTabSz="9132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6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22" algn="l" defTabSz="9326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644" algn="l" defTabSz="9326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965" algn="l" defTabSz="9326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289" algn="l" defTabSz="9326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611" algn="l" defTabSz="9326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933" algn="l" defTabSz="9326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254" algn="l" defTabSz="9326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575" algn="l" defTabSz="9326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75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" y="0"/>
          <a:ext cx="161925" cy="162984"/>
        </p:xfrm>
        <a:graphic>
          <a:graphicData uri="http://schemas.openxmlformats.org/presentationml/2006/ole">
            <p:oleObj spid="_x0000_s2050" name="think-cell Slide" r:id="rId11" imgW="360" imgH="360" progId="">
              <p:embed/>
            </p:oleObj>
          </a:graphicData>
        </a:graphic>
      </p:graphicFrame>
      <p:sp>
        <p:nvSpPr>
          <p:cNvPr id="22" name="Rectangle 1"/>
          <p:cNvSpPr>
            <a:spLocks/>
          </p:cNvSpPr>
          <p:nvPr/>
        </p:nvSpPr>
        <p:spPr bwMode="auto">
          <a:xfrm>
            <a:off x="0" y="0"/>
            <a:ext cx="9144000" cy="831851"/>
          </a:xfrm>
          <a:prstGeom prst="rect">
            <a:avLst/>
          </a:prstGeom>
          <a:solidFill>
            <a:srgbClr val="BFC5CE"/>
          </a:solidFill>
          <a:ln w="9525">
            <a:noFill/>
            <a:round/>
            <a:headEnd/>
            <a:tailEnd/>
          </a:ln>
        </p:spPr>
        <p:txBody>
          <a:bodyPr lIns="73673" tIns="73673" rIns="73673" bIns="73673" anchor="ctr"/>
          <a:lstStyle/>
          <a:p>
            <a:pPr algn="ctr" defTabSz="59572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ru-RU" sz="3700" dirty="0">
              <a:solidFill>
                <a:srgbClr val="000000"/>
              </a:solidFill>
              <a:latin typeface="Helvetica Light" charset="0"/>
              <a:sym typeface="Helvetica Light" charset="0"/>
            </a:endParaRPr>
          </a:p>
        </p:txBody>
      </p:sp>
      <p:sp>
        <p:nvSpPr>
          <p:cNvPr id="23" name="SlideBottomBar"/>
          <p:cNvSpPr>
            <a:spLocks noChangeArrowheads="1"/>
          </p:cNvSpPr>
          <p:nvPr/>
        </p:nvSpPr>
        <p:spPr bwMode="auto">
          <a:xfrm>
            <a:off x="0" y="6428317"/>
            <a:ext cx="9144000" cy="431800"/>
          </a:xfrm>
          <a:prstGeom prst="rect">
            <a:avLst/>
          </a:prstGeom>
          <a:solidFill>
            <a:srgbClr val="BFC5CE"/>
          </a:solidFill>
          <a:ln>
            <a:noFill/>
          </a:ln>
          <a:effectLst/>
          <a:extLst/>
        </p:spPr>
        <p:txBody>
          <a:bodyPr wrap="none" lIns="93242" tIns="46620" rIns="93242" bIns="46620" anchor="ctr"/>
          <a:lstStyle/>
          <a:p>
            <a:pPr defTabSz="91388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latin typeface="+mn-lt"/>
            </a:endParaRPr>
          </a:p>
        </p:txBody>
      </p:sp>
      <p:grpSp>
        <p:nvGrpSpPr>
          <p:cNvPr id="3" name="Group 14"/>
          <p:cNvGrpSpPr>
            <a:grpSpLocks/>
          </p:cNvGrpSpPr>
          <p:nvPr/>
        </p:nvGrpSpPr>
        <p:grpSpPr bwMode="auto">
          <a:xfrm>
            <a:off x="8466138" y="6523569"/>
            <a:ext cx="539750" cy="262467"/>
            <a:chOff x="0" y="0"/>
            <a:chExt cx="46" cy="21"/>
          </a:xfrm>
        </p:grpSpPr>
        <p:sp>
          <p:nvSpPr>
            <p:cNvPr id="25" name="AutoShape 15"/>
            <p:cNvSpPr>
              <a:spLocks/>
            </p:cNvSpPr>
            <p:nvPr/>
          </p:nvSpPr>
          <p:spPr bwMode="auto">
            <a:xfrm>
              <a:off x="28" y="0"/>
              <a:ext cx="18" cy="16"/>
            </a:xfrm>
            <a:custGeom>
              <a:avLst/>
              <a:gdLst>
                <a:gd name="T0" fmla="*/ 9 w 21600"/>
                <a:gd name="T1" fmla="*/ 8 h 21600"/>
                <a:gd name="T2" fmla="*/ 9 w 21600"/>
                <a:gd name="T3" fmla="*/ 8 h 21600"/>
                <a:gd name="T4" fmla="*/ 9 w 21600"/>
                <a:gd name="T5" fmla="*/ 8 h 21600"/>
                <a:gd name="T6" fmla="*/ 9 w 21600"/>
                <a:gd name="T7" fmla="*/ 8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1600"/>
                <a:gd name="T13" fmla="*/ 0 h 21600"/>
                <a:gd name="T14" fmla="*/ 21600 w 21600"/>
                <a:gd name="T15" fmla="*/ 21600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4319" y="2514"/>
                  </a:moveTo>
                  <a:lnTo>
                    <a:pt x="4319" y="3583"/>
                  </a:lnTo>
                  <a:lnTo>
                    <a:pt x="12526" y="3583"/>
                  </a:lnTo>
                  <a:lnTo>
                    <a:pt x="12996" y="3583"/>
                  </a:lnTo>
                  <a:lnTo>
                    <a:pt x="13502" y="3662"/>
                  </a:lnTo>
                  <a:lnTo>
                    <a:pt x="13773" y="3722"/>
                  </a:lnTo>
                  <a:lnTo>
                    <a:pt x="14008" y="3840"/>
                  </a:lnTo>
                  <a:lnTo>
                    <a:pt x="14261" y="3999"/>
                  </a:lnTo>
                  <a:lnTo>
                    <a:pt x="14478" y="4197"/>
                  </a:lnTo>
                  <a:lnTo>
                    <a:pt x="14622" y="4434"/>
                  </a:lnTo>
                  <a:lnTo>
                    <a:pt x="14767" y="4672"/>
                  </a:lnTo>
                  <a:lnTo>
                    <a:pt x="14875" y="4969"/>
                  </a:lnTo>
                  <a:lnTo>
                    <a:pt x="14948" y="5226"/>
                  </a:lnTo>
                  <a:lnTo>
                    <a:pt x="15002" y="5800"/>
                  </a:lnTo>
                  <a:lnTo>
                    <a:pt x="15002" y="6295"/>
                  </a:lnTo>
                  <a:lnTo>
                    <a:pt x="15002" y="15304"/>
                  </a:lnTo>
                  <a:lnTo>
                    <a:pt x="15002" y="15799"/>
                  </a:lnTo>
                  <a:lnTo>
                    <a:pt x="14948" y="16333"/>
                  </a:lnTo>
                  <a:lnTo>
                    <a:pt x="14875" y="16630"/>
                  </a:lnTo>
                  <a:lnTo>
                    <a:pt x="14767" y="16887"/>
                  </a:lnTo>
                  <a:lnTo>
                    <a:pt x="14622" y="17165"/>
                  </a:lnTo>
                  <a:lnTo>
                    <a:pt x="14478" y="17382"/>
                  </a:lnTo>
                  <a:lnTo>
                    <a:pt x="14261" y="17600"/>
                  </a:lnTo>
                  <a:lnTo>
                    <a:pt x="14008" y="17739"/>
                  </a:lnTo>
                  <a:lnTo>
                    <a:pt x="13773" y="17858"/>
                  </a:lnTo>
                  <a:lnTo>
                    <a:pt x="13502" y="17917"/>
                  </a:lnTo>
                  <a:lnTo>
                    <a:pt x="12996" y="17976"/>
                  </a:lnTo>
                  <a:lnTo>
                    <a:pt x="12526" y="18016"/>
                  </a:lnTo>
                  <a:lnTo>
                    <a:pt x="8585" y="18016"/>
                  </a:lnTo>
                  <a:lnTo>
                    <a:pt x="8314" y="17976"/>
                  </a:lnTo>
                  <a:lnTo>
                    <a:pt x="8007" y="17976"/>
                  </a:lnTo>
                  <a:lnTo>
                    <a:pt x="7736" y="17957"/>
                  </a:lnTo>
                  <a:lnTo>
                    <a:pt x="7465" y="17897"/>
                  </a:lnTo>
                  <a:lnTo>
                    <a:pt x="7230" y="17798"/>
                  </a:lnTo>
                  <a:lnTo>
                    <a:pt x="6995" y="17660"/>
                  </a:lnTo>
                  <a:lnTo>
                    <a:pt x="6886" y="17541"/>
                  </a:lnTo>
                  <a:lnTo>
                    <a:pt x="6796" y="17442"/>
                  </a:lnTo>
                  <a:lnTo>
                    <a:pt x="6724" y="17303"/>
                  </a:lnTo>
                  <a:lnTo>
                    <a:pt x="6633" y="17165"/>
                  </a:lnTo>
                  <a:lnTo>
                    <a:pt x="6579" y="17006"/>
                  </a:lnTo>
                  <a:lnTo>
                    <a:pt x="6561" y="16868"/>
                  </a:lnTo>
                  <a:lnTo>
                    <a:pt x="6525" y="16709"/>
                  </a:lnTo>
                  <a:lnTo>
                    <a:pt x="6525" y="16571"/>
                  </a:lnTo>
                  <a:lnTo>
                    <a:pt x="6561" y="16274"/>
                  </a:lnTo>
                  <a:lnTo>
                    <a:pt x="6633" y="16016"/>
                  </a:lnTo>
                  <a:lnTo>
                    <a:pt x="6742" y="15739"/>
                  </a:lnTo>
                  <a:lnTo>
                    <a:pt x="6886" y="15482"/>
                  </a:lnTo>
                  <a:lnTo>
                    <a:pt x="7049" y="15205"/>
                  </a:lnTo>
                  <a:lnTo>
                    <a:pt x="7212" y="15007"/>
                  </a:lnTo>
                  <a:lnTo>
                    <a:pt x="12526" y="7206"/>
                  </a:lnTo>
                  <a:lnTo>
                    <a:pt x="4319" y="7206"/>
                  </a:lnTo>
                  <a:lnTo>
                    <a:pt x="1012" y="11997"/>
                  </a:lnTo>
                  <a:lnTo>
                    <a:pt x="632" y="12591"/>
                  </a:lnTo>
                  <a:lnTo>
                    <a:pt x="289" y="13146"/>
                  </a:lnTo>
                  <a:lnTo>
                    <a:pt x="180" y="13443"/>
                  </a:lnTo>
                  <a:lnTo>
                    <a:pt x="72" y="13740"/>
                  </a:lnTo>
                  <a:lnTo>
                    <a:pt x="18" y="14056"/>
                  </a:lnTo>
                  <a:lnTo>
                    <a:pt x="0" y="14393"/>
                  </a:lnTo>
                  <a:lnTo>
                    <a:pt x="18" y="14710"/>
                  </a:lnTo>
                  <a:lnTo>
                    <a:pt x="72" y="15026"/>
                  </a:lnTo>
                  <a:lnTo>
                    <a:pt x="162" y="15323"/>
                  </a:lnTo>
                  <a:lnTo>
                    <a:pt x="289" y="15620"/>
                  </a:lnTo>
                  <a:lnTo>
                    <a:pt x="614" y="16175"/>
                  </a:lnTo>
                  <a:lnTo>
                    <a:pt x="1012" y="16808"/>
                  </a:lnTo>
                  <a:lnTo>
                    <a:pt x="1843" y="18016"/>
                  </a:lnTo>
                  <a:lnTo>
                    <a:pt x="2476" y="18887"/>
                  </a:lnTo>
                  <a:lnTo>
                    <a:pt x="3108" y="19719"/>
                  </a:lnTo>
                  <a:lnTo>
                    <a:pt x="3470" y="20095"/>
                  </a:lnTo>
                  <a:lnTo>
                    <a:pt x="3813" y="20451"/>
                  </a:lnTo>
                  <a:lnTo>
                    <a:pt x="4193" y="20748"/>
                  </a:lnTo>
                  <a:lnTo>
                    <a:pt x="4591" y="21006"/>
                  </a:lnTo>
                  <a:lnTo>
                    <a:pt x="5006" y="21184"/>
                  </a:lnTo>
                  <a:lnTo>
                    <a:pt x="5458" y="21342"/>
                  </a:lnTo>
                  <a:lnTo>
                    <a:pt x="5910" y="21461"/>
                  </a:lnTo>
                  <a:lnTo>
                    <a:pt x="6416" y="21520"/>
                  </a:lnTo>
                  <a:lnTo>
                    <a:pt x="6958" y="21580"/>
                  </a:lnTo>
                  <a:lnTo>
                    <a:pt x="7519" y="21600"/>
                  </a:lnTo>
                  <a:lnTo>
                    <a:pt x="8115" y="21600"/>
                  </a:lnTo>
                  <a:lnTo>
                    <a:pt x="8766" y="21600"/>
                  </a:lnTo>
                  <a:lnTo>
                    <a:pt x="12345" y="21600"/>
                  </a:lnTo>
                  <a:lnTo>
                    <a:pt x="13158" y="21600"/>
                  </a:lnTo>
                  <a:lnTo>
                    <a:pt x="14044" y="21580"/>
                  </a:lnTo>
                  <a:lnTo>
                    <a:pt x="14496" y="21540"/>
                  </a:lnTo>
                  <a:lnTo>
                    <a:pt x="14984" y="21481"/>
                  </a:lnTo>
                  <a:lnTo>
                    <a:pt x="15472" y="21402"/>
                  </a:lnTo>
                  <a:lnTo>
                    <a:pt x="15942" y="21303"/>
                  </a:lnTo>
                  <a:lnTo>
                    <a:pt x="16412" y="21184"/>
                  </a:lnTo>
                  <a:lnTo>
                    <a:pt x="16900" y="21045"/>
                  </a:lnTo>
                  <a:lnTo>
                    <a:pt x="17370" y="20867"/>
                  </a:lnTo>
                  <a:lnTo>
                    <a:pt x="17840" y="20649"/>
                  </a:lnTo>
                  <a:lnTo>
                    <a:pt x="18292" y="20392"/>
                  </a:lnTo>
                  <a:lnTo>
                    <a:pt x="18726" y="20095"/>
                  </a:lnTo>
                  <a:lnTo>
                    <a:pt x="19159" y="19738"/>
                  </a:lnTo>
                  <a:lnTo>
                    <a:pt x="19521" y="19342"/>
                  </a:lnTo>
                  <a:lnTo>
                    <a:pt x="19900" y="18927"/>
                  </a:lnTo>
                  <a:lnTo>
                    <a:pt x="20226" y="18452"/>
                  </a:lnTo>
                  <a:lnTo>
                    <a:pt x="20497" y="17976"/>
                  </a:lnTo>
                  <a:lnTo>
                    <a:pt x="20732" y="17501"/>
                  </a:lnTo>
                  <a:lnTo>
                    <a:pt x="20931" y="17046"/>
                  </a:lnTo>
                  <a:lnTo>
                    <a:pt x="21093" y="16531"/>
                  </a:lnTo>
                  <a:lnTo>
                    <a:pt x="21220" y="16056"/>
                  </a:lnTo>
                  <a:lnTo>
                    <a:pt x="21328" y="15561"/>
                  </a:lnTo>
                  <a:lnTo>
                    <a:pt x="21419" y="15125"/>
                  </a:lnTo>
                  <a:lnTo>
                    <a:pt x="21491" y="14650"/>
                  </a:lnTo>
                  <a:lnTo>
                    <a:pt x="21527" y="14235"/>
                  </a:lnTo>
                  <a:lnTo>
                    <a:pt x="21581" y="13819"/>
                  </a:lnTo>
                  <a:lnTo>
                    <a:pt x="21600" y="13126"/>
                  </a:lnTo>
                  <a:lnTo>
                    <a:pt x="21600" y="12591"/>
                  </a:lnTo>
                  <a:lnTo>
                    <a:pt x="21600" y="9008"/>
                  </a:lnTo>
                  <a:lnTo>
                    <a:pt x="21600" y="8434"/>
                  </a:lnTo>
                  <a:lnTo>
                    <a:pt x="21581" y="7741"/>
                  </a:lnTo>
                  <a:lnTo>
                    <a:pt x="21527" y="7345"/>
                  </a:lnTo>
                  <a:lnTo>
                    <a:pt x="21491" y="6909"/>
                  </a:lnTo>
                  <a:lnTo>
                    <a:pt x="21419" y="6474"/>
                  </a:lnTo>
                  <a:lnTo>
                    <a:pt x="21328" y="5998"/>
                  </a:lnTo>
                  <a:lnTo>
                    <a:pt x="21220" y="5523"/>
                  </a:lnTo>
                  <a:lnTo>
                    <a:pt x="21093" y="5048"/>
                  </a:lnTo>
                  <a:lnTo>
                    <a:pt x="20931" y="4553"/>
                  </a:lnTo>
                  <a:lnTo>
                    <a:pt x="20732" y="4078"/>
                  </a:lnTo>
                  <a:lnTo>
                    <a:pt x="20497" y="3583"/>
                  </a:lnTo>
                  <a:lnTo>
                    <a:pt x="20226" y="3108"/>
                  </a:lnTo>
                  <a:lnTo>
                    <a:pt x="19900" y="2672"/>
                  </a:lnTo>
                  <a:lnTo>
                    <a:pt x="19521" y="2237"/>
                  </a:lnTo>
                  <a:lnTo>
                    <a:pt x="19159" y="1841"/>
                  </a:lnTo>
                  <a:lnTo>
                    <a:pt x="18726" y="1484"/>
                  </a:lnTo>
                  <a:lnTo>
                    <a:pt x="18292" y="1207"/>
                  </a:lnTo>
                  <a:lnTo>
                    <a:pt x="17840" y="930"/>
                  </a:lnTo>
                  <a:lnTo>
                    <a:pt x="17370" y="732"/>
                  </a:lnTo>
                  <a:lnTo>
                    <a:pt x="16900" y="514"/>
                  </a:lnTo>
                  <a:lnTo>
                    <a:pt x="16412" y="376"/>
                  </a:lnTo>
                  <a:lnTo>
                    <a:pt x="15942" y="257"/>
                  </a:lnTo>
                  <a:lnTo>
                    <a:pt x="15472" y="158"/>
                  </a:lnTo>
                  <a:lnTo>
                    <a:pt x="14984" y="98"/>
                  </a:lnTo>
                  <a:lnTo>
                    <a:pt x="14496" y="59"/>
                  </a:lnTo>
                  <a:lnTo>
                    <a:pt x="14044" y="19"/>
                  </a:lnTo>
                  <a:lnTo>
                    <a:pt x="13158" y="0"/>
                  </a:lnTo>
                  <a:lnTo>
                    <a:pt x="12345" y="0"/>
                  </a:lnTo>
                  <a:lnTo>
                    <a:pt x="6633" y="0"/>
                  </a:lnTo>
                  <a:lnTo>
                    <a:pt x="6217" y="0"/>
                  </a:lnTo>
                  <a:lnTo>
                    <a:pt x="5747" y="59"/>
                  </a:lnTo>
                  <a:lnTo>
                    <a:pt x="5512" y="138"/>
                  </a:lnTo>
                  <a:lnTo>
                    <a:pt x="5296" y="217"/>
                  </a:lnTo>
                  <a:lnTo>
                    <a:pt x="5079" y="376"/>
                  </a:lnTo>
                  <a:lnTo>
                    <a:pt x="4862" y="574"/>
                  </a:lnTo>
                  <a:lnTo>
                    <a:pt x="4681" y="811"/>
                  </a:lnTo>
                  <a:lnTo>
                    <a:pt x="4536" y="1049"/>
                  </a:lnTo>
                  <a:lnTo>
                    <a:pt x="4428" y="1306"/>
                  </a:lnTo>
                  <a:lnTo>
                    <a:pt x="4374" y="1544"/>
                  </a:lnTo>
                  <a:lnTo>
                    <a:pt x="4319" y="2059"/>
                  </a:lnTo>
                  <a:lnTo>
                    <a:pt x="4319" y="2514"/>
                  </a:lnTo>
                  <a:close/>
                </a:path>
              </a:pathLst>
            </a:custGeom>
            <a:solidFill>
              <a:srgbClr val="E21A1A"/>
            </a:solidFill>
            <a:ln w="9525" cap="flat" cmpd="sng">
              <a:noFill/>
              <a:prstDash val="solid"/>
              <a:round/>
              <a:headEnd/>
              <a:tailEnd/>
            </a:ln>
          </p:spPr>
          <p:txBody>
            <a:bodyPr lIns="72248" tIns="72248" rIns="72248" bIns="72248" anchor="ctr"/>
            <a:lstStyle/>
            <a:p>
              <a:pPr defTabSz="91388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>
                <a:latin typeface="+mn-lt"/>
              </a:endParaRPr>
            </a:p>
          </p:txBody>
        </p:sp>
        <p:sp>
          <p:nvSpPr>
            <p:cNvPr id="26" name="AutoShape 16"/>
            <p:cNvSpPr>
              <a:spLocks/>
            </p:cNvSpPr>
            <p:nvPr/>
          </p:nvSpPr>
          <p:spPr bwMode="auto">
            <a:xfrm>
              <a:off x="17" y="5"/>
              <a:ext cx="14" cy="11"/>
            </a:xfrm>
            <a:custGeom>
              <a:avLst/>
              <a:gdLst>
                <a:gd name="T0" fmla="*/ 7 w 21600"/>
                <a:gd name="T1" fmla="*/ 6 h 21600"/>
                <a:gd name="T2" fmla="*/ 7 w 21600"/>
                <a:gd name="T3" fmla="*/ 6 h 21600"/>
                <a:gd name="T4" fmla="*/ 7 w 21600"/>
                <a:gd name="T5" fmla="*/ 6 h 21600"/>
                <a:gd name="T6" fmla="*/ 7 w 21600"/>
                <a:gd name="T7" fmla="*/ 6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1600"/>
                <a:gd name="T13" fmla="*/ 0 h 21600"/>
                <a:gd name="T14" fmla="*/ 21600 w 21600"/>
                <a:gd name="T15" fmla="*/ 21600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11770" y="0"/>
                  </a:moveTo>
                  <a:lnTo>
                    <a:pt x="21600" y="0"/>
                  </a:lnTo>
                  <a:lnTo>
                    <a:pt x="9829" y="21600"/>
                  </a:lnTo>
                  <a:lnTo>
                    <a:pt x="0" y="21600"/>
                  </a:lnTo>
                  <a:lnTo>
                    <a:pt x="11770" y="0"/>
                  </a:lnTo>
                  <a:close/>
                </a:path>
              </a:pathLst>
            </a:custGeom>
            <a:solidFill>
              <a:srgbClr val="E21A1A"/>
            </a:solidFill>
            <a:ln w="9525" cap="flat" cmpd="sng">
              <a:noFill/>
              <a:prstDash val="solid"/>
              <a:round/>
              <a:headEnd/>
              <a:tailEnd/>
            </a:ln>
          </p:spPr>
          <p:txBody>
            <a:bodyPr lIns="72248" tIns="72248" rIns="72248" bIns="72248" anchor="ctr"/>
            <a:lstStyle/>
            <a:p>
              <a:pPr defTabSz="91388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>
                <a:latin typeface="+mn-lt"/>
              </a:endParaRPr>
            </a:p>
          </p:txBody>
        </p:sp>
        <p:sp>
          <p:nvSpPr>
            <p:cNvPr id="27" name="AutoShape 17"/>
            <p:cNvSpPr>
              <a:spLocks/>
            </p:cNvSpPr>
            <p:nvPr/>
          </p:nvSpPr>
          <p:spPr bwMode="auto">
            <a:xfrm>
              <a:off x="0" y="5"/>
              <a:ext cx="20" cy="16"/>
            </a:xfrm>
            <a:custGeom>
              <a:avLst/>
              <a:gdLst>
                <a:gd name="T0" fmla="*/ 10 w 21600"/>
                <a:gd name="T1" fmla="*/ 8 h 21600"/>
                <a:gd name="T2" fmla="*/ 10 w 21600"/>
                <a:gd name="T3" fmla="*/ 8 h 21600"/>
                <a:gd name="T4" fmla="*/ 10 w 21600"/>
                <a:gd name="T5" fmla="*/ 8 h 21600"/>
                <a:gd name="T6" fmla="*/ 10 w 21600"/>
                <a:gd name="T7" fmla="*/ 8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1600"/>
                <a:gd name="T13" fmla="*/ 0 h 21600"/>
                <a:gd name="T14" fmla="*/ 21600 w 21600"/>
                <a:gd name="T15" fmla="*/ 21600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2534"/>
                  </a:moveTo>
                  <a:lnTo>
                    <a:pt x="0" y="2059"/>
                  </a:lnTo>
                  <a:lnTo>
                    <a:pt x="47" y="1564"/>
                  </a:lnTo>
                  <a:lnTo>
                    <a:pt x="109" y="1286"/>
                  </a:lnTo>
                  <a:lnTo>
                    <a:pt x="188" y="1049"/>
                  </a:lnTo>
                  <a:lnTo>
                    <a:pt x="298" y="831"/>
                  </a:lnTo>
                  <a:lnTo>
                    <a:pt x="470" y="593"/>
                  </a:lnTo>
                  <a:lnTo>
                    <a:pt x="658" y="376"/>
                  </a:lnTo>
                  <a:lnTo>
                    <a:pt x="831" y="237"/>
                  </a:lnTo>
                  <a:lnTo>
                    <a:pt x="1050" y="118"/>
                  </a:lnTo>
                  <a:lnTo>
                    <a:pt x="1239" y="59"/>
                  </a:lnTo>
                  <a:lnTo>
                    <a:pt x="1631" y="0"/>
                  </a:lnTo>
                  <a:lnTo>
                    <a:pt x="2007" y="0"/>
                  </a:lnTo>
                  <a:lnTo>
                    <a:pt x="13992" y="0"/>
                  </a:lnTo>
                  <a:lnTo>
                    <a:pt x="14541" y="0"/>
                  </a:lnTo>
                  <a:lnTo>
                    <a:pt x="15058" y="0"/>
                  </a:lnTo>
                  <a:lnTo>
                    <a:pt x="15545" y="19"/>
                  </a:lnTo>
                  <a:lnTo>
                    <a:pt x="16015" y="59"/>
                  </a:lnTo>
                  <a:lnTo>
                    <a:pt x="16439" y="118"/>
                  </a:lnTo>
                  <a:lnTo>
                    <a:pt x="16862" y="237"/>
                  </a:lnTo>
                  <a:lnTo>
                    <a:pt x="17239" y="376"/>
                  </a:lnTo>
                  <a:lnTo>
                    <a:pt x="17600" y="593"/>
                  </a:lnTo>
                  <a:lnTo>
                    <a:pt x="17960" y="831"/>
                  </a:lnTo>
                  <a:lnTo>
                    <a:pt x="18290" y="1148"/>
                  </a:lnTo>
                  <a:lnTo>
                    <a:pt x="18588" y="1465"/>
                  </a:lnTo>
                  <a:lnTo>
                    <a:pt x="18886" y="1861"/>
                  </a:lnTo>
                  <a:lnTo>
                    <a:pt x="19450" y="2712"/>
                  </a:lnTo>
                  <a:lnTo>
                    <a:pt x="19984" y="3583"/>
                  </a:lnTo>
                  <a:lnTo>
                    <a:pt x="20705" y="4791"/>
                  </a:lnTo>
                  <a:lnTo>
                    <a:pt x="21066" y="5385"/>
                  </a:lnTo>
                  <a:lnTo>
                    <a:pt x="21349" y="5979"/>
                  </a:lnTo>
                  <a:lnTo>
                    <a:pt x="21443" y="6276"/>
                  </a:lnTo>
                  <a:lnTo>
                    <a:pt x="21521" y="6553"/>
                  </a:lnTo>
                  <a:lnTo>
                    <a:pt x="21568" y="6850"/>
                  </a:lnTo>
                  <a:lnTo>
                    <a:pt x="21600" y="7186"/>
                  </a:lnTo>
                  <a:lnTo>
                    <a:pt x="21568" y="7503"/>
                  </a:lnTo>
                  <a:lnTo>
                    <a:pt x="21521" y="7820"/>
                  </a:lnTo>
                  <a:lnTo>
                    <a:pt x="21443" y="8117"/>
                  </a:lnTo>
                  <a:lnTo>
                    <a:pt x="21317" y="8414"/>
                  </a:lnTo>
                  <a:lnTo>
                    <a:pt x="21035" y="9008"/>
                  </a:lnTo>
                  <a:lnTo>
                    <a:pt x="20705" y="9602"/>
                  </a:lnTo>
                  <a:lnTo>
                    <a:pt x="17835" y="14393"/>
                  </a:lnTo>
                  <a:lnTo>
                    <a:pt x="10698" y="14393"/>
                  </a:lnTo>
                  <a:lnTo>
                    <a:pt x="15341" y="6592"/>
                  </a:lnTo>
                  <a:lnTo>
                    <a:pt x="15482" y="6355"/>
                  </a:lnTo>
                  <a:lnTo>
                    <a:pt x="15623" y="6117"/>
                  </a:lnTo>
                  <a:lnTo>
                    <a:pt x="15733" y="5860"/>
                  </a:lnTo>
                  <a:lnTo>
                    <a:pt x="15827" y="5583"/>
                  </a:lnTo>
                  <a:lnTo>
                    <a:pt x="15905" y="5305"/>
                  </a:lnTo>
                  <a:lnTo>
                    <a:pt x="15921" y="5008"/>
                  </a:lnTo>
                  <a:lnTo>
                    <a:pt x="15921" y="4850"/>
                  </a:lnTo>
                  <a:lnTo>
                    <a:pt x="15905" y="4712"/>
                  </a:lnTo>
                  <a:lnTo>
                    <a:pt x="15874" y="4553"/>
                  </a:lnTo>
                  <a:lnTo>
                    <a:pt x="15827" y="4415"/>
                  </a:lnTo>
                  <a:lnTo>
                    <a:pt x="15764" y="4276"/>
                  </a:lnTo>
                  <a:lnTo>
                    <a:pt x="15686" y="4157"/>
                  </a:lnTo>
                  <a:lnTo>
                    <a:pt x="15592" y="4038"/>
                  </a:lnTo>
                  <a:lnTo>
                    <a:pt x="15529" y="3939"/>
                  </a:lnTo>
                  <a:lnTo>
                    <a:pt x="15309" y="3801"/>
                  </a:lnTo>
                  <a:lnTo>
                    <a:pt x="15105" y="3682"/>
                  </a:lnTo>
                  <a:lnTo>
                    <a:pt x="14870" y="3623"/>
                  </a:lnTo>
                  <a:lnTo>
                    <a:pt x="14619" y="3583"/>
                  </a:lnTo>
                  <a:lnTo>
                    <a:pt x="14384" y="3583"/>
                  </a:lnTo>
                  <a:lnTo>
                    <a:pt x="14149" y="3583"/>
                  </a:lnTo>
                  <a:lnTo>
                    <a:pt x="8564" y="3583"/>
                  </a:lnTo>
                  <a:lnTo>
                    <a:pt x="8564" y="21600"/>
                  </a:lnTo>
                  <a:lnTo>
                    <a:pt x="2839" y="21600"/>
                  </a:lnTo>
                  <a:lnTo>
                    <a:pt x="2839" y="3583"/>
                  </a:lnTo>
                  <a:lnTo>
                    <a:pt x="0" y="3583"/>
                  </a:lnTo>
                  <a:lnTo>
                    <a:pt x="0" y="2534"/>
                  </a:lnTo>
                  <a:close/>
                </a:path>
              </a:pathLst>
            </a:custGeom>
            <a:solidFill>
              <a:srgbClr val="E21A1A"/>
            </a:solidFill>
            <a:ln w="9525" cap="flat" cmpd="sng">
              <a:noFill/>
              <a:prstDash val="solid"/>
              <a:round/>
              <a:headEnd/>
              <a:tailEnd/>
            </a:ln>
          </p:spPr>
          <p:txBody>
            <a:bodyPr lIns="72248" tIns="72248" rIns="72248" bIns="72248" anchor="ctr"/>
            <a:lstStyle/>
            <a:p>
              <a:pPr defTabSz="91388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>
                <a:latin typeface="+mn-lt"/>
              </a:endParaRPr>
            </a:p>
          </p:txBody>
        </p:sp>
      </p:grp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247068" y="38103"/>
            <a:ext cx="669925" cy="12488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/>
          <a:lstStyle/>
          <a:p>
            <a:pPr algn="r" defTabSz="913006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80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070686" y="1981604"/>
            <a:ext cx="2003754" cy="9233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8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 smtClean="0"/>
              <a:t>Last Modified 25.05.2015 9:51 Russia TZ 2 Standard Time</a:t>
            </a:r>
            <a:endParaRPr lang="ru-RU" dirty="0" smtClean="0"/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156451" y="4198812"/>
            <a:ext cx="1832233" cy="9233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8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 smtClean="0"/>
              <a:t>Printed 22.05.2015 15:05 Russia TZ 2 Standard Time</a:t>
            </a:r>
            <a:endParaRPr lang="ru-RU" dirty="0" smtClean="0"/>
          </a:p>
        </p:txBody>
      </p:sp>
      <p:sp>
        <p:nvSpPr>
          <p:cNvPr id="2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2238" y="245535"/>
            <a:ext cx="8793162" cy="6771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2239" y="27517"/>
            <a:ext cx="859210" cy="21544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91388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rgbClr val="808080"/>
                </a:solidFill>
                <a:latin typeface="+mn-lt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2238" y="855135"/>
            <a:ext cx="8793162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4" name="McK Slide Elements" hidden="1"/>
          <p:cNvGrpSpPr>
            <a:grpSpLocks/>
          </p:cNvGrpSpPr>
          <p:nvPr/>
        </p:nvGrpSpPr>
        <p:grpSpPr bwMode="auto">
          <a:xfrm>
            <a:off x="122242" y="6203956"/>
            <a:ext cx="8721725" cy="515551"/>
            <a:chOff x="75" y="3830"/>
            <a:chExt cx="5385" cy="319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30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000" dirty="0" smtClean="0">
                  <a:latin typeface="+mn-lt"/>
                </a:rPr>
                <a:t>1 Сноска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5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ctr">
              <a:spAutoFit/>
            </a:bodyPr>
            <a:lstStyle/>
            <a:p>
              <a:pPr marL="621622" indent="-621622" defTabSz="913006" fontAlgn="auto">
                <a:spcBef>
                  <a:spcPts val="0"/>
                </a:spcBef>
                <a:spcAft>
                  <a:spcPts val="0"/>
                </a:spcAft>
                <a:tabLst>
                  <a:tab pos="624859" algn="l"/>
                </a:tabLst>
                <a:defRPr/>
              </a:pPr>
              <a:r>
                <a:rPr lang="ru-RU" sz="1000" dirty="0">
                  <a:latin typeface="+mn-lt"/>
                </a:rPr>
                <a:t>ИСТОЧНИК: источник</a:t>
              </a:r>
            </a:p>
          </p:txBody>
        </p:sp>
      </p:grpSp>
      <p:grpSp>
        <p:nvGrpSpPr>
          <p:cNvPr id="5" name="ACET" hidden="1"/>
          <p:cNvGrpSpPr>
            <a:grpSpLocks/>
          </p:cNvGrpSpPr>
          <p:nvPr/>
        </p:nvGrpSpPr>
        <p:grpSpPr bwMode="auto">
          <a:xfrm>
            <a:off x="1482725" y="1149352"/>
            <a:ext cx="4351338" cy="572681"/>
            <a:chOff x="915" y="710"/>
            <a:chExt cx="2687" cy="353"/>
          </a:xfrm>
        </p:grpSpPr>
        <p:cxnSp>
          <p:nvCxnSpPr>
            <p:cNvPr id="1053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 rot="16200000" flipH="1">
              <a:off x="2258" y="-280"/>
              <a:ext cx="1" cy="268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5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91388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b="1" dirty="0">
                  <a:latin typeface="+mn-lt"/>
                </a:rPr>
                <a:t>Title</a:t>
              </a:r>
            </a:p>
            <a:p>
              <a:pPr defTabSz="91388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dirty="0">
                  <a:solidFill>
                    <a:srgbClr val="808080"/>
                  </a:solidFill>
                  <a:latin typeface="+mn-lt"/>
                </a:rPr>
                <a:t>Unit of measure</a:t>
              </a:r>
            </a:p>
          </p:txBody>
        </p:sp>
      </p:grpSp>
      <p:sp>
        <p:nvSpPr>
          <p:cNvPr id="21" name="Slide Number Placeholder 4"/>
          <p:cNvSpPr txBox="1">
            <a:spLocks noGrp="1"/>
          </p:cNvSpPr>
          <p:nvPr/>
        </p:nvSpPr>
        <p:spPr bwMode="auto">
          <a:xfrm>
            <a:off x="142875" y="6426200"/>
            <a:ext cx="34925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913880" fontAlgn="auto">
              <a:spcBef>
                <a:spcPts val="0"/>
              </a:spcBef>
              <a:spcAft>
                <a:spcPts val="0"/>
              </a:spcAft>
              <a:defRPr/>
            </a:pPr>
            <a:fld id="{F795AC5D-8F30-4011-9082-48C1339CDD6A}" type="slidenum">
              <a:rPr lang="en-US" sz="1000">
                <a:solidFill>
                  <a:srgbClr val="000000"/>
                </a:solidFill>
                <a:latin typeface="RussianRail G Pro Extended" pitchFamily="34" charset="-52"/>
              </a:rPr>
              <a:pPr defTabSz="91388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rgbClr val="000000"/>
              </a:solidFill>
              <a:latin typeface="RussianRail G Pro Extended" pitchFamily="34" charset="-52"/>
            </a:endParaRPr>
          </a:p>
        </p:txBody>
      </p:sp>
      <p:sp>
        <p:nvSpPr>
          <p:cNvPr id="28" name="Rectangle 13"/>
          <p:cNvSpPr>
            <a:spLocks noChangeArrowheads="1"/>
          </p:cNvSpPr>
          <p:nvPr/>
        </p:nvSpPr>
        <p:spPr bwMode="auto">
          <a:xfrm>
            <a:off x="-374650" y="-16933"/>
            <a:ext cx="366712" cy="366184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388" tIns="45692" rIns="91388" bIns="45692" anchor="ctr"/>
          <a:lstStyle/>
          <a:p>
            <a:pPr algn="ctr" defTabSz="91388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29" name="Rectangle 14"/>
          <p:cNvSpPr>
            <a:spLocks noChangeArrowheads="1"/>
          </p:cNvSpPr>
          <p:nvPr/>
        </p:nvSpPr>
        <p:spPr bwMode="auto">
          <a:xfrm>
            <a:off x="-374650" y="349252"/>
            <a:ext cx="366712" cy="366183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388" tIns="45692" rIns="91388" bIns="45692" anchor="ctr"/>
          <a:lstStyle/>
          <a:p>
            <a:pPr algn="ctr" defTabSz="91388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30" name="Rectangle 15"/>
          <p:cNvSpPr>
            <a:spLocks noChangeArrowheads="1"/>
          </p:cNvSpPr>
          <p:nvPr/>
        </p:nvSpPr>
        <p:spPr bwMode="auto">
          <a:xfrm>
            <a:off x="-374650" y="715433"/>
            <a:ext cx="366712" cy="36618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388" tIns="45692" rIns="91388" bIns="45692" anchor="ctr"/>
          <a:lstStyle/>
          <a:p>
            <a:pPr algn="ctr" defTabSz="91388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31" name="Rectangle 16"/>
          <p:cNvSpPr>
            <a:spLocks noChangeArrowheads="1"/>
          </p:cNvSpPr>
          <p:nvPr/>
        </p:nvSpPr>
        <p:spPr bwMode="auto">
          <a:xfrm>
            <a:off x="-374650" y="1081621"/>
            <a:ext cx="366712" cy="366183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388" tIns="45692" rIns="91388" bIns="45692" anchor="ctr"/>
          <a:lstStyle/>
          <a:p>
            <a:pPr algn="ctr" defTabSz="91388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32" name="Rectangle 17"/>
          <p:cNvSpPr>
            <a:spLocks noChangeArrowheads="1"/>
          </p:cNvSpPr>
          <p:nvPr/>
        </p:nvSpPr>
        <p:spPr bwMode="auto">
          <a:xfrm>
            <a:off x="-374650" y="1447800"/>
            <a:ext cx="366712" cy="366184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388" tIns="45692" rIns="91388" bIns="45692" anchor="ctr"/>
          <a:lstStyle/>
          <a:p>
            <a:pPr algn="ctr" defTabSz="91388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33" name="Rectangle 18"/>
          <p:cNvSpPr>
            <a:spLocks noChangeArrowheads="1"/>
          </p:cNvSpPr>
          <p:nvPr/>
        </p:nvSpPr>
        <p:spPr bwMode="auto">
          <a:xfrm>
            <a:off x="-374650" y="1813987"/>
            <a:ext cx="366712" cy="366183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388" tIns="45692" rIns="91388" bIns="45692" anchor="ctr"/>
          <a:lstStyle/>
          <a:p>
            <a:pPr algn="ctr" defTabSz="91388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34" name="Rectangle 19"/>
          <p:cNvSpPr>
            <a:spLocks noChangeArrowheads="1"/>
          </p:cNvSpPr>
          <p:nvPr/>
        </p:nvSpPr>
        <p:spPr bwMode="auto">
          <a:xfrm>
            <a:off x="-374650" y="2182287"/>
            <a:ext cx="366712" cy="366183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388" tIns="45692" rIns="91388" bIns="45692" anchor="ctr"/>
          <a:lstStyle/>
          <a:p>
            <a:pPr algn="ctr" defTabSz="91388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35" name="Rectangle 20"/>
          <p:cNvSpPr>
            <a:spLocks noChangeArrowheads="1"/>
          </p:cNvSpPr>
          <p:nvPr/>
        </p:nvSpPr>
        <p:spPr bwMode="auto">
          <a:xfrm>
            <a:off x="-374650" y="2546354"/>
            <a:ext cx="366712" cy="366183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388" tIns="45692" rIns="91388" bIns="45692" anchor="ctr"/>
          <a:lstStyle/>
          <a:p>
            <a:pPr algn="ctr" defTabSz="91388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36" name="Rectangle 20"/>
          <p:cNvSpPr>
            <a:spLocks noChangeArrowheads="1"/>
          </p:cNvSpPr>
          <p:nvPr/>
        </p:nvSpPr>
        <p:spPr bwMode="auto">
          <a:xfrm>
            <a:off x="-374650" y="2942167"/>
            <a:ext cx="366712" cy="366184"/>
          </a:xfrm>
          <a:prstGeom prst="rect">
            <a:avLst/>
          </a:prstGeom>
          <a:solidFill>
            <a:srgbClr val="225D9E"/>
          </a:solidFill>
          <a:ln w="158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143915" tIns="45692" rIns="91388" bIns="45692" anchor="ctr"/>
          <a:lstStyle/>
          <a:p>
            <a:pPr defTabSz="985277">
              <a:defRPr/>
            </a:pPr>
            <a:endParaRPr lang="en-US" sz="1400" b="1" dirty="0">
              <a:solidFill>
                <a:prstClr val="white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37" name="Rectangle 20"/>
          <p:cNvSpPr>
            <a:spLocks noChangeArrowheads="1"/>
          </p:cNvSpPr>
          <p:nvPr/>
        </p:nvSpPr>
        <p:spPr bwMode="auto">
          <a:xfrm>
            <a:off x="-376238" y="4396321"/>
            <a:ext cx="366713" cy="366183"/>
          </a:xfrm>
          <a:prstGeom prst="rect">
            <a:avLst/>
          </a:prstGeom>
          <a:solidFill>
            <a:srgbClr val="394A58"/>
          </a:solidFill>
          <a:ln w="158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143915" tIns="45692" rIns="91388" bIns="45692" anchor="ctr"/>
          <a:lstStyle/>
          <a:p>
            <a:pPr defTabSz="985277">
              <a:defRPr/>
            </a:pPr>
            <a:endParaRPr lang="en-US" sz="1400" b="1" dirty="0">
              <a:solidFill>
                <a:prstClr val="white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38" name="Rectangle 20"/>
          <p:cNvSpPr>
            <a:spLocks noChangeArrowheads="1"/>
          </p:cNvSpPr>
          <p:nvPr/>
        </p:nvSpPr>
        <p:spPr bwMode="auto">
          <a:xfrm>
            <a:off x="-376238" y="3306235"/>
            <a:ext cx="366713" cy="368300"/>
          </a:xfrm>
          <a:prstGeom prst="rect">
            <a:avLst/>
          </a:prstGeom>
          <a:solidFill>
            <a:srgbClr val="73AFB5"/>
          </a:solidFill>
          <a:ln w="158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143915" tIns="45692" rIns="91388" bIns="45692" anchor="ctr"/>
          <a:lstStyle/>
          <a:p>
            <a:pPr defTabSz="985277">
              <a:defRPr/>
            </a:pPr>
            <a:endParaRPr lang="en-US" sz="1400" b="1" dirty="0">
              <a:solidFill>
                <a:prstClr val="white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39" name="Rectangle 20"/>
          <p:cNvSpPr>
            <a:spLocks noChangeArrowheads="1"/>
          </p:cNvSpPr>
          <p:nvPr/>
        </p:nvSpPr>
        <p:spPr bwMode="auto">
          <a:xfrm>
            <a:off x="-376238" y="3672421"/>
            <a:ext cx="366713" cy="366183"/>
          </a:xfrm>
          <a:prstGeom prst="rect">
            <a:avLst/>
          </a:prstGeom>
          <a:solidFill>
            <a:srgbClr val="66C28B"/>
          </a:solidFill>
          <a:ln w="158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143915" tIns="45692" rIns="91388" bIns="45692" anchor="ctr"/>
          <a:lstStyle/>
          <a:p>
            <a:pPr defTabSz="985277">
              <a:defRPr/>
            </a:pPr>
            <a:endParaRPr lang="en-US" sz="1400" b="1" dirty="0">
              <a:solidFill>
                <a:prstClr val="white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40" name="Rectangle 20"/>
          <p:cNvSpPr>
            <a:spLocks noChangeArrowheads="1"/>
          </p:cNvSpPr>
          <p:nvPr/>
        </p:nvSpPr>
        <p:spPr bwMode="auto">
          <a:xfrm>
            <a:off x="-376238" y="4034367"/>
            <a:ext cx="366713" cy="366184"/>
          </a:xfrm>
          <a:prstGeom prst="rect">
            <a:avLst/>
          </a:prstGeom>
          <a:solidFill>
            <a:srgbClr val="008000"/>
          </a:solidFill>
          <a:ln w="158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143915" tIns="45692" rIns="91388" bIns="45692" anchor="ctr"/>
          <a:lstStyle/>
          <a:p>
            <a:pPr defTabSz="985277">
              <a:defRPr/>
            </a:pPr>
            <a:endParaRPr lang="en-US" sz="1400" b="1" dirty="0">
              <a:solidFill>
                <a:prstClr val="white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2532672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</p:sldLayoutIdLst>
  <p:timing>
    <p:tnLst>
      <p:par>
        <p:cTn id="1" dur="indefinite" restart="never" nodeType="tmRoot"/>
      </p:par>
    </p:tnLst>
  </p:timing>
  <p:txStyles>
    <p:titleStyle>
      <a:lvl1pPr algn="l" defTabSz="912813" rtl="0" eaLnBrk="1" fontAlgn="base" hangingPunct="1">
        <a:spcBef>
          <a:spcPct val="0"/>
        </a:spcBef>
        <a:spcAft>
          <a:spcPct val="0"/>
        </a:spcAft>
        <a:tabLst>
          <a:tab pos="363538" algn="l"/>
        </a:tabLst>
        <a:defRPr lang="ru-RU" sz="4400" b="1" dirty="0">
          <a:solidFill>
            <a:schemeClr val="tx1"/>
          </a:solidFill>
          <a:latin typeface="RussianRail G Pro Extended" pitchFamily="34" charset="-52"/>
          <a:ea typeface="+mj-ea"/>
          <a:cs typeface="+mj-cs"/>
        </a:defRPr>
      </a:lvl1pPr>
      <a:lvl2pPr algn="l" defTabSz="912813" rtl="0" eaLnBrk="1" fontAlgn="base" hangingPunct="1">
        <a:spcBef>
          <a:spcPct val="0"/>
        </a:spcBef>
        <a:spcAft>
          <a:spcPct val="0"/>
        </a:spcAft>
        <a:tabLst>
          <a:tab pos="363538" algn="l"/>
        </a:tabLst>
        <a:defRPr sz="4400" b="1">
          <a:solidFill>
            <a:schemeClr val="tx1"/>
          </a:solidFill>
          <a:latin typeface="RussianRail G Pro Extended"/>
        </a:defRPr>
      </a:lvl2pPr>
      <a:lvl3pPr algn="l" defTabSz="912813" rtl="0" eaLnBrk="1" fontAlgn="base" hangingPunct="1">
        <a:spcBef>
          <a:spcPct val="0"/>
        </a:spcBef>
        <a:spcAft>
          <a:spcPct val="0"/>
        </a:spcAft>
        <a:tabLst>
          <a:tab pos="363538" algn="l"/>
        </a:tabLst>
        <a:defRPr sz="4400" b="1">
          <a:solidFill>
            <a:schemeClr val="tx1"/>
          </a:solidFill>
          <a:latin typeface="RussianRail G Pro Extended"/>
        </a:defRPr>
      </a:lvl3pPr>
      <a:lvl4pPr algn="l" defTabSz="912813" rtl="0" eaLnBrk="1" fontAlgn="base" hangingPunct="1">
        <a:spcBef>
          <a:spcPct val="0"/>
        </a:spcBef>
        <a:spcAft>
          <a:spcPct val="0"/>
        </a:spcAft>
        <a:tabLst>
          <a:tab pos="363538" algn="l"/>
        </a:tabLst>
        <a:defRPr sz="4400" b="1">
          <a:solidFill>
            <a:schemeClr val="tx1"/>
          </a:solidFill>
          <a:latin typeface="RussianRail G Pro Extended"/>
        </a:defRPr>
      </a:lvl4pPr>
      <a:lvl5pPr algn="l" defTabSz="912813" rtl="0" eaLnBrk="1" fontAlgn="base" hangingPunct="1">
        <a:spcBef>
          <a:spcPct val="0"/>
        </a:spcBef>
        <a:spcAft>
          <a:spcPct val="0"/>
        </a:spcAft>
        <a:tabLst>
          <a:tab pos="363538" algn="l"/>
        </a:tabLst>
        <a:defRPr sz="4400" b="1">
          <a:solidFill>
            <a:schemeClr val="tx1"/>
          </a:solidFill>
          <a:latin typeface="RussianRail G Pro Extended"/>
        </a:defRPr>
      </a:lvl5pPr>
      <a:lvl6pPr marL="466216" algn="l" defTabSz="91300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432" algn="l" defTabSz="91300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8647" algn="l" defTabSz="91300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4865" algn="l" defTabSz="91300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defTabSz="91281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6850" indent="-195263" algn="l" defTabSz="91281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▪"/>
        <a:defRPr sz="1600">
          <a:solidFill>
            <a:schemeClr val="tx1"/>
          </a:solidFill>
          <a:latin typeface="+mn-lt"/>
        </a:defRPr>
      </a:lvl2pPr>
      <a:lvl3pPr marL="465138" indent="-266700" algn="l" defTabSz="91281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–"/>
        <a:defRPr sz="1600">
          <a:solidFill>
            <a:schemeClr val="tx1"/>
          </a:solidFill>
          <a:latin typeface="+mn-lt"/>
        </a:defRPr>
      </a:lvl3pPr>
      <a:lvl4pPr marL="625475" indent="-157163" algn="l" defTabSz="91281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▫"/>
        <a:defRPr sz="1600">
          <a:solidFill>
            <a:schemeClr val="tx1"/>
          </a:solidFill>
          <a:latin typeface="+mn-lt"/>
        </a:defRPr>
      </a:lvl4pPr>
      <a:lvl5pPr marL="763588" indent="-131763" algn="l" defTabSz="91281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5pPr>
      <a:lvl6pPr marL="764594" indent="-132743" algn="l" defTabSz="91300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64594" indent="-132743" algn="l" defTabSz="91300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64594" indent="-132743" algn="l" defTabSz="91300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64594" indent="-132743" algn="l" defTabSz="91300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4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16" algn="l" defTabSz="9324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432" algn="l" defTabSz="9324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647" algn="l" defTabSz="9324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4865" algn="l" defTabSz="9324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081" algn="l" defTabSz="9324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297" algn="l" defTabSz="9324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512" algn="l" defTabSz="9324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29727" algn="l" defTabSz="9324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 txBox="1">
            <a:spLocks/>
          </p:cNvSpPr>
          <p:nvPr/>
        </p:nvSpPr>
        <p:spPr bwMode="auto">
          <a:xfrm>
            <a:off x="0" y="4857760"/>
            <a:ext cx="8929718" cy="1292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363538" algn="l"/>
              </a:tabLst>
              <a:defRPr/>
            </a:pPr>
            <a:r>
              <a:rPr kumimoji="0" lang="ru-RU" sz="28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uLnTx/>
                <a:uFillTx/>
                <a:latin typeface="Cambria" pitchFamily="18" charset="0"/>
                <a:ea typeface="+mj-ea"/>
                <a:cs typeface="+mj-cs"/>
              </a:rPr>
              <a:t>Информационная услуга "Построение и просмотр аналитики с помощью инструмента "Произвольные отчеты" в АС ЭТРАН" </a:t>
            </a:r>
            <a:endParaRPr kumimoji="0" lang="ru-RU" sz="2800" b="1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LnTx/>
              <a:uFillTx/>
              <a:latin typeface="Cambria" pitchFamily="18" charset="0"/>
              <a:ea typeface="+mj-ea"/>
              <a:cs typeface="+mj-cs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Заголовок 2"/>
          <p:cNvSpPr txBox="1">
            <a:spLocks/>
          </p:cNvSpPr>
          <p:nvPr/>
        </p:nvSpPr>
        <p:spPr bwMode="auto">
          <a:xfrm>
            <a:off x="214282" y="142852"/>
            <a:ext cx="8794113" cy="5159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algn="ctr" defTabSz="912813" fontAlgn="base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tabLst>
                <a:tab pos="363538" algn="l"/>
              </a:tabLst>
              <a:defRPr/>
            </a:pPr>
            <a:r>
              <a:rPr lang="ru-RU" sz="2300" b="1" kern="0" dirty="0" smtClean="0">
                <a:solidFill>
                  <a:schemeClr val="tx1">
                    <a:lumMod val="50000"/>
                  </a:schemeClr>
                </a:solidFill>
                <a:latin typeface="Cambria" pitchFamily="18" charset="0"/>
              </a:rPr>
              <a:t>Информационная услуга "Построение и просмотр аналитики с помощью инструмента "Произвольные отчеты" в АС ЭТРАН"</a:t>
            </a:r>
            <a:endParaRPr kumimoji="0" lang="ru-RU" altLang="ru-RU" sz="2300" b="1" i="0" u="none" strike="noStrike" kern="0" cap="none" spc="0" normalizeH="0" baseline="0" noProof="0" dirty="0" smtClean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LnTx/>
              <a:uFillTx/>
              <a:latin typeface="Cambria" pitchFamily="18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6" name="Прямоугольник 65"/>
          <p:cNvSpPr/>
          <p:nvPr/>
        </p:nvSpPr>
        <p:spPr>
          <a:xfrm>
            <a:off x="3929058" y="1357298"/>
            <a:ext cx="1285884" cy="5563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08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77187"/>
                </a:solidFill>
                <a:effectLst/>
                <a:uLnTx/>
                <a:uFillTx/>
                <a:latin typeface="Cambria" pitchFamily="18" charset="0"/>
                <a:ea typeface="Verdana" pitchFamily="34" charset="0"/>
                <a:cs typeface="Verdana" pitchFamily="34" charset="0"/>
              </a:rPr>
              <a:t>Оператор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577187"/>
              </a:solidFill>
              <a:effectLst/>
              <a:uLnTx/>
              <a:uFillTx/>
              <a:latin typeface="Cambria" pitchFamily="18" charset="0"/>
              <a:ea typeface="Verdana" pitchFamily="34" charset="0"/>
              <a:cs typeface="Verdana" pitchFamily="34" charset="0"/>
            </a:endParaRPr>
          </a:p>
          <a:p>
            <a:pPr marL="0" marR="0" lvl="0" indent="0" algn="ctr" defTabSz="91408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577187"/>
                </a:solidFill>
                <a:effectLst/>
                <a:uLnTx/>
                <a:uFillTx/>
                <a:latin typeface="Cambria" pitchFamily="18" charset="0"/>
                <a:ea typeface="Verdana" pitchFamily="34" charset="0"/>
                <a:cs typeface="Verdana" pitchFamily="34" charset="0"/>
              </a:rPr>
              <a:t>подвижного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77187"/>
                </a:solidFill>
                <a:effectLst/>
                <a:uLnTx/>
                <a:uFillTx/>
                <a:latin typeface="Cambria" pitchFamily="18" charset="0"/>
                <a:ea typeface="Verdana" pitchFamily="34" charset="0"/>
                <a:cs typeface="Verdana" pitchFamily="34" charset="0"/>
              </a:rPr>
              <a:t>состава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577187"/>
              </a:solidFill>
              <a:effectLst/>
              <a:uLnTx/>
              <a:uFillTx/>
              <a:latin typeface="Cambria" pitchFamily="18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7" name="Freeform 24"/>
          <p:cNvSpPr>
            <a:spLocks noEditPoints="1"/>
          </p:cNvSpPr>
          <p:nvPr/>
        </p:nvSpPr>
        <p:spPr bwMode="auto">
          <a:xfrm>
            <a:off x="4071934" y="2071678"/>
            <a:ext cx="1000132" cy="714380"/>
          </a:xfrm>
          <a:custGeom>
            <a:avLst/>
            <a:gdLst>
              <a:gd name="T0" fmla="*/ 14 w 453"/>
              <a:gd name="T1" fmla="*/ 300 h 363"/>
              <a:gd name="T2" fmla="*/ 22 w 453"/>
              <a:gd name="T3" fmla="*/ 336 h 363"/>
              <a:gd name="T4" fmla="*/ 42 w 453"/>
              <a:gd name="T5" fmla="*/ 327 h 363"/>
              <a:gd name="T6" fmla="*/ 57 w 453"/>
              <a:gd name="T7" fmla="*/ 363 h 363"/>
              <a:gd name="T8" fmla="*/ 88 w 453"/>
              <a:gd name="T9" fmla="*/ 346 h 363"/>
              <a:gd name="T10" fmla="*/ 119 w 453"/>
              <a:gd name="T11" fmla="*/ 363 h 363"/>
              <a:gd name="T12" fmla="*/ 134 w 453"/>
              <a:gd name="T13" fmla="*/ 327 h 363"/>
              <a:gd name="T14" fmla="*/ 314 w 453"/>
              <a:gd name="T15" fmla="*/ 342 h 363"/>
              <a:gd name="T16" fmla="*/ 355 w 453"/>
              <a:gd name="T17" fmla="*/ 349 h 363"/>
              <a:gd name="T18" fmla="*/ 376 w 453"/>
              <a:gd name="T19" fmla="*/ 349 h 363"/>
              <a:gd name="T20" fmla="*/ 418 w 453"/>
              <a:gd name="T21" fmla="*/ 342 h 363"/>
              <a:gd name="T22" fmla="*/ 421 w 453"/>
              <a:gd name="T23" fmla="*/ 327 h 363"/>
              <a:gd name="T24" fmla="*/ 440 w 453"/>
              <a:gd name="T25" fmla="*/ 336 h 363"/>
              <a:gd name="T26" fmla="*/ 431 w 453"/>
              <a:gd name="T27" fmla="*/ 300 h 363"/>
              <a:gd name="T28" fmla="*/ 33 w 453"/>
              <a:gd name="T29" fmla="*/ 309 h 363"/>
              <a:gd name="T30" fmla="*/ 335 w 453"/>
              <a:gd name="T31" fmla="*/ 332 h 363"/>
              <a:gd name="T32" fmla="*/ 335 w 453"/>
              <a:gd name="T33" fmla="*/ 352 h 363"/>
              <a:gd name="T34" fmla="*/ 335 w 453"/>
              <a:gd name="T35" fmla="*/ 332 h 363"/>
              <a:gd name="T36" fmla="*/ 406 w 453"/>
              <a:gd name="T37" fmla="*/ 342 h 363"/>
              <a:gd name="T38" fmla="*/ 387 w 453"/>
              <a:gd name="T39" fmla="*/ 342 h 363"/>
              <a:gd name="T40" fmla="*/ 57 w 453"/>
              <a:gd name="T41" fmla="*/ 332 h 363"/>
              <a:gd name="T42" fmla="*/ 57 w 453"/>
              <a:gd name="T43" fmla="*/ 352 h 363"/>
              <a:gd name="T44" fmla="*/ 57 w 453"/>
              <a:gd name="T45" fmla="*/ 332 h 363"/>
              <a:gd name="T46" fmla="*/ 128 w 453"/>
              <a:gd name="T47" fmla="*/ 342 h 363"/>
              <a:gd name="T48" fmla="*/ 109 w 453"/>
              <a:gd name="T49" fmla="*/ 342 h 363"/>
              <a:gd name="T50" fmla="*/ 150 w 453"/>
              <a:gd name="T51" fmla="*/ 254 h 363"/>
              <a:gd name="T52" fmla="*/ 174 w 453"/>
              <a:gd name="T53" fmla="*/ 266 h 363"/>
              <a:gd name="T54" fmla="*/ 150 w 453"/>
              <a:gd name="T55" fmla="*/ 254 h 363"/>
              <a:gd name="T56" fmla="*/ 150 w 453"/>
              <a:gd name="T57" fmla="*/ 246 h 363"/>
              <a:gd name="T58" fmla="*/ 174 w 453"/>
              <a:gd name="T59" fmla="*/ 234 h 363"/>
              <a:gd name="T60" fmla="*/ 150 w 453"/>
              <a:gd name="T61" fmla="*/ 214 h 363"/>
              <a:gd name="T62" fmla="*/ 174 w 453"/>
              <a:gd name="T63" fmla="*/ 226 h 363"/>
              <a:gd name="T64" fmla="*/ 150 w 453"/>
              <a:gd name="T65" fmla="*/ 214 h 363"/>
              <a:gd name="T66" fmla="*/ 150 w 453"/>
              <a:gd name="T67" fmla="*/ 206 h 363"/>
              <a:gd name="T68" fmla="*/ 174 w 453"/>
              <a:gd name="T69" fmla="*/ 194 h 363"/>
              <a:gd name="T70" fmla="*/ 150 w 453"/>
              <a:gd name="T71" fmla="*/ 174 h 363"/>
              <a:gd name="T72" fmla="*/ 174 w 453"/>
              <a:gd name="T73" fmla="*/ 186 h 363"/>
              <a:gd name="T74" fmla="*/ 150 w 453"/>
              <a:gd name="T75" fmla="*/ 174 h 363"/>
              <a:gd name="T76" fmla="*/ 150 w 453"/>
              <a:gd name="T77" fmla="*/ 167 h 363"/>
              <a:gd name="T78" fmla="*/ 174 w 453"/>
              <a:gd name="T79" fmla="*/ 155 h 363"/>
              <a:gd name="T80" fmla="*/ 150 w 453"/>
              <a:gd name="T81" fmla="*/ 135 h 363"/>
              <a:gd name="T82" fmla="*/ 174 w 453"/>
              <a:gd name="T83" fmla="*/ 147 h 363"/>
              <a:gd name="T84" fmla="*/ 150 w 453"/>
              <a:gd name="T85" fmla="*/ 135 h 363"/>
              <a:gd name="T86" fmla="*/ 396 w 453"/>
              <a:gd name="T87" fmla="*/ 299 h 363"/>
              <a:gd name="T88" fmla="*/ 58 w 453"/>
              <a:gd name="T89" fmla="*/ 135 h 363"/>
              <a:gd name="T90" fmla="*/ 142 w 453"/>
              <a:gd name="T91" fmla="*/ 274 h 363"/>
              <a:gd name="T92" fmla="*/ 150 w 453"/>
              <a:gd name="T93" fmla="*/ 274 h 363"/>
              <a:gd name="T94" fmla="*/ 174 w 453"/>
              <a:gd name="T95" fmla="*/ 274 h 363"/>
              <a:gd name="T96" fmla="*/ 178 w 453"/>
              <a:gd name="T97" fmla="*/ 278 h 363"/>
              <a:gd name="T98" fmla="*/ 182 w 453"/>
              <a:gd name="T99" fmla="*/ 135 h 363"/>
              <a:gd name="T100" fmla="*/ 190 w 453"/>
              <a:gd name="T101" fmla="*/ 120 h 363"/>
              <a:gd name="T102" fmla="*/ 185 w 453"/>
              <a:gd name="T103" fmla="*/ 107 h 363"/>
              <a:gd name="T104" fmla="*/ 269 w 453"/>
              <a:gd name="T105" fmla="*/ 120 h 363"/>
              <a:gd name="T106" fmla="*/ 264 w 453"/>
              <a:gd name="T107" fmla="*/ 135 h 363"/>
              <a:gd name="T108" fmla="*/ 256 w 453"/>
              <a:gd name="T109" fmla="*/ 40 h 363"/>
              <a:gd name="T110" fmla="*/ 243 w 453"/>
              <a:gd name="T111" fmla="*/ 88 h 363"/>
              <a:gd name="T112" fmla="*/ 192 w 453"/>
              <a:gd name="T113" fmla="*/ 57 h 363"/>
              <a:gd name="T114" fmla="*/ 222 w 453"/>
              <a:gd name="T115" fmla="*/ 6 h 363"/>
              <a:gd name="T116" fmla="*/ 256 w 453"/>
              <a:gd name="T117" fmla="*/ 40 h 3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453" h="363">
                <a:moveTo>
                  <a:pt x="22" y="300"/>
                </a:moveTo>
                <a:cubicBezTo>
                  <a:pt x="14" y="300"/>
                  <a:pt x="14" y="300"/>
                  <a:pt x="14" y="300"/>
                </a:cubicBezTo>
                <a:cubicBezTo>
                  <a:pt x="14" y="336"/>
                  <a:pt x="14" y="336"/>
                  <a:pt x="14" y="336"/>
                </a:cubicBezTo>
                <a:cubicBezTo>
                  <a:pt x="22" y="336"/>
                  <a:pt x="22" y="336"/>
                  <a:pt x="22" y="336"/>
                </a:cubicBezTo>
                <a:cubicBezTo>
                  <a:pt x="33" y="327"/>
                  <a:pt x="33" y="327"/>
                  <a:pt x="33" y="327"/>
                </a:cubicBezTo>
                <a:cubicBezTo>
                  <a:pt x="42" y="327"/>
                  <a:pt x="42" y="327"/>
                  <a:pt x="42" y="327"/>
                </a:cubicBezTo>
                <a:cubicBezTo>
                  <a:pt x="38" y="331"/>
                  <a:pt x="35" y="336"/>
                  <a:pt x="35" y="342"/>
                </a:cubicBezTo>
                <a:cubicBezTo>
                  <a:pt x="35" y="354"/>
                  <a:pt x="45" y="363"/>
                  <a:pt x="57" y="363"/>
                </a:cubicBezTo>
                <a:cubicBezTo>
                  <a:pt x="66" y="363"/>
                  <a:pt x="74" y="357"/>
                  <a:pt x="77" y="349"/>
                </a:cubicBezTo>
                <a:cubicBezTo>
                  <a:pt x="80" y="347"/>
                  <a:pt x="84" y="346"/>
                  <a:pt x="88" y="346"/>
                </a:cubicBezTo>
                <a:cubicBezTo>
                  <a:pt x="92" y="346"/>
                  <a:pt x="95" y="347"/>
                  <a:pt x="98" y="349"/>
                </a:cubicBezTo>
                <a:cubicBezTo>
                  <a:pt x="101" y="357"/>
                  <a:pt x="109" y="363"/>
                  <a:pt x="119" y="363"/>
                </a:cubicBezTo>
                <a:cubicBezTo>
                  <a:pt x="131" y="363"/>
                  <a:pt x="140" y="354"/>
                  <a:pt x="140" y="342"/>
                </a:cubicBezTo>
                <a:cubicBezTo>
                  <a:pt x="140" y="336"/>
                  <a:pt x="138" y="331"/>
                  <a:pt x="134" y="327"/>
                </a:cubicBezTo>
                <a:cubicBezTo>
                  <a:pt x="320" y="327"/>
                  <a:pt x="320" y="327"/>
                  <a:pt x="320" y="327"/>
                </a:cubicBezTo>
                <a:cubicBezTo>
                  <a:pt x="316" y="331"/>
                  <a:pt x="314" y="336"/>
                  <a:pt x="314" y="342"/>
                </a:cubicBezTo>
                <a:cubicBezTo>
                  <a:pt x="314" y="354"/>
                  <a:pt x="323" y="363"/>
                  <a:pt x="335" y="363"/>
                </a:cubicBezTo>
                <a:cubicBezTo>
                  <a:pt x="344" y="363"/>
                  <a:pt x="352" y="357"/>
                  <a:pt x="355" y="349"/>
                </a:cubicBezTo>
                <a:cubicBezTo>
                  <a:pt x="358" y="347"/>
                  <a:pt x="362" y="346"/>
                  <a:pt x="366" y="346"/>
                </a:cubicBezTo>
                <a:cubicBezTo>
                  <a:pt x="370" y="346"/>
                  <a:pt x="373" y="347"/>
                  <a:pt x="376" y="349"/>
                </a:cubicBezTo>
                <a:cubicBezTo>
                  <a:pt x="379" y="357"/>
                  <a:pt x="387" y="363"/>
                  <a:pt x="397" y="363"/>
                </a:cubicBezTo>
                <a:cubicBezTo>
                  <a:pt x="409" y="363"/>
                  <a:pt x="418" y="354"/>
                  <a:pt x="418" y="342"/>
                </a:cubicBezTo>
                <a:cubicBezTo>
                  <a:pt x="418" y="336"/>
                  <a:pt x="416" y="331"/>
                  <a:pt x="412" y="327"/>
                </a:cubicBezTo>
                <a:cubicBezTo>
                  <a:pt x="421" y="327"/>
                  <a:pt x="421" y="327"/>
                  <a:pt x="421" y="327"/>
                </a:cubicBezTo>
                <a:cubicBezTo>
                  <a:pt x="431" y="336"/>
                  <a:pt x="431" y="336"/>
                  <a:pt x="431" y="336"/>
                </a:cubicBezTo>
                <a:cubicBezTo>
                  <a:pt x="440" y="336"/>
                  <a:pt x="440" y="336"/>
                  <a:pt x="440" y="336"/>
                </a:cubicBezTo>
                <a:cubicBezTo>
                  <a:pt x="440" y="300"/>
                  <a:pt x="440" y="300"/>
                  <a:pt x="440" y="300"/>
                </a:cubicBezTo>
                <a:cubicBezTo>
                  <a:pt x="431" y="300"/>
                  <a:pt x="431" y="300"/>
                  <a:pt x="431" y="300"/>
                </a:cubicBezTo>
                <a:cubicBezTo>
                  <a:pt x="421" y="309"/>
                  <a:pt x="421" y="309"/>
                  <a:pt x="421" y="309"/>
                </a:cubicBezTo>
                <a:cubicBezTo>
                  <a:pt x="33" y="309"/>
                  <a:pt x="33" y="309"/>
                  <a:pt x="33" y="309"/>
                </a:cubicBezTo>
                <a:cubicBezTo>
                  <a:pt x="22" y="300"/>
                  <a:pt x="22" y="300"/>
                  <a:pt x="22" y="300"/>
                </a:cubicBezTo>
                <a:close/>
                <a:moveTo>
                  <a:pt x="335" y="332"/>
                </a:moveTo>
                <a:cubicBezTo>
                  <a:pt x="340" y="332"/>
                  <a:pt x="344" y="337"/>
                  <a:pt x="344" y="342"/>
                </a:cubicBezTo>
                <a:cubicBezTo>
                  <a:pt x="344" y="347"/>
                  <a:pt x="340" y="352"/>
                  <a:pt x="335" y="352"/>
                </a:cubicBezTo>
                <a:cubicBezTo>
                  <a:pt x="330" y="352"/>
                  <a:pt x="325" y="347"/>
                  <a:pt x="325" y="342"/>
                </a:cubicBezTo>
                <a:cubicBezTo>
                  <a:pt x="325" y="337"/>
                  <a:pt x="330" y="332"/>
                  <a:pt x="335" y="332"/>
                </a:cubicBezTo>
                <a:close/>
                <a:moveTo>
                  <a:pt x="397" y="332"/>
                </a:moveTo>
                <a:cubicBezTo>
                  <a:pt x="402" y="332"/>
                  <a:pt x="406" y="337"/>
                  <a:pt x="406" y="342"/>
                </a:cubicBezTo>
                <a:cubicBezTo>
                  <a:pt x="406" y="347"/>
                  <a:pt x="402" y="352"/>
                  <a:pt x="397" y="352"/>
                </a:cubicBezTo>
                <a:cubicBezTo>
                  <a:pt x="391" y="352"/>
                  <a:pt x="387" y="347"/>
                  <a:pt x="387" y="342"/>
                </a:cubicBezTo>
                <a:cubicBezTo>
                  <a:pt x="387" y="337"/>
                  <a:pt x="391" y="332"/>
                  <a:pt x="397" y="332"/>
                </a:cubicBezTo>
                <a:close/>
                <a:moveTo>
                  <a:pt x="57" y="332"/>
                </a:moveTo>
                <a:cubicBezTo>
                  <a:pt x="62" y="332"/>
                  <a:pt x="66" y="337"/>
                  <a:pt x="66" y="342"/>
                </a:cubicBezTo>
                <a:cubicBezTo>
                  <a:pt x="66" y="347"/>
                  <a:pt x="62" y="352"/>
                  <a:pt x="57" y="352"/>
                </a:cubicBezTo>
                <a:cubicBezTo>
                  <a:pt x="52" y="352"/>
                  <a:pt x="47" y="347"/>
                  <a:pt x="47" y="342"/>
                </a:cubicBezTo>
                <a:cubicBezTo>
                  <a:pt x="47" y="337"/>
                  <a:pt x="52" y="332"/>
                  <a:pt x="57" y="332"/>
                </a:cubicBezTo>
                <a:close/>
                <a:moveTo>
                  <a:pt x="119" y="332"/>
                </a:moveTo>
                <a:cubicBezTo>
                  <a:pt x="124" y="332"/>
                  <a:pt x="128" y="337"/>
                  <a:pt x="128" y="342"/>
                </a:cubicBezTo>
                <a:cubicBezTo>
                  <a:pt x="128" y="347"/>
                  <a:pt x="124" y="352"/>
                  <a:pt x="119" y="352"/>
                </a:cubicBezTo>
                <a:cubicBezTo>
                  <a:pt x="113" y="352"/>
                  <a:pt x="109" y="347"/>
                  <a:pt x="109" y="342"/>
                </a:cubicBezTo>
                <a:cubicBezTo>
                  <a:pt x="109" y="337"/>
                  <a:pt x="113" y="332"/>
                  <a:pt x="119" y="332"/>
                </a:cubicBezTo>
                <a:close/>
                <a:moveTo>
                  <a:pt x="150" y="254"/>
                </a:moveTo>
                <a:cubicBezTo>
                  <a:pt x="150" y="266"/>
                  <a:pt x="150" y="266"/>
                  <a:pt x="150" y="266"/>
                </a:cubicBezTo>
                <a:cubicBezTo>
                  <a:pt x="174" y="266"/>
                  <a:pt x="174" y="266"/>
                  <a:pt x="174" y="266"/>
                </a:cubicBezTo>
                <a:cubicBezTo>
                  <a:pt x="174" y="254"/>
                  <a:pt x="174" y="254"/>
                  <a:pt x="174" y="254"/>
                </a:cubicBezTo>
                <a:cubicBezTo>
                  <a:pt x="150" y="254"/>
                  <a:pt x="150" y="254"/>
                  <a:pt x="150" y="254"/>
                </a:cubicBezTo>
                <a:close/>
                <a:moveTo>
                  <a:pt x="150" y="234"/>
                </a:moveTo>
                <a:cubicBezTo>
                  <a:pt x="150" y="246"/>
                  <a:pt x="150" y="246"/>
                  <a:pt x="150" y="246"/>
                </a:cubicBezTo>
                <a:cubicBezTo>
                  <a:pt x="174" y="246"/>
                  <a:pt x="174" y="246"/>
                  <a:pt x="174" y="246"/>
                </a:cubicBezTo>
                <a:cubicBezTo>
                  <a:pt x="174" y="234"/>
                  <a:pt x="174" y="234"/>
                  <a:pt x="174" y="234"/>
                </a:cubicBezTo>
                <a:cubicBezTo>
                  <a:pt x="150" y="234"/>
                  <a:pt x="150" y="234"/>
                  <a:pt x="150" y="234"/>
                </a:cubicBezTo>
                <a:close/>
                <a:moveTo>
                  <a:pt x="150" y="214"/>
                </a:moveTo>
                <a:cubicBezTo>
                  <a:pt x="150" y="226"/>
                  <a:pt x="150" y="226"/>
                  <a:pt x="150" y="226"/>
                </a:cubicBezTo>
                <a:cubicBezTo>
                  <a:pt x="174" y="226"/>
                  <a:pt x="174" y="226"/>
                  <a:pt x="174" y="226"/>
                </a:cubicBezTo>
                <a:cubicBezTo>
                  <a:pt x="174" y="214"/>
                  <a:pt x="174" y="214"/>
                  <a:pt x="174" y="214"/>
                </a:cubicBezTo>
                <a:cubicBezTo>
                  <a:pt x="150" y="214"/>
                  <a:pt x="150" y="214"/>
                  <a:pt x="150" y="214"/>
                </a:cubicBezTo>
                <a:close/>
                <a:moveTo>
                  <a:pt x="150" y="194"/>
                </a:moveTo>
                <a:cubicBezTo>
                  <a:pt x="150" y="206"/>
                  <a:pt x="150" y="206"/>
                  <a:pt x="150" y="206"/>
                </a:cubicBezTo>
                <a:cubicBezTo>
                  <a:pt x="174" y="206"/>
                  <a:pt x="174" y="206"/>
                  <a:pt x="174" y="206"/>
                </a:cubicBezTo>
                <a:cubicBezTo>
                  <a:pt x="174" y="194"/>
                  <a:pt x="174" y="194"/>
                  <a:pt x="174" y="194"/>
                </a:cubicBezTo>
                <a:cubicBezTo>
                  <a:pt x="150" y="194"/>
                  <a:pt x="150" y="194"/>
                  <a:pt x="150" y="194"/>
                </a:cubicBezTo>
                <a:close/>
                <a:moveTo>
                  <a:pt x="150" y="174"/>
                </a:moveTo>
                <a:cubicBezTo>
                  <a:pt x="150" y="186"/>
                  <a:pt x="150" y="186"/>
                  <a:pt x="150" y="186"/>
                </a:cubicBezTo>
                <a:cubicBezTo>
                  <a:pt x="174" y="186"/>
                  <a:pt x="174" y="186"/>
                  <a:pt x="174" y="186"/>
                </a:cubicBezTo>
                <a:cubicBezTo>
                  <a:pt x="174" y="174"/>
                  <a:pt x="174" y="174"/>
                  <a:pt x="174" y="174"/>
                </a:cubicBezTo>
                <a:cubicBezTo>
                  <a:pt x="150" y="174"/>
                  <a:pt x="150" y="174"/>
                  <a:pt x="150" y="174"/>
                </a:cubicBezTo>
                <a:close/>
                <a:moveTo>
                  <a:pt x="150" y="155"/>
                </a:moveTo>
                <a:cubicBezTo>
                  <a:pt x="150" y="167"/>
                  <a:pt x="150" y="167"/>
                  <a:pt x="150" y="167"/>
                </a:cubicBezTo>
                <a:cubicBezTo>
                  <a:pt x="174" y="167"/>
                  <a:pt x="174" y="167"/>
                  <a:pt x="174" y="167"/>
                </a:cubicBezTo>
                <a:cubicBezTo>
                  <a:pt x="174" y="155"/>
                  <a:pt x="174" y="155"/>
                  <a:pt x="174" y="155"/>
                </a:cubicBezTo>
                <a:cubicBezTo>
                  <a:pt x="150" y="155"/>
                  <a:pt x="150" y="155"/>
                  <a:pt x="150" y="155"/>
                </a:cubicBezTo>
                <a:close/>
                <a:moveTo>
                  <a:pt x="150" y="135"/>
                </a:moveTo>
                <a:cubicBezTo>
                  <a:pt x="174" y="135"/>
                  <a:pt x="174" y="135"/>
                  <a:pt x="174" y="135"/>
                </a:cubicBezTo>
                <a:cubicBezTo>
                  <a:pt x="174" y="147"/>
                  <a:pt x="174" y="147"/>
                  <a:pt x="174" y="147"/>
                </a:cubicBezTo>
                <a:cubicBezTo>
                  <a:pt x="150" y="147"/>
                  <a:pt x="150" y="147"/>
                  <a:pt x="150" y="147"/>
                </a:cubicBezTo>
                <a:cubicBezTo>
                  <a:pt x="150" y="135"/>
                  <a:pt x="150" y="135"/>
                  <a:pt x="150" y="135"/>
                </a:cubicBezTo>
                <a:close/>
                <a:moveTo>
                  <a:pt x="395" y="135"/>
                </a:moveTo>
                <a:cubicBezTo>
                  <a:pt x="453" y="135"/>
                  <a:pt x="453" y="299"/>
                  <a:pt x="396" y="299"/>
                </a:cubicBezTo>
                <a:cubicBezTo>
                  <a:pt x="305" y="299"/>
                  <a:pt x="149" y="299"/>
                  <a:pt x="58" y="299"/>
                </a:cubicBezTo>
                <a:cubicBezTo>
                  <a:pt x="1" y="299"/>
                  <a:pt x="0" y="135"/>
                  <a:pt x="58" y="135"/>
                </a:cubicBezTo>
                <a:cubicBezTo>
                  <a:pt x="142" y="135"/>
                  <a:pt x="142" y="135"/>
                  <a:pt x="142" y="135"/>
                </a:cubicBezTo>
                <a:cubicBezTo>
                  <a:pt x="142" y="274"/>
                  <a:pt x="142" y="274"/>
                  <a:pt x="142" y="274"/>
                </a:cubicBezTo>
                <a:cubicBezTo>
                  <a:pt x="142" y="276"/>
                  <a:pt x="143" y="278"/>
                  <a:pt x="146" y="278"/>
                </a:cubicBezTo>
                <a:cubicBezTo>
                  <a:pt x="148" y="278"/>
                  <a:pt x="150" y="276"/>
                  <a:pt x="150" y="274"/>
                </a:cubicBezTo>
                <a:cubicBezTo>
                  <a:pt x="150" y="274"/>
                  <a:pt x="150" y="274"/>
                  <a:pt x="150" y="274"/>
                </a:cubicBezTo>
                <a:cubicBezTo>
                  <a:pt x="174" y="274"/>
                  <a:pt x="174" y="274"/>
                  <a:pt x="174" y="274"/>
                </a:cubicBezTo>
                <a:cubicBezTo>
                  <a:pt x="174" y="274"/>
                  <a:pt x="174" y="274"/>
                  <a:pt x="174" y="274"/>
                </a:cubicBezTo>
                <a:cubicBezTo>
                  <a:pt x="174" y="276"/>
                  <a:pt x="176" y="278"/>
                  <a:pt x="178" y="278"/>
                </a:cubicBezTo>
                <a:cubicBezTo>
                  <a:pt x="180" y="278"/>
                  <a:pt x="182" y="276"/>
                  <a:pt x="182" y="274"/>
                </a:cubicBezTo>
                <a:cubicBezTo>
                  <a:pt x="182" y="135"/>
                  <a:pt x="182" y="135"/>
                  <a:pt x="182" y="135"/>
                </a:cubicBezTo>
                <a:cubicBezTo>
                  <a:pt x="190" y="135"/>
                  <a:pt x="190" y="135"/>
                  <a:pt x="190" y="135"/>
                </a:cubicBezTo>
                <a:cubicBezTo>
                  <a:pt x="190" y="120"/>
                  <a:pt x="190" y="120"/>
                  <a:pt x="190" y="120"/>
                </a:cubicBezTo>
                <a:cubicBezTo>
                  <a:pt x="185" y="120"/>
                  <a:pt x="185" y="120"/>
                  <a:pt x="185" y="120"/>
                </a:cubicBezTo>
                <a:cubicBezTo>
                  <a:pt x="185" y="107"/>
                  <a:pt x="185" y="107"/>
                  <a:pt x="185" y="107"/>
                </a:cubicBezTo>
                <a:cubicBezTo>
                  <a:pt x="269" y="107"/>
                  <a:pt x="269" y="107"/>
                  <a:pt x="269" y="107"/>
                </a:cubicBezTo>
                <a:cubicBezTo>
                  <a:pt x="269" y="120"/>
                  <a:pt x="269" y="120"/>
                  <a:pt x="269" y="120"/>
                </a:cubicBezTo>
                <a:cubicBezTo>
                  <a:pt x="264" y="120"/>
                  <a:pt x="264" y="120"/>
                  <a:pt x="264" y="120"/>
                </a:cubicBezTo>
                <a:cubicBezTo>
                  <a:pt x="264" y="135"/>
                  <a:pt x="264" y="135"/>
                  <a:pt x="264" y="135"/>
                </a:cubicBezTo>
                <a:cubicBezTo>
                  <a:pt x="395" y="135"/>
                  <a:pt x="395" y="135"/>
                  <a:pt x="395" y="135"/>
                </a:cubicBezTo>
                <a:close/>
                <a:moveTo>
                  <a:pt x="256" y="40"/>
                </a:moveTo>
                <a:cubicBezTo>
                  <a:pt x="260" y="45"/>
                  <a:pt x="262" y="51"/>
                  <a:pt x="262" y="57"/>
                </a:cubicBezTo>
                <a:cubicBezTo>
                  <a:pt x="262" y="70"/>
                  <a:pt x="254" y="82"/>
                  <a:pt x="243" y="88"/>
                </a:cubicBezTo>
                <a:cubicBezTo>
                  <a:pt x="233" y="93"/>
                  <a:pt x="221" y="93"/>
                  <a:pt x="211" y="88"/>
                </a:cubicBezTo>
                <a:cubicBezTo>
                  <a:pt x="199" y="82"/>
                  <a:pt x="192" y="71"/>
                  <a:pt x="192" y="57"/>
                </a:cubicBezTo>
                <a:cubicBezTo>
                  <a:pt x="192" y="51"/>
                  <a:pt x="194" y="45"/>
                  <a:pt x="198" y="40"/>
                </a:cubicBezTo>
                <a:cubicBezTo>
                  <a:pt x="205" y="28"/>
                  <a:pt x="214" y="17"/>
                  <a:pt x="222" y="6"/>
                </a:cubicBezTo>
                <a:cubicBezTo>
                  <a:pt x="226" y="0"/>
                  <a:pt x="227" y="0"/>
                  <a:pt x="231" y="5"/>
                </a:cubicBezTo>
                <a:cubicBezTo>
                  <a:pt x="239" y="17"/>
                  <a:pt x="249" y="28"/>
                  <a:pt x="256" y="40"/>
                </a:cubicBezTo>
                <a:close/>
              </a:path>
            </a:pathLst>
          </a:custGeom>
          <a:solidFill>
            <a:srgbClr val="455D7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0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394A5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1" name="Прямоугольник 70"/>
          <p:cNvSpPr/>
          <p:nvPr/>
        </p:nvSpPr>
        <p:spPr>
          <a:xfrm>
            <a:off x="0" y="3214686"/>
            <a:ext cx="9144000" cy="3285737"/>
          </a:xfrm>
          <a:prstGeom prst="rect">
            <a:avLst/>
          </a:prstGeom>
          <a:noFill/>
        </p:spPr>
        <p:txBody>
          <a:bodyPr wrap="square" bIns="18000">
            <a:spAutoFit/>
          </a:bodyPr>
          <a:lstStyle/>
          <a:p>
            <a:pPr marL="180975" lvl="0" indent="-180975" algn="just" defTabSz="914088">
              <a:lnSpc>
                <a:spcPts val="2000"/>
              </a:lnSpc>
              <a:spcAft>
                <a:spcPts val="600"/>
              </a:spcAft>
              <a:buClr>
                <a:schemeClr val="accent2">
                  <a:lumMod val="10000"/>
                </a:schemeClr>
              </a:buClr>
              <a:buSzPct val="100000"/>
              <a:buFont typeface="Arial" pitchFamily="34" charset="0"/>
              <a:buChar char="•"/>
              <a:defRPr/>
            </a:pPr>
            <a:r>
              <a:rPr lang="ru-RU" b="1" dirty="0" smtClean="0">
                <a:solidFill>
                  <a:srgbClr val="577187"/>
                </a:solidFill>
                <a:latin typeface="Cambria" pitchFamily="18" charset="0"/>
              </a:rPr>
              <a:t>Формирование гибких отчетов по агрегированным суммарным данным из документов: </a:t>
            </a:r>
          </a:p>
          <a:p>
            <a:pPr marL="180975" lvl="0" indent="-180975" algn="just" defTabSz="914088">
              <a:lnSpc>
                <a:spcPts val="2000"/>
              </a:lnSpc>
              <a:spcAft>
                <a:spcPts val="600"/>
              </a:spcAft>
              <a:buClr>
                <a:schemeClr val="accent2">
                  <a:lumMod val="10000"/>
                </a:schemeClr>
              </a:buClr>
              <a:buSzPct val="100000"/>
              <a:defRPr/>
            </a:pPr>
            <a:endParaRPr lang="ru-RU" b="1" dirty="0" smtClean="0">
              <a:solidFill>
                <a:srgbClr val="577187"/>
              </a:solidFill>
              <a:latin typeface="Cambria" pitchFamily="18" charset="0"/>
            </a:endParaRPr>
          </a:p>
          <a:p>
            <a:pPr marL="180975" lvl="0" indent="-180975" algn="just" defTabSz="914088">
              <a:lnSpc>
                <a:spcPts val="2000"/>
              </a:lnSpc>
              <a:spcAft>
                <a:spcPts val="600"/>
              </a:spcAft>
              <a:buClr>
                <a:schemeClr val="accent2">
                  <a:lumMod val="10000"/>
                </a:schemeClr>
              </a:buClr>
              <a:buSzPct val="100000"/>
              <a:defRPr/>
            </a:pPr>
            <a:endParaRPr lang="ru-RU" b="1" dirty="0" smtClean="0">
              <a:solidFill>
                <a:srgbClr val="577187"/>
              </a:solidFill>
              <a:latin typeface="Cambria" pitchFamily="18" charset="0"/>
            </a:endParaRPr>
          </a:p>
          <a:p>
            <a:pPr marL="180975" lvl="0" indent="-180975" algn="just" defTabSz="914088">
              <a:lnSpc>
                <a:spcPts val="2000"/>
              </a:lnSpc>
              <a:spcAft>
                <a:spcPts val="600"/>
              </a:spcAft>
              <a:buClr>
                <a:schemeClr val="accent2">
                  <a:lumMod val="10000"/>
                </a:schemeClr>
              </a:buClr>
              <a:buSzPct val="100000"/>
              <a:defRPr/>
            </a:pPr>
            <a:endParaRPr lang="ru-RU" b="1" dirty="0" smtClean="0">
              <a:solidFill>
                <a:srgbClr val="577187"/>
              </a:solidFill>
              <a:latin typeface="Cambria" pitchFamily="18" charset="0"/>
            </a:endParaRPr>
          </a:p>
          <a:p>
            <a:pPr marL="180975" lvl="0" indent="-180975" algn="just" defTabSz="914088">
              <a:lnSpc>
                <a:spcPts val="2000"/>
              </a:lnSpc>
              <a:spcAft>
                <a:spcPts val="600"/>
              </a:spcAft>
              <a:buClr>
                <a:schemeClr val="accent2">
                  <a:lumMod val="10000"/>
                </a:schemeClr>
              </a:buClr>
              <a:buSzPct val="100000"/>
              <a:defRPr/>
            </a:pPr>
            <a:endParaRPr lang="ru-RU" b="1" dirty="0" smtClean="0">
              <a:solidFill>
                <a:srgbClr val="577187"/>
              </a:solidFill>
              <a:latin typeface="Cambria" pitchFamily="18" charset="0"/>
            </a:endParaRPr>
          </a:p>
          <a:p>
            <a:pPr marL="180975" lvl="0" indent="-180975" algn="just" defTabSz="914088">
              <a:lnSpc>
                <a:spcPts val="2000"/>
              </a:lnSpc>
              <a:spcAft>
                <a:spcPts val="600"/>
              </a:spcAft>
              <a:buClr>
                <a:schemeClr val="accent2">
                  <a:lumMod val="10000"/>
                </a:schemeClr>
              </a:buClr>
              <a:buSzPct val="100000"/>
              <a:defRPr/>
            </a:pPr>
            <a:endParaRPr lang="ru-RU" b="1" dirty="0" smtClean="0">
              <a:solidFill>
                <a:srgbClr val="577187"/>
              </a:solidFill>
              <a:latin typeface="Cambria" pitchFamily="18" charset="0"/>
            </a:endParaRPr>
          </a:p>
          <a:p>
            <a:pPr marL="180975" lvl="0" indent="-180975" algn="just" defTabSz="914088">
              <a:lnSpc>
                <a:spcPts val="2000"/>
              </a:lnSpc>
              <a:spcAft>
                <a:spcPts val="600"/>
              </a:spcAft>
              <a:buClr>
                <a:schemeClr val="accent2">
                  <a:lumMod val="10000"/>
                </a:schemeClr>
              </a:buClr>
              <a:buSzPct val="100000"/>
              <a:defRPr/>
            </a:pPr>
            <a:endParaRPr lang="ru-RU" b="1" dirty="0" smtClean="0">
              <a:solidFill>
                <a:srgbClr val="577187"/>
              </a:solidFill>
              <a:latin typeface="Cambria" pitchFamily="18" charset="0"/>
            </a:endParaRPr>
          </a:p>
          <a:p>
            <a:pPr marL="180975" lvl="0" indent="-180975" algn="just" defTabSz="914088">
              <a:spcAft>
                <a:spcPts val="600"/>
              </a:spcAft>
              <a:buClr>
                <a:schemeClr val="accent2">
                  <a:lumMod val="10000"/>
                </a:schemeClr>
              </a:buClr>
              <a:buSzPct val="100000"/>
              <a:buFont typeface="Arial" pitchFamily="34" charset="0"/>
              <a:buChar char="•"/>
              <a:defRPr/>
            </a:pPr>
            <a:r>
              <a:rPr lang="ru-RU" b="1" dirty="0" smtClean="0">
                <a:solidFill>
                  <a:srgbClr val="577187"/>
                </a:solidFill>
                <a:latin typeface="Cambria" pitchFamily="18" charset="0"/>
              </a:rPr>
              <a:t>Выгрузка данных в различные форматы</a:t>
            </a:r>
            <a:endParaRPr kumimoji="0" lang="ru-RU" b="1" i="0" u="none" strike="noStrike" kern="1200" cap="none" spc="0" normalizeH="0" noProof="0" dirty="0" smtClean="0">
              <a:ln>
                <a:noFill/>
              </a:ln>
              <a:solidFill>
                <a:srgbClr val="577187"/>
              </a:solidFill>
              <a:effectLst/>
              <a:uLnTx/>
              <a:uFillTx/>
              <a:latin typeface="Cambria" pitchFamily="18" charset="0"/>
            </a:endParaRPr>
          </a:p>
          <a:p>
            <a:pPr marL="180975" marR="0" lvl="0" indent="-180975" algn="just" defTabSz="9140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>
                  <a:lumMod val="10000"/>
                </a:schemeClr>
              </a:buClr>
              <a:buSzPct val="100000"/>
              <a:buFont typeface="Arial" pitchFamily="34" charset="0"/>
              <a:buChar char="•"/>
              <a:tabLst/>
              <a:defRPr/>
            </a:pPr>
            <a:r>
              <a:rPr lang="ru-RU" b="1" dirty="0" smtClean="0">
                <a:solidFill>
                  <a:srgbClr val="577187"/>
                </a:solidFill>
                <a:latin typeface="Cambria" pitchFamily="18" charset="0"/>
              </a:rPr>
              <a:t>Графическое отображение аналитики</a:t>
            </a:r>
          </a:p>
        </p:txBody>
      </p:sp>
      <p:sp>
        <p:nvSpPr>
          <p:cNvPr id="72" name="TextBox 71"/>
          <p:cNvSpPr txBox="1"/>
          <p:nvPr/>
        </p:nvSpPr>
        <p:spPr>
          <a:xfrm>
            <a:off x="0" y="2857496"/>
            <a:ext cx="9144000" cy="357190"/>
          </a:xfrm>
          <a:prstGeom prst="rect">
            <a:avLst/>
          </a:prstGeom>
          <a:gradFill flip="none" rotWithShape="1">
            <a:gsLst>
              <a:gs pos="0">
                <a:srgbClr val="AFDDFF"/>
              </a:gs>
              <a:gs pos="50000">
                <a:srgbClr val="D2E7F6"/>
              </a:gs>
              <a:gs pos="100000">
                <a:schemeClr val="bg1"/>
              </a:gs>
            </a:gsLst>
            <a:lin ang="0" scaled="1"/>
            <a:tileRect/>
          </a:gradFill>
        </p:spPr>
        <p:txBody>
          <a:bodyPr wrap="square" rtlCol="0" anchor="ctr">
            <a:noAutofit/>
          </a:bodyPr>
          <a:lstStyle/>
          <a:p>
            <a:pPr marL="0" marR="0" lvl="0" indent="0" algn="ctr" defTabSz="9140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uLnTx/>
                <a:uFillTx/>
                <a:latin typeface="Cambria" pitchFamily="18" charset="0"/>
              </a:rPr>
              <a:t>Возможности услуги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LnTx/>
              <a:uFillTx/>
              <a:latin typeface="Cambria" pitchFamily="18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0" y="785794"/>
            <a:ext cx="9144000" cy="357190"/>
          </a:xfrm>
          <a:prstGeom prst="rect">
            <a:avLst/>
          </a:prstGeom>
          <a:gradFill flip="none" rotWithShape="1">
            <a:gsLst>
              <a:gs pos="0">
                <a:srgbClr val="AFDDFF"/>
              </a:gs>
              <a:gs pos="50000">
                <a:srgbClr val="D2E7F6"/>
              </a:gs>
              <a:gs pos="100000">
                <a:schemeClr val="bg1"/>
              </a:gs>
            </a:gsLst>
            <a:lin ang="0" scaled="1"/>
            <a:tileRect/>
          </a:gradFill>
        </p:spPr>
        <p:txBody>
          <a:bodyPr wrap="square" rtlCol="0" anchor="ctr">
            <a:noAutofit/>
          </a:bodyPr>
          <a:lstStyle/>
          <a:p>
            <a:pPr marL="0" marR="0" lvl="0" indent="0" algn="ctr" defTabSz="9140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uLnTx/>
                <a:uFillTx/>
                <a:latin typeface="Cambria" pitchFamily="18" charset="0"/>
              </a:rPr>
              <a:t>Целевая аудитория услуги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LnTx/>
              <a:uFillTx/>
              <a:latin typeface="Cambria" pitchFamily="18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0" y="1500174"/>
            <a:ext cx="178595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0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77187"/>
                </a:solidFill>
                <a:effectLst/>
                <a:uLnTx/>
                <a:uFillTx/>
                <a:latin typeface="Cambria" pitchFamily="18" charset="0"/>
                <a:ea typeface="Verdana" pitchFamily="34" charset="0"/>
                <a:cs typeface="Verdana" pitchFamily="34" charset="0"/>
              </a:rPr>
              <a:t>Грузоотправитель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577187"/>
              </a:solidFill>
              <a:effectLst/>
              <a:uLnTx/>
              <a:uFillTx/>
              <a:latin typeface="Cambria" pitchFamily="18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3" name="Freeform 178"/>
          <p:cNvSpPr>
            <a:spLocks noEditPoints="1"/>
          </p:cNvSpPr>
          <p:nvPr/>
        </p:nvSpPr>
        <p:spPr bwMode="auto">
          <a:xfrm>
            <a:off x="2285984" y="2214554"/>
            <a:ext cx="714380" cy="571504"/>
          </a:xfrm>
          <a:custGeom>
            <a:avLst/>
            <a:gdLst>
              <a:gd name="T0" fmla="*/ 30 w 96"/>
              <a:gd name="T1" fmla="*/ 62 h 70"/>
              <a:gd name="T2" fmla="*/ 65 w 96"/>
              <a:gd name="T3" fmla="*/ 30 h 70"/>
              <a:gd name="T4" fmla="*/ 65 w 96"/>
              <a:gd name="T5" fmla="*/ 30 h 70"/>
              <a:gd name="T6" fmla="*/ 61 w 96"/>
              <a:gd name="T7" fmla="*/ 40 h 70"/>
              <a:gd name="T8" fmla="*/ 71 w 96"/>
              <a:gd name="T9" fmla="*/ 45 h 70"/>
              <a:gd name="T10" fmla="*/ 72 w 96"/>
              <a:gd name="T11" fmla="*/ 44 h 70"/>
              <a:gd name="T12" fmla="*/ 76 w 96"/>
              <a:gd name="T13" fmla="*/ 35 h 70"/>
              <a:gd name="T14" fmla="*/ 78 w 96"/>
              <a:gd name="T15" fmla="*/ 44 h 70"/>
              <a:gd name="T16" fmla="*/ 78 w 96"/>
              <a:gd name="T17" fmla="*/ 44 h 70"/>
              <a:gd name="T18" fmla="*/ 78 w 96"/>
              <a:gd name="T19" fmla="*/ 44 h 70"/>
              <a:gd name="T20" fmla="*/ 78 w 96"/>
              <a:gd name="T21" fmla="*/ 44 h 70"/>
              <a:gd name="T22" fmla="*/ 78 w 96"/>
              <a:gd name="T23" fmla="*/ 44 h 70"/>
              <a:gd name="T24" fmla="*/ 78 w 96"/>
              <a:gd name="T25" fmla="*/ 44 h 70"/>
              <a:gd name="T26" fmla="*/ 78 w 96"/>
              <a:gd name="T27" fmla="*/ 44 h 70"/>
              <a:gd name="T28" fmla="*/ 78 w 96"/>
              <a:gd name="T29" fmla="*/ 44 h 70"/>
              <a:gd name="T30" fmla="*/ 78 w 96"/>
              <a:gd name="T31" fmla="*/ 44 h 70"/>
              <a:gd name="T32" fmla="*/ 79 w 96"/>
              <a:gd name="T33" fmla="*/ 44 h 70"/>
              <a:gd name="T34" fmla="*/ 83 w 96"/>
              <a:gd name="T35" fmla="*/ 48 h 70"/>
              <a:gd name="T36" fmla="*/ 86 w 96"/>
              <a:gd name="T37" fmla="*/ 48 h 70"/>
              <a:gd name="T38" fmla="*/ 91 w 96"/>
              <a:gd name="T39" fmla="*/ 44 h 70"/>
              <a:gd name="T40" fmla="*/ 92 w 96"/>
              <a:gd name="T41" fmla="*/ 34 h 70"/>
              <a:gd name="T42" fmla="*/ 77 w 96"/>
              <a:gd name="T43" fmla="*/ 44 h 70"/>
              <a:gd name="T44" fmla="*/ 87 w 96"/>
              <a:gd name="T45" fmla="*/ 34 h 70"/>
              <a:gd name="T46" fmla="*/ 80 w 96"/>
              <a:gd name="T47" fmla="*/ 40 h 70"/>
              <a:gd name="T48" fmla="*/ 82 w 96"/>
              <a:gd name="T49" fmla="*/ 30 h 70"/>
              <a:gd name="T50" fmla="*/ 64 w 96"/>
              <a:gd name="T51" fmla="*/ 44 h 70"/>
              <a:gd name="T52" fmla="*/ 81 w 96"/>
              <a:gd name="T53" fmla="*/ 28 h 70"/>
              <a:gd name="T54" fmla="*/ 70 w 96"/>
              <a:gd name="T55" fmla="*/ 36 h 70"/>
              <a:gd name="T56" fmla="*/ 62 w 96"/>
              <a:gd name="T57" fmla="*/ 40 h 70"/>
              <a:gd name="T58" fmla="*/ 93 w 96"/>
              <a:gd name="T59" fmla="*/ 48 h 70"/>
              <a:gd name="T60" fmla="*/ 96 w 96"/>
              <a:gd name="T61" fmla="*/ 58 h 70"/>
              <a:gd name="T62" fmla="*/ 58 w 96"/>
              <a:gd name="T63" fmla="*/ 58 h 70"/>
              <a:gd name="T64" fmla="*/ 78 w 96"/>
              <a:gd name="T65" fmla="*/ 45 h 70"/>
              <a:gd name="T66" fmla="*/ 87 w 96"/>
              <a:gd name="T67" fmla="*/ 48 h 70"/>
              <a:gd name="T68" fmla="*/ 90 w 96"/>
              <a:gd name="T69" fmla="*/ 49 h 70"/>
              <a:gd name="T70" fmla="*/ 80 w 96"/>
              <a:gd name="T71" fmla="*/ 48 h 70"/>
              <a:gd name="T72" fmla="*/ 47 w 96"/>
              <a:gd name="T73" fmla="*/ 4 h 70"/>
              <a:gd name="T74" fmla="*/ 15 w 96"/>
              <a:gd name="T75" fmla="*/ 4 h 70"/>
              <a:gd name="T76" fmla="*/ 50 w 96"/>
              <a:gd name="T77" fmla="*/ 4 h 70"/>
              <a:gd name="T78" fmla="*/ 25 w 96"/>
              <a:gd name="T79" fmla="*/ 10 h 70"/>
              <a:gd name="T80" fmla="*/ 37 w 96"/>
              <a:gd name="T81" fmla="*/ 10 h 70"/>
              <a:gd name="T82" fmla="*/ 27 w 96"/>
              <a:gd name="T83" fmla="*/ 6 h 70"/>
              <a:gd name="T84" fmla="*/ 27 w 96"/>
              <a:gd name="T85" fmla="*/ 6 h 70"/>
              <a:gd name="T86" fmla="*/ 41 w 96"/>
              <a:gd name="T87" fmla="*/ 62 h 70"/>
              <a:gd name="T88" fmla="*/ 41 w 96"/>
              <a:gd name="T89" fmla="*/ 64 h 70"/>
              <a:gd name="T90" fmla="*/ 0 w 96"/>
              <a:gd name="T91" fmla="*/ 62 h 70"/>
              <a:gd name="T92" fmla="*/ 63 w 96"/>
              <a:gd name="T93" fmla="*/ 63 h 70"/>
              <a:gd name="T94" fmla="*/ 42 w 96"/>
              <a:gd name="T95" fmla="*/ 33 h 70"/>
              <a:gd name="T96" fmla="*/ 42 w 96"/>
              <a:gd name="T97" fmla="*/ 33 h 70"/>
              <a:gd name="T98" fmla="*/ 47 w 96"/>
              <a:gd name="T99" fmla="*/ 59 h 70"/>
              <a:gd name="T100" fmla="*/ 43 w 96"/>
              <a:gd name="T101" fmla="*/ 32 h 70"/>
              <a:gd name="T102" fmla="*/ 44 w 96"/>
              <a:gd name="T103" fmla="*/ 36 h 70"/>
              <a:gd name="T104" fmla="*/ 45 w 96"/>
              <a:gd name="T105" fmla="*/ 37 h 70"/>
              <a:gd name="T106" fmla="*/ 46 w 96"/>
              <a:gd name="T107" fmla="*/ 41 h 70"/>
              <a:gd name="T108" fmla="*/ 48 w 96"/>
              <a:gd name="T109" fmla="*/ 39 h 70"/>
              <a:gd name="T110" fmla="*/ 48 w 96"/>
              <a:gd name="T111" fmla="*/ 42 h 70"/>
              <a:gd name="T112" fmla="*/ 42 w 96"/>
              <a:gd name="T113" fmla="*/ 46 h 70"/>
              <a:gd name="T114" fmla="*/ 36 w 96"/>
              <a:gd name="T115" fmla="*/ 42 h 70"/>
              <a:gd name="T116" fmla="*/ 36 w 96"/>
              <a:gd name="T117" fmla="*/ 39 h 70"/>
              <a:gd name="T118" fmla="*/ 38 w 96"/>
              <a:gd name="T119" fmla="*/ 41 h 70"/>
              <a:gd name="T120" fmla="*/ 40 w 96"/>
              <a:gd name="T121" fmla="*/ 37 h 70"/>
              <a:gd name="T122" fmla="*/ 40 w 96"/>
              <a:gd name="T123" fmla="*/ 36 h 70"/>
              <a:gd name="T124" fmla="*/ 41 w 96"/>
              <a:gd name="T125" fmla="*/ 32 h 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96" h="70">
                <a:moveTo>
                  <a:pt x="29" y="16"/>
                </a:moveTo>
                <a:cubicBezTo>
                  <a:pt x="19" y="18"/>
                  <a:pt x="9" y="23"/>
                  <a:pt x="1" y="27"/>
                </a:cubicBezTo>
                <a:cubicBezTo>
                  <a:pt x="6" y="38"/>
                  <a:pt x="14" y="48"/>
                  <a:pt x="16" y="59"/>
                </a:cubicBezTo>
                <a:cubicBezTo>
                  <a:pt x="20" y="61"/>
                  <a:pt x="25" y="62"/>
                  <a:pt x="30" y="62"/>
                </a:cubicBezTo>
                <a:cubicBezTo>
                  <a:pt x="30" y="49"/>
                  <a:pt x="30" y="33"/>
                  <a:pt x="29" y="16"/>
                </a:cubicBezTo>
                <a:close/>
                <a:moveTo>
                  <a:pt x="75" y="34"/>
                </a:moveTo>
                <a:cubicBezTo>
                  <a:pt x="66" y="30"/>
                  <a:pt x="66" y="30"/>
                  <a:pt x="66" y="30"/>
                </a:cubicBezTo>
                <a:cubicBezTo>
                  <a:pt x="65" y="30"/>
                  <a:pt x="65" y="30"/>
                  <a:pt x="65" y="30"/>
                </a:cubicBezTo>
                <a:cubicBezTo>
                  <a:pt x="65" y="30"/>
                  <a:pt x="65" y="30"/>
                  <a:pt x="65" y="30"/>
                </a:cubicBezTo>
                <a:cubicBezTo>
                  <a:pt x="65" y="30"/>
                  <a:pt x="65" y="30"/>
                  <a:pt x="65" y="30"/>
                </a:cubicBezTo>
                <a:cubicBezTo>
                  <a:pt x="65" y="30"/>
                  <a:pt x="65" y="30"/>
                  <a:pt x="65" y="30"/>
                </a:cubicBezTo>
                <a:cubicBezTo>
                  <a:pt x="65" y="30"/>
                  <a:pt x="65" y="30"/>
                  <a:pt x="65" y="30"/>
                </a:cubicBezTo>
                <a:cubicBezTo>
                  <a:pt x="61" y="40"/>
                  <a:pt x="61" y="40"/>
                  <a:pt x="61" y="40"/>
                </a:cubicBezTo>
                <a:cubicBezTo>
                  <a:pt x="61" y="40"/>
                  <a:pt x="61" y="40"/>
                  <a:pt x="61" y="40"/>
                </a:cubicBezTo>
                <a:cubicBezTo>
                  <a:pt x="61" y="40"/>
                  <a:pt x="61" y="40"/>
                  <a:pt x="61" y="40"/>
                </a:cubicBezTo>
                <a:cubicBezTo>
                  <a:pt x="61" y="40"/>
                  <a:pt x="61" y="40"/>
                  <a:pt x="61" y="40"/>
                </a:cubicBezTo>
                <a:cubicBezTo>
                  <a:pt x="61" y="40"/>
                  <a:pt x="61" y="40"/>
                  <a:pt x="61" y="40"/>
                </a:cubicBezTo>
                <a:cubicBezTo>
                  <a:pt x="61" y="41"/>
                  <a:pt x="61" y="41"/>
                  <a:pt x="61" y="41"/>
                </a:cubicBezTo>
                <a:cubicBezTo>
                  <a:pt x="71" y="45"/>
                  <a:pt x="71" y="45"/>
                  <a:pt x="71" y="45"/>
                </a:cubicBezTo>
                <a:cubicBezTo>
                  <a:pt x="71" y="45"/>
                  <a:pt x="71" y="45"/>
                  <a:pt x="71" y="45"/>
                </a:cubicBezTo>
                <a:cubicBezTo>
                  <a:pt x="71" y="45"/>
                  <a:pt x="71" y="45"/>
                  <a:pt x="71" y="45"/>
                </a:cubicBezTo>
                <a:cubicBezTo>
                  <a:pt x="71" y="45"/>
                  <a:pt x="71" y="45"/>
                  <a:pt x="71" y="45"/>
                </a:cubicBezTo>
                <a:cubicBezTo>
                  <a:pt x="71" y="45"/>
                  <a:pt x="71" y="45"/>
                  <a:pt x="71" y="45"/>
                </a:cubicBezTo>
                <a:cubicBezTo>
                  <a:pt x="72" y="45"/>
                  <a:pt x="72" y="45"/>
                  <a:pt x="72" y="44"/>
                </a:cubicBezTo>
                <a:cubicBezTo>
                  <a:pt x="76" y="35"/>
                  <a:pt x="76" y="35"/>
                  <a:pt x="76" y="35"/>
                </a:cubicBezTo>
                <a:cubicBezTo>
                  <a:pt x="76" y="35"/>
                  <a:pt x="76" y="35"/>
                  <a:pt x="76" y="35"/>
                </a:cubicBezTo>
                <a:cubicBezTo>
                  <a:pt x="76" y="35"/>
                  <a:pt x="76" y="35"/>
                  <a:pt x="76" y="35"/>
                </a:cubicBezTo>
                <a:cubicBezTo>
                  <a:pt x="76" y="35"/>
                  <a:pt x="76" y="35"/>
                  <a:pt x="76" y="35"/>
                </a:cubicBezTo>
                <a:cubicBezTo>
                  <a:pt x="76" y="35"/>
                  <a:pt x="76" y="35"/>
                  <a:pt x="76" y="35"/>
                </a:cubicBezTo>
                <a:cubicBezTo>
                  <a:pt x="76" y="34"/>
                  <a:pt x="75" y="34"/>
                  <a:pt x="75" y="34"/>
                </a:cubicBezTo>
                <a:close/>
                <a:moveTo>
                  <a:pt x="78" y="44"/>
                </a:moveTo>
                <a:cubicBezTo>
                  <a:pt x="78" y="44"/>
                  <a:pt x="78" y="44"/>
                  <a:pt x="78" y="44"/>
                </a:cubicBezTo>
                <a:cubicBezTo>
                  <a:pt x="78" y="44"/>
                  <a:pt x="78" y="44"/>
                  <a:pt x="78" y="44"/>
                </a:cubicBezTo>
                <a:cubicBezTo>
                  <a:pt x="78" y="44"/>
                  <a:pt x="78" y="44"/>
                  <a:pt x="78" y="44"/>
                </a:cubicBezTo>
                <a:cubicBezTo>
                  <a:pt x="78" y="44"/>
                  <a:pt x="78" y="44"/>
                  <a:pt x="78" y="44"/>
                </a:cubicBezTo>
                <a:cubicBezTo>
                  <a:pt x="78" y="44"/>
                  <a:pt x="78" y="44"/>
                  <a:pt x="78" y="44"/>
                </a:cubicBezTo>
                <a:cubicBezTo>
                  <a:pt x="78" y="44"/>
                  <a:pt x="78" y="44"/>
                  <a:pt x="78" y="44"/>
                </a:cubicBezTo>
                <a:cubicBezTo>
                  <a:pt x="78" y="44"/>
                  <a:pt x="78" y="44"/>
                  <a:pt x="78" y="44"/>
                </a:cubicBezTo>
                <a:cubicBezTo>
                  <a:pt x="78" y="44"/>
                  <a:pt x="78" y="44"/>
                  <a:pt x="78" y="44"/>
                </a:cubicBezTo>
                <a:cubicBezTo>
                  <a:pt x="78" y="44"/>
                  <a:pt x="78" y="44"/>
                  <a:pt x="78" y="44"/>
                </a:cubicBezTo>
                <a:cubicBezTo>
                  <a:pt x="78" y="44"/>
                  <a:pt x="78" y="44"/>
                  <a:pt x="78" y="44"/>
                </a:cubicBezTo>
                <a:cubicBezTo>
                  <a:pt x="78" y="44"/>
                  <a:pt x="78" y="44"/>
                  <a:pt x="78" y="44"/>
                </a:cubicBezTo>
                <a:cubicBezTo>
                  <a:pt x="78" y="44"/>
                  <a:pt x="78" y="44"/>
                  <a:pt x="78" y="44"/>
                </a:cubicBezTo>
                <a:cubicBezTo>
                  <a:pt x="78" y="44"/>
                  <a:pt x="78" y="44"/>
                  <a:pt x="78" y="44"/>
                </a:cubicBezTo>
                <a:cubicBezTo>
                  <a:pt x="78" y="44"/>
                  <a:pt x="78" y="44"/>
                  <a:pt x="78" y="44"/>
                </a:cubicBezTo>
                <a:cubicBezTo>
                  <a:pt x="78" y="44"/>
                  <a:pt x="78" y="44"/>
                  <a:pt x="78" y="44"/>
                </a:cubicBezTo>
                <a:cubicBezTo>
                  <a:pt x="78" y="44"/>
                  <a:pt x="78" y="44"/>
                  <a:pt x="78" y="44"/>
                </a:cubicBezTo>
                <a:cubicBezTo>
                  <a:pt x="78" y="44"/>
                  <a:pt x="78" y="44"/>
                  <a:pt x="78" y="44"/>
                </a:cubicBezTo>
                <a:cubicBezTo>
                  <a:pt x="78" y="44"/>
                  <a:pt x="78" y="44"/>
                  <a:pt x="78" y="44"/>
                </a:cubicBezTo>
                <a:cubicBezTo>
                  <a:pt x="78" y="44"/>
                  <a:pt x="78" y="44"/>
                  <a:pt x="78" y="44"/>
                </a:cubicBezTo>
                <a:cubicBezTo>
                  <a:pt x="78" y="44"/>
                  <a:pt x="78" y="44"/>
                  <a:pt x="78" y="44"/>
                </a:cubicBezTo>
                <a:cubicBezTo>
                  <a:pt x="78" y="44"/>
                  <a:pt x="78" y="44"/>
                  <a:pt x="78" y="44"/>
                </a:cubicBezTo>
                <a:cubicBezTo>
                  <a:pt x="78" y="44"/>
                  <a:pt x="78" y="44"/>
                  <a:pt x="78" y="44"/>
                </a:cubicBezTo>
                <a:cubicBezTo>
                  <a:pt x="78" y="44"/>
                  <a:pt x="78" y="44"/>
                  <a:pt x="78" y="44"/>
                </a:cubicBezTo>
                <a:cubicBezTo>
                  <a:pt x="78" y="44"/>
                  <a:pt x="78" y="44"/>
                  <a:pt x="78" y="44"/>
                </a:cubicBezTo>
                <a:cubicBezTo>
                  <a:pt x="78" y="44"/>
                  <a:pt x="78" y="44"/>
                  <a:pt x="78" y="44"/>
                </a:cubicBezTo>
                <a:cubicBezTo>
                  <a:pt x="78" y="44"/>
                  <a:pt x="78" y="44"/>
                  <a:pt x="78" y="44"/>
                </a:cubicBezTo>
                <a:cubicBezTo>
                  <a:pt x="78" y="44"/>
                  <a:pt x="78" y="44"/>
                  <a:pt x="78" y="44"/>
                </a:cubicBezTo>
                <a:cubicBezTo>
                  <a:pt x="78" y="44"/>
                  <a:pt x="78" y="44"/>
                  <a:pt x="78" y="44"/>
                </a:cubicBezTo>
                <a:cubicBezTo>
                  <a:pt x="78" y="44"/>
                  <a:pt x="78" y="44"/>
                  <a:pt x="78" y="44"/>
                </a:cubicBezTo>
                <a:cubicBezTo>
                  <a:pt x="78" y="44"/>
                  <a:pt x="78" y="44"/>
                  <a:pt x="78" y="44"/>
                </a:cubicBezTo>
                <a:cubicBezTo>
                  <a:pt x="78" y="44"/>
                  <a:pt x="78" y="44"/>
                  <a:pt x="78" y="44"/>
                </a:cubicBezTo>
                <a:cubicBezTo>
                  <a:pt x="78" y="44"/>
                  <a:pt x="78" y="44"/>
                  <a:pt x="78" y="44"/>
                </a:cubicBezTo>
                <a:cubicBezTo>
                  <a:pt x="78" y="44"/>
                  <a:pt x="78" y="44"/>
                  <a:pt x="78" y="44"/>
                </a:cubicBezTo>
                <a:cubicBezTo>
                  <a:pt x="79" y="44"/>
                  <a:pt x="79" y="44"/>
                  <a:pt x="79" y="44"/>
                </a:cubicBezTo>
                <a:cubicBezTo>
                  <a:pt x="79" y="44"/>
                  <a:pt x="79" y="44"/>
                  <a:pt x="79" y="44"/>
                </a:cubicBezTo>
                <a:cubicBezTo>
                  <a:pt x="79" y="44"/>
                  <a:pt x="79" y="44"/>
                  <a:pt x="79" y="44"/>
                </a:cubicBezTo>
                <a:cubicBezTo>
                  <a:pt x="79" y="44"/>
                  <a:pt x="79" y="44"/>
                  <a:pt x="79" y="44"/>
                </a:cubicBezTo>
                <a:cubicBezTo>
                  <a:pt x="79" y="44"/>
                  <a:pt x="79" y="44"/>
                  <a:pt x="79" y="44"/>
                </a:cubicBezTo>
                <a:cubicBezTo>
                  <a:pt x="81" y="44"/>
                  <a:pt x="82" y="46"/>
                  <a:pt x="83" y="48"/>
                </a:cubicBezTo>
                <a:cubicBezTo>
                  <a:pt x="83" y="48"/>
                  <a:pt x="83" y="48"/>
                  <a:pt x="83" y="48"/>
                </a:cubicBezTo>
                <a:cubicBezTo>
                  <a:pt x="83" y="48"/>
                  <a:pt x="83" y="48"/>
                  <a:pt x="83" y="48"/>
                </a:cubicBezTo>
                <a:cubicBezTo>
                  <a:pt x="83" y="48"/>
                  <a:pt x="82" y="48"/>
                  <a:pt x="82" y="48"/>
                </a:cubicBezTo>
                <a:cubicBezTo>
                  <a:pt x="86" y="48"/>
                  <a:pt x="86" y="48"/>
                  <a:pt x="86" y="48"/>
                </a:cubicBezTo>
                <a:cubicBezTo>
                  <a:pt x="86" y="48"/>
                  <a:pt x="86" y="48"/>
                  <a:pt x="86" y="48"/>
                </a:cubicBezTo>
                <a:cubicBezTo>
                  <a:pt x="86" y="48"/>
                  <a:pt x="86" y="48"/>
                  <a:pt x="86" y="48"/>
                </a:cubicBezTo>
                <a:cubicBezTo>
                  <a:pt x="86" y="48"/>
                  <a:pt x="86" y="48"/>
                  <a:pt x="86" y="48"/>
                </a:cubicBezTo>
                <a:cubicBezTo>
                  <a:pt x="86" y="46"/>
                  <a:pt x="88" y="44"/>
                  <a:pt x="90" y="44"/>
                </a:cubicBezTo>
                <a:cubicBezTo>
                  <a:pt x="90" y="44"/>
                  <a:pt x="91" y="44"/>
                  <a:pt x="91" y="44"/>
                </a:cubicBezTo>
                <a:cubicBezTo>
                  <a:pt x="91" y="44"/>
                  <a:pt x="91" y="44"/>
                  <a:pt x="91" y="44"/>
                </a:cubicBezTo>
                <a:cubicBezTo>
                  <a:pt x="91" y="44"/>
                  <a:pt x="91" y="44"/>
                  <a:pt x="91" y="44"/>
                </a:cubicBezTo>
                <a:cubicBezTo>
                  <a:pt x="91" y="44"/>
                  <a:pt x="91" y="44"/>
                  <a:pt x="91" y="44"/>
                </a:cubicBezTo>
                <a:cubicBezTo>
                  <a:pt x="92" y="44"/>
                  <a:pt x="92" y="44"/>
                  <a:pt x="92" y="44"/>
                </a:cubicBezTo>
                <a:cubicBezTo>
                  <a:pt x="92" y="34"/>
                  <a:pt x="92" y="34"/>
                  <a:pt x="92" y="34"/>
                </a:cubicBezTo>
                <a:cubicBezTo>
                  <a:pt x="92" y="33"/>
                  <a:pt x="92" y="33"/>
                  <a:pt x="91" y="33"/>
                </a:cubicBezTo>
                <a:cubicBezTo>
                  <a:pt x="82" y="33"/>
                  <a:pt x="82" y="33"/>
                  <a:pt x="82" y="33"/>
                </a:cubicBezTo>
                <a:cubicBezTo>
                  <a:pt x="82" y="33"/>
                  <a:pt x="81" y="33"/>
                  <a:pt x="81" y="33"/>
                </a:cubicBezTo>
                <a:cubicBezTo>
                  <a:pt x="77" y="44"/>
                  <a:pt x="77" y="44"/>
                  <a:pt x="77" y="44"/>
                </a:cubicBezTo>
                <a:cubicBezTo>
                  <a:pt x="77" y="44"/>
                  <a:pt x="77" y="44"/>
                  <a:pt x="78" y="44"/>
                </a:cubicBezTo>
                <a:close/>
                <a:moveTo>
                  <a:pt x="91" y="40"/>
                </a:moveTo>
                <a:cubicBezTo>
                  <a:pt x="87" y="40"/>
                  <a:pt x="87" y="40"/>
                  <a:pt x="87" y="40"/>
                </a:cubicBezTo>
                <a:cubicBezTo>
                  <a:pt x="87" y="34"/>
                  <a:pt x="87" y="34"/>
                  <a:pt x="87" y="34"/>
                </a:cubicBezTo>
                <a:cubicBezTo>
                  <a:pt x="91" y="34"/>
                  <a:pt x="91" y="34"/>
                  <a:pt x="91" y="34"/>
                </a:cubicBezTo>
                <a:cubicBezTo>
                  <a:pt x="91" y="40"/>
                  <a:pt x="91" y="40"/>
                  <a:pt x="91" y="40"/>
                </a:cubicBezTo>
                <a:close/>
                <a:moveTo>
                  <a:pt x="86" y="40"/>
                </a:moveTo>
                <a:cubicBezTo>
                  <a:pt x="80" y="40"/>
                  <a:pt x="80" y="40"/>
                  <a:pt x="80" y="40"/>
                </a:cubicBezTo>
                <a:cubicBezTo>
                  <a:pt x="82" y="34"/>
                  <a:pt x="82" y="34"/>
                  <a:pt x="82" y="34"/>
                </a:cubicBezTo>
                <a:cubicBezTo>
                  <a:pt x="86" y="34"/>
                  <a:pt x="86" y="34"/>
                  <a:pt x="86" y="34"/>
                </a:cubicBezTo>
                <a:cubicBezTo>
                  <a:pt x="86" y="40"/>
                  <a:pt x="86" y="40"/>
                  <a:pt x="86" y="40"/>
                </a:cubicBezTo>
                <a:close/>
                <a:moveTo>
                  <a:pt x="82" y="30"/>
                </a:moveTo>
                <a:cubicBezTo>
                  <a:pt x="74" y="48"/>
                  <a:pt x="74" y="48"/>
                  <a:pt x="74" y="48"/>
                </a:cubicBezTo>
                <a:cubicBezTo>
                  <a:pt x="74" y="49"/>
                  <a:pt x="73" y="49"/>
                  <a:pt x="73" y="49"/>
                </a:cubicBezTo>
                <a:cubicBezTo>
                  <a:pt x="65" y="45"/>
                  <a:pt x="65" y="45"/>
                  <a:pt x="65" y="45"/>
                </a:cubicBezTo>
                <a:cubicBezTo>
                  <a:pt x="64" y="45"/>
                  <a:pt x="64" y="45"/>
                  <a:pt x="64" y="44"/>
                </a:cubicBezTo>
                <a:cubicBezTo>
                  <a:pt x="64" y="43"/>
                  <a:pt x="65" y="43"/>
                  <a:pt x="65" y="43"/>
                </a:cubicBezTo>
                <a:cubicBezTo>
                  <a:pt x="72" y="46"/>
                  <a:pt x="72" y="46"/>
                  <a:pt x="72" y="46"/>
                </a:cubicBezTo>
                <a:cubicBezTo>
                  <a:pt x="80" y="29"/>
                  <a:pt x="80" y="29"/>
                  <a:pt x="80" y="29"/>
                </a:cubicBezTo>
                <a:cubicBezTo>
                  <a:pt x="80" y="28"/>
                  <a:pt x="80" y="28"/>
                  <a:pt x="81" y="28"/>
                </a:cubicBezTo>
                <a:cubicBezTo>
                  <a:pt x="82" y="28"/>
                  <a:pt x="82" y="29"/>
                  <a:pt x="82" y="30"/>
                </a:cubicBezTo>
                <a:close/>
                <a:moveTo>
                  <a:pt x="69" y="33"/>
                </a:moveTo>
                <a:cubicBezTo>
                  <a:pt x="68" y="36"/>
                  <a:pt x="68" y="36"/>
                  <a:pt x="68" y="36"/>
                </a:cubicBezTo>
                <a:cubicBezTo>
                  <a:pt x="70" y="36"/>
                  <a:pt x="70" y="36"/>
                  <a:pt x="70" y="36"/>
                </a:cubicBezTo>
                <a:cubicBezTo>
                  <a:pt x="71" y="34"/>
                  <a:pt x="71" y="34"/>
                  <a:pt x="71" y="34"/>
                </a:cubicBezTo>
                <a:cubicBezTo>
                  <a:pt x="74" y="35"/>
                  <a:pt x="74" y="35"/>
                  <a:pt x="74" y="35"/>
                </a:cubicBezTo>
                <a:cubicBezTo>
                  <a:pt x="71" y="43"/>
                  <a:pt x="71" y="43"/>
                  <a:pt x="71" y="43"/>
                </a:cubicBezTo>
                <a:cubicBezTo>
                  <a:pt x="62" y="40"/>
                  <a:pt x="62" y="40"/>
                  <a:pt x="62" y="40"/>
                </a:cubicBezTo>
                <a:cubicBezTo>
                  <a:pt x="66" y="32"/>
                  <a:pt x="66" y="32"/>
                  <a:pt x="66" y="32"/>
                </a:cubicBezTo>
                <a:cubicBezTo>
                  <a:pt x="69" y="33"/>
                  <a:pt x="69" y="33"/>
                  <a:pt x="69" y="33"/>
                </a:cubicBezTo>
                <a:close/>
                <a:moveTo>
                  <a:pt x="90" y="45"/>
                </a:moveTo>
                <a:cubicBezTo>
                  <a:pt x="92" y="45"/>
                  <a:pt x="93" y="46"/>
                  <a:pt x="93" y="48"/>
                </a:cubicBezTo>
                <a:cubicBezTo>
                  <a:pt x="93" y="49"/>
                  <a:pt x="92" y="51"/>
                  <a:pt x="91" y="51"/>
                </a:cubicBezTo>
                <a:cubicBezTo>
                  <a:pt x="96" y="51"/>
                  <a:pt x="96" y="51"/>
                  <a:pt x="96" y="51"/>
                </a:cubicBezTo>
                <a:cubicBezTo>
                  <a:pt x="96" y="56"/>
                  <a:pt x="96" y="56"/>
                  <a:pt x="96" y="56"/>
                </a:cubicBezTo>
                <a:cubicBezTo>
                  <a:pt x="96" y="58"/>
                  <a:pt x="96" y="58"/>
                  <a:pt x="96" y="58"/>
                </a:cubicBezTo>
                <a:cubicBezTo>
                  <a:pt x="96" y="66"/>
                  <a:pt x="96" y="66"/>
                  <a:pt x="96" y="66"/>
                </a:cubicBezTo>
                <a:cubicBezTo>
                  <a:pt x="66" y="66"/>
                  <a:pt x="66" y="66"/>
                  <a:pt x="66" y="66"/>
                </a:cubicBezTo>
                <a:cubicBezTo>
                  <a:pt x="66" y="58"/>
                  <a:pt x="66" y="58"/>
                  <a:pt x="66" y="58"/>
                </a:cubicBezTo>
                <a:cubicBezTo>
                  <a:pt x="58" y="58"/>
                  <a:pt x="58" y="58"/>
                  <a:pt x="58" y="58"/>
                </a:cubicBezTo>
                <a:cubicBezTo>
                  <a:pt x="58" y="51"/>
                  <a:pt x="58" y="51"/>
                  <a:pt x="58" y="51"/>
                </a:cubicBezTo>
                <a:cubicBezTo>
                  <a:pt x="77" y="51"/>
                  <a:pt x="77" y="51"/>
                  <a:pt x="77" y="51"/>
                </a:cubicBezTo>
                <a:cubicBezTo>
                  <a:pt x="76" y="51"/>
                  <a:pt x="75" y="49"/>
                  <a:pt x="75" y="48"/>
                </a:cubicBezTo>
                <a:cubicBezTo>
                  <a:pt x="75" y="46"/>
                  <a:pt x="76" y="45"/>
                  <a:pt x="78" y="45"/>
                </a:cubicBezTo>
                <a:cubicBezTo>
                  <a:pt x="80" y="45"/>
                  <a:pt x="82" y="46"/>
                  <a:pt x="82" y="48"/>
                </a:cubicBezTo>
                <a:cubicBezTo>
                  <a:pt x="82" y="49"/>
                  <a:pt x="81" y="51"/>
                  <a:pt x="79" y="51"/>
                </a:cubicBezTo>
                <a:cubicBezTo>
                  <a:pt x="89" y="51"/>
                  <a:pt x="89" y="51"/>
                  <a:pt x="89" y="51"/>
                </a:cubicBezTo>
                <a:cubicBezTo>
                  <a:pt x="88" y="51"/>
                  <a:pt x="87" y="49"/>
                  <a:pt x="87" y="48"/>
                </a:cubicBezTo>
                <a:cubicBezTo>
                  <a:pt x="87" y="46"/>
                  <a:pt x="88" y="45"/>
                  <a:pt x="90" y="45"/>
                </a:cubicBezTo>
                <a:close/>
                <a:moveTo>
                  <a:pt x="90" y="46"/>
                </a:moveTo>
                <a:cubicBezTo>
                  <a:pt x="91" y="46"/>
                  <a:pt x="92" y="47"/>
                  <a:pt x="92" y="48"/>
                </a:cubicBezTo>
                <a:cubicBezTo>
                  <a:pt x="92" y="49"/>
                  <a:pt x="91" y="49"/>
                  <a:pt x="90" y="49"/>
                </a:cubicBezTo>
                <a:cubicBezTo>
                  <a:pt x="89" y="49"/>
                  <a:pt x="89" y="49"/>
                  <a:pt x="89" y="48"/>
                </a:cubicBezTo>
                <a:cubicBezTo>
                  <a:pt x="89" y="47"/>
                  <a:pt x="89" y="46"/>
                  <a:pt x="90" y="46"/>
                </a:cubicBezTo>
                <a:close/>
                <a:moveTo>
                  <a:pt x="78" y="46"/>
                </a:moveTo>
                <a:cubicBezTo>
                  <a:pt x="79" y="46"/>
                  <a:pt x="80" y="47"/>
                  <a:pt x="80" y="48"/>
                </a:cubicBezTo>
                <a:cubicBezTo>
                  <a:pt x="80" y="49"/>
                  <a:pt x="79" y="49"/>
                  <a:pt x="78" y="49"/>
                </a:cubicBezTo>
                <a:cubicBezTo>
                  <a:pt x="78" y="49"/>
                  <a:pt x="77" y="49"/>
                  <a:pt x="77" y="48"/>
                </a:cubicBezTo>
                <a:cubicBezTo>
                  <a:pt x="77" y="47"/>
                  <a:pt x="78" y="46"/>
                  <a:pt x="78" y="46"/>
                </a:cubicBezTo>
                <a:close/>
                <a:moveTo>
                  <a:pt x="47" y="4"/>
                </a:moveTo>
                <a:cubicBezTo>
                  <a:pt x="47" y="17"/>
                  <a:pt x="47" y="17"/>
                  <a:pt x="47" y="17"/>
                </a:cubicBezTo>
                <a:cubicBezTo>
                  <a:pt x="42" y="15"/>
                  <a:pt x="37" y="13"/>
                  <a:pt x="31" y="12"/>
                </a:cubicBezTo>
                <a:cubicBezTo>
                  <a:pt x="25" y="13"/>
                  <a:pt x="20" y="15"/>
                  <a:pt x="15" y="17"/>
                </a:cubicBezTo>
                <a:cubicBezTo>
                  <a:pt x="15" y="4"/>
                  <a:pt x="15" y="4"/>
                  <a:pt x="15" y="4"/>
                </a:cubicBezTo>
                <a:cubicBezTo>
                  <a:pt x="12" y="4"/>
                  <a:pt x="12" y="4"/>
                  <a:pt x="12" y="4"/>
                </a:cubicBezTo>
                <a:cubicBezTo>
                  <a:pt x="12" y="0"/>
                  <a:pt x="12" y="0"/>
                  <a:pt x="12" y="0"/>
                </a:cubicBezTo>
                <a:cubicBezTo>
                  <a:pt x="50" y="0"/>
                  <a:pt x="50" y="0"/>
                  <a:pt x="50" y="0"/>
                </a:cubicBezTo>
                <a:cubicBezTo>
                  <a:pt x="50" y="4"/>
                  <a:pt x="50" y="4"/>
                  <a:pt x="50" y="4"/>
                </a:cubicBezTo>
                <a:cubicBezTo>
                  <a:pt x="47" y="4"/>
                  <a:pt x="47" y="4"/>
                  <a:pt x="47" y="4"/>
                </a:cubicBezTo>
                <a:close/>
                <a:moveTo>
                  <a:pt x="17" y="6"/>
                </a:moveTo>
                <a:cubicBezTo>
                  <a:pt x="17" y="10"/>
                  <a:pt x="17" y="10"/>
                  <a:pt x="17" y="10"/>
                </a:cubicBezTo>
                <a:cubicBezTo>
                  <a:pt x="25" y="10"/>
                  <a:pt x="25" y="10"/>
                  <a:pt x="25" y="10"/>
                </a:cubicBezTo>
                <a:cubicBezTo>
                  <a:pt x="25" y="6"/>
                  <a:pt x="25" y="6"/>
                  <a:pt x="25" y="6"/>
                </a:cubicBezTo>
                <a:cubicBezTo>
                  <a:pt x="17" y="6"/>
                  <a:pt x="17" y="6"/>
                  <a:pt x="17" y="6"/>
                </a:cubicBezTo>
                <a:close/>
                <a:moveTo>
                  <a:pt x="37" y="6"/>
                </a:moveTo>
                <a:cubicBezTo>
                  <a:pt x="37" y="10"/>
                  <a:pt x="37" y="10"/>
                  <a:pt x="37" y="10"/>
                </a:cubicBezTo>
                <a:cubicBezTo>
                  <a:pt x="45" y="10"/>
                  <a:pt x="45" y="10"/>
                  <a:pt x="45" y="10"/>
                </a:cubicBezTo>
                <a:cubicBezTo>
                  <a:pt x="45" y="6"/>
                  <a:pt x="45" y="6"/>
                  <a:pt x="45" y="6"/>
                </a:cubicBezTo>
                <a:cubicBezTo>
                  <a:pt x="37" y="6"/>
                  <a:pt x="37" y="6"/>
                  <a:pt x="37" y="6"/>
                </a:cubicBezTo>
                <a:close/>
                <a:moveTo>
                  <a:pt x="27" y="6"/>
                </a:moveTo>
                <a:cubicBezTo>
                  <a:pt x="27" y="10"/>
                  <a:pt x="27" y="10"/>
                  <a:pt x="27" y="10"/>
                </a:cubicBezTo>
                <a:cubicBezTo>
                  <a:pt x="35" y="10"/>
                  <a:pt x="35" y="10"/>
                  <a:pt x="35" y="10"/>
                </a:cubicBezTo>
                <a:cubicBezTo>
                  <a:pt x="35" y="6"/>
                  <a:pt x="35" y="6"/>
                  <a:pt x="35" y="6"/>
                </a:cubicBezTo>
                <a:cubicBezTo>
                  <a:pt x="27" y="6"/>
                  <a:pt x="27" y="6"/>
                  <a:pt x="27" y="6"/>
                </a:cubicBezTo>
                <a:close/>
                <a:moveTo>
                  <a:pt x="8" y="62"/>
                </a:moveTo>
                <a:cubicBezTo>
                  <a:pt x="12" y="65"/>
                  <a:pt x="17" y="65"/>
                  <a:pt x="22" y="62"/>
                </a:cubicBezTo>
                <a:cubicBezTo>
                  <a:pt x="28" y="66"/>
                  <a:pt x="34" y="66"/>
                  <a:pt x="41" y="62"/>
                </a:cubicBezTo>
                <a:cubicBezTo>
                  <a:pt x="41" y="62"/>
                  <a:pt x="41" y="62"/>
                  <a:pt x="41" y="62"/>
                </a:cubicBezTo>
                <a:cubicBezTo>
                  <a:pt x="46" y="65"/>
                  <a:pt x="50" y="65"/>
                  <a:pt x="55" y="62"/>
                </a:cubicBezTo>
                <a:cubicBezTo>
                  <a:pt x="55" y="63"/>
                  <a:pt x="55" y="63"/>
                  <a:pt x="55" y="63"/>
                </a:cubicBezTo>
                <a:cubicBezTo>
                  <a:pt x="52" y="68"/>
                  <a:pt x="43" y="68"/>
                  <a:pt x="41" y="63"/>
                </a:cubicBezTo>
                <a:cubicBezTo>
                  <a:pt x="41" y="64"/>
                  <a:pt x="41" y="64"/>
                  <a:pt x="41" y="64"/>
                </a:cubicBezTo>
                <a:cubicBezTo>
                  <a:pt x="37" y="70"/>
                  <a:pt x="25" y="70"/>
                  <a:pt x="22" y="63"/>
                </a:cubicBezTo>
                <a:cubicBezTo>
                  <a:pt x="19" y="68"/>
                  <a:pt x="10" y="68"/>
                  <a:pt x="8" y="63"/>
                </a:cubicBezTo>
                <a:cubicBezTo>
                  <a:pt x="6" y="66"/>
                  <a:pt x="1" y="66"/>
                  <a:pt x="0" y="63"/>
                </a:cubicBezTo>
                <a:cubicBezTo>
                  <a:pt x="0" y="63"/>
                  <a:pt x="0" y="63"/>
                  <a:pt x="0" y="62"/>
                </a:cubicBezTo>
                <a:cubicBezTo>
                  <a:pt x="3" y="64"/>
                  <a:pt x="5" y="64"/>
                  <a:pt x="8" y="62"/>
                </a:cubicBezTo>
                <a:close/>
                <a:moveTo>
                  <a:pt x="55" y="62"/>
                </a:moveTo>
                <a:cubicBezTo>
                  <a:pt x="55" y="63"/>
                  <a:pt x="55" y="63"/>
                  <a:pt x="55" y="63"/>
                </a:cubicBezTo>
                <a:cubicBezTo>
                  <a:pt x="56" y="66"/>
                  <a:pt x="61" y="66"/>
                  <a:pt x="63" y="63"/>
                </a:cubicBezTo>
                <a:cubicBezTo>
                  <a:pt x="63" y="63"/>
                  <a:pt x="63" y="63"/>
                  <a:pt x="63" y="63"/>
                </a:cubicBezTo>
                <a:cubicBezTo>
                  <a:pt x="63" y="62"/>
                  <a:pt x="63" y="62"/>
                  <a:pt x="63" y="62"/>
                </a:cubicBezTo>
                <a:cubicBezTo>
                  <a:pt x="60" y="64"/>
                  <a:pt x="57" y="64"/>
                  <a:pt x="55" y="62"/>
                </a:cubicBezTo>
                <a:close/>
                <a:moveTo>
                  <a:pt x="42" y="33"/>
                </a:moveTo>
                <a:cubicBezTo>
                  <a:pt x="42" y="33"/>
                  <a:pt x="41" y="33"/>
                  <a:pt x="41" y="33"/>
                </a:cubicBezTo>
                <a:cubicBezTo>
                  <a:pt x="41" y="34"/>
                  <a:pt x="42" y="34"/>
                  <a:pt x="42" y="34"/>
                </a:cubicBezTo>
                <a:cubicBezTo>
                  <a:pt x="43" y="34"/>
                  <a:pt x="43" y="34"/>
                  <a:pt x="43" y="33"/>
                </a:cubicBezTo>
                <a:cubicBezTo>
                  <a:pt x="43" y="33"/>
                  <a:pt x="43" y="33"/>
                  <a:pt x="42" y="33"/>
                </a:cubicBezTo>
                <a:close/>
                <a:moveTo>
                  <a:pt x="32" y="62"/>
                </a:moveTo>
                <a:cubicBezTo>
                  <a:pt x="31" y="47"/>
                  <a:pt x="32" y="32"/>
                  <a:pt x="33" y="16"/>
                </a:cubicBezTo>
                <a:cubicBezTo>
                  <a:pt x="43" y="18"/>
                  <a:pt x="52" y="23"/>
                  <a:pt x="61" y="27"/>
                </a:cubicBezTo>
                <a:cubicBezTo>
                  <a:pt x="56" y="38"/>
                  <a:pt x="49" y="48"/>
                  <a:pt x="47" y="59"/>
                </a:cubicBezTo>
                <a:cubicBezTo>
                  <a:pt x="42" y="61"/>
                  <a:pt x="36" y="62"/>
                  <a:pt x="32" y="62"/>
                </a:cubicBezTo>
                <a:close/>
                <a:moveTo>
                  <a:pt x="43" y="26"/>
                </a:moveTo>
                <a:cubicBezTo>
                  <a:pt x="44" y="26"/>
                  <a:pt x="45" y="28"/>
                  <a:pt x="45" y="29"/>
                </a:cubicBezTo>
                <a:cubicBezTo>
                  <a:pt x="45" y="31"/>
                  <a:pt x="44" y="32"/>
                  <a:pt x="43" y="32"/>
                </a:cubicBezTo>
                <a:cubicBezTo>
                  <a:pt x="44" y="32"/>
                  <a:pt x="44" y="33"/>
                  <a:pt x="44" y="33"/>
                </a:cubicBezTo>
                <a:cubicBezTo>
                  <a:pt x="44" y="34"/>
                  <a:pt x="44" y="35"/>
                  <a:pt x="43" y="35"/>
                </a:cubicBezTo>
                <a:cubicBezTo>
                  <a:pt x="43" y="36"/>
                  <a:pt x="43" y="36"/>
                  <a:pt x="43" y="36"/>
                </a:cubicBezTo>
                <a:cubicBezTo>
                  <a:pt x="44" y="36"/>
                  <a:pt x="44" y="36"/>
                  <a:pt x="44" y="36"/>
                </a:cubicBezTo>
                <a:cubicBezTo>
                  <a:pt x="45" y="36"/>
                  <a:pt x="45" y="36"/>
                  <a:pt x="45" y="36"/>
                </a:cubicBezTo>
                <a:cubicBezTo>
                  <a:pt x="46" y="36"/>
                  <a:pt x="46" y="36"/>
                  <a:pt x="46" y="37"/>
                </a:cubicBezTo>
                <a:cubicBezTo>
                  <a:pt x="46" y="37"/>
                  <a:pt x="46" y="38"/>
                  <a:pt x="45" y="38"/>
                </a:cubicBezTo>
                <a:cubicBezTo>
                  <a:pt x="45" y="38"/>
                  <a:pt x="45" y="37"/>
                  <a:pt x="45" y="37"/>
                </a:cubicBezTo>
                <a:cubicBezTo>
                  <a:pt x="43" y="37"/>
                  <a:pt x="43" y="37"/>
                  <a:pt x="43" y="37"/>
                </a:cubicBezTo>
                <a:cubicBezTo>
                  <a:pt x="43" y="44"/>
                  <a:pt x="43" y="44"/>
                  <a:pt x="43" y="44"/>
                </a:cubicBezTo>
                <a:cubicBezTo>
                  <a:pt x="44" y="43"/>
                  <a:pt x="46" y="43"/>
                  <a:pt x="47" y="41"/>
                </a:cubicBezTo>
                <a:cubicBezTo>
                  <a:pt x="47" y="41"/>
                  <a:pt x="47" y="41"/>
                  <a:pt x="46" y="41"/>
                </a:cubicBezTo>
                <a:cubicBezTo>
                  <a:pt x="46" y="41"/>
                  <a:pt x="47" y="41"/>
                  <a:pt x="47" y="40"/>
                </a:cubicBezTo>
                <a:cubicBezTo>
                  <a:pt x="47" y="40"/>
                  <a:pt x="47" y="40"/>
                  <a:pt x="47" y="40"/>
                </a:cubicBezTo>
                <a:cubicBezTo>
                  <a:pt x="48" y="40"/>
                  <a:pt x="48" y="40"/>
                  <a:pt x="48" y="39"/>
                </a:cubicBezTo>
                <a:cubicBezTo>
                  <a:pt x="48" y="39"/>
                  <a:pt x="48" y="39"/>
                  <a:pt x="48" y="39"/>
                </a:cubicBezTo>
                <a:cubicBezTo>
                  <a:pt x="49" y="39"/>
                  <a:pt x="49" y="39"/>
                  <a:pt x="49" y="39"/>
                </a:cubicBezTo>
                <a:cubicBezTo>
                  <a:pt x="49" y="40"/>
                  <a:pt x="49" y="40"/>
                  <a:pt x="49" y="41"/>
                </a:cubicBezTo>
                <a:cubicBezTo>
                  <a:pt x="49" y="41"/>
                  <a:pt x="49" y="41"/>
                  <a:pt x="49" y="41"/>
                </a:cubicBezTo>
                <a:cubicBezTo>
                  <a:pt x="49" y="42"/>
                  <a:pt x="49" y="42"/>
                  <a:pt x="48" y="42"/>
                </a:cubicBezTo>
                <a:cubicBezTo>
                  <a:pt x="48" y="42"/>
                  <a:pt x="48" y="42"/>
                  <a:pt x="48" y="42"/>
                </a:cubicBezTo>
                <a:cubicBezTo>
                  <a:pt x="47" y="43"/>
                  <a:pt x="47" y="44"/>
                  <a:pt x="46" y="45"/>
                </a:cubicBezTo>
                <a:cubicBezTo>
                  <a:pt x="45" y="45"/>
                  <a:pt x="44" y="45"/>
                  <a:pt x="42" y="46"/>
                </a:cubicBezTo>
                <a:cubicBezTo>
                  <a:pt x="42" y="46"/>
                  <a:pt x="42" y="46"/>
                  <a:pt x="42" y="46"/>
                </a:cubicBezTo>
                <a:cubicBezTo>
                  <a:pt x="42" y="46"/>
                  <a:pt x="42" y="46"/>
                  <a:pt x="42" y="46"/>
                </a:cubicBezTo>
                <a:cubicBezTo>
                  <a:pt x="41" y="45"/>
                  <a:pt x="40" y="45"/>
                  <a:pt x="39" y="45"/>
                </a:cubicBezTo>
                <a:cubicBezTo>
                  <a:pt x="38" y="44"/>
                  <a:pt x="37" y="43"/>
                  <a:pt x="37" y="42"/>
                </a:cubicBezTo>
                <a:cubicBezTo>
                  <a:pt x="36" y="42"/>
                  <a:pt x="36" y="42"/>
                  <a:pt x="36" y="42"/>
                </a:cubicBezTo>
                <a:cubicBezTo>
                  <a:pt x="36" y="42"/>
                  <a:pt x="36" y="42"/>
                  <a:pt x="36" y="41"/>
                </a:cubicBezTo>
                <a:cubicBezTo>
                  <a:pt x="36" y="41"/>
                  <a:pt x="36" y="41"/>
                  <a:pt x="36" y="41"/>
                </a:cubicBezTo>
                <a:cubicBezTo>
                  <a:pt x="36" y="40"/>
                  <a:pt x="36" y="40"/>
                  <a:pt x="36" y="39"/>
                </a:cubicBezTo>
                <a:cubicBezTo>
                  <a:pt x="36" y="39"/>
                  <a:pt x="36" y="39"/>
                  <a:pt x="36" y="39"/>
                </a:cubicBezTo>
                <a:cubicBezTo>
                  <a:pt x="36" y="39"/>
                  <a:pt x="36" y="39"/>
                  <a:pt x="37" y="39"/>
                </a:cubicBezTo>
                <a:cubicBezTo>
                  <a:pt x="37" y="40"/>
                  <a:pt x="37" y="40"/>
                  <a:pt x="37" y="40"/>
                </a:cubicBezTo>
                <a:cubicBezTo>
                  <a:pt x="37" y="40"/>
                  <a:pt x="38" y="40"/>
                  <a:pt x="38" y="40"/>
                </a:cubicBezTo>
                <a:cubicBezTo>
                  <a:pt x="38" y="41"/>
                  <a:pt x="38" y="41"/>
                  <a:pt x="38" y="41"/>
                </a:cubicBezTo>
                <a:cubicBezTo>
                  <a:pt x="38" y="41"/>
                  <a:pt x="38" y="41"/>
                  <a:pt x="38" y="41"/>
                </a:cubicBezTo>
                <a:cubicBezTo>
                  <a:pt x="38" y="43"/>
                  <a:pt x="40" y="43"/>
                  <a:pt x="41" y="44"/>
                </a:cubicBezTo>
                <a:cubicBezTo>
                  <a:pt x="41" y="37"/>
                  <a:pt x="41" y="37"/>
                  <a:pt x="41" y="37"/>
                </a:cubicBezTo>
                <a:cubicBezTo>
                  <a:pt x="40" y="37"/>
                  <a:pt x="40" y="37"/>
                  <a:pt x="40" y="37"/>
                </a:cubicBezTo>
                <a:cubicBezTo>
                  <a:pt x="40" y="37"/>
                  <a:pt x="39" y="38"/>
                  <a:pt x="39" y="38"/>
                </a:cubicBezTo>
                <a:cubicBezTo>
                  <a:pt x="39" y="38"/>
                  <a:pt x="38" y="37"/>
                  <a:pt x="38" y="37"/>
                </a:cubicBezTo>
                <a:cubicBezTo>
                  <a:pt x="38" y="36"/>
                  <a:pt x="39" y="36"/>
                  <a:pt x="39" y="36"/>
                </a:cubicBezTo>
                <a:cubicBezTo>
                  <a:pt x="40" y="36"/>
                  <a:pt x="40" y="36"/>
                  <a:pt x="40" y="36"/>
                </a:cubicBezTo>
                <a:cubicBezTo>
                  <a:pt x="41" y="36"/>
                  <a:pt x="41" y="36"/>
                  <a:pt x="41" y="36"/>
                </a:cubicBezTo>
                <a:cubicBezTo>
                  <a:pt x="41" y="35"/>
                  <a:pt x="41" y="35"/>
                  <a:pt x="41" y="35"/>
                </a:cubicBezTo>
                <a:cubicBezTo>
                  <a:pt x="41" y="35"/>
                  <a:pt x="40" y="34"/>
                  <a:pt x="40" y="33"/>
                </a:cubicBezTo>
                <a:cubicBezTo>
                  <a:pt x="40" y="33"/>
                  <a:pt x="41" y="32"/>
                  <a:pt x="41" y="32"/>
                </a:cubicBezTo>
                <a:cubicBezTo>
                  <a:pt x="40" y="31"/>
                  <a:pt x="39" y="30"/>
                  <a:pt x="39" y="29"/>
                </a:cubicBezTo>
                <a:cubicBezTo>
                  <a:pt x="40" y="27"/>
                  <a:pt x="41" y="26"/>
                  <a:pt x="43" y="26"/>
                </a:cubicBezTo>
                <a:close/>
              </a:path>
            </a:pathLst>
          </a:custGeom>
          <a:solidFill>
            <a:srgbClr val="455D7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0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394A5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Freeform 22"/>
          <p:cNvSpPr>
            <a:spLocks noEditPoints="1"/>
          </p:cNvSpPr>
          <p:nvPr/>
        </p:nvSpPr>
        <p:spPr bwMode="auto">
          <a:xfrm>
            <a:off x="500034" y="2071678"/>
            <a:ext cx="857256" cy="642942"/>
          </a:xfrm>
          <a:custGeom>
            <a:avLst/>
            <a:gdLst>
              <a:gd name="T0" fmla="*/ 26 w 341"/>
              <a:gd name="T1" fmla="*/ 295 h 347"/>
              <a:gd name="T2" fmla="*/ 28 w 341"/>
              <a:gd name="T3" fmla="*/ 106 h 347"/>
              <a:gd name="T4" fmla="*/ 91 w 341"/>
              <a:gd name="T5" fmla="*/ 3 h 347"/>
              <a:gd name="T6" fmla="*/ 115 w 341"/>
              <a:gd name="T7" fmla="*/ 11 h 347"/>
              <a:gd name="T8" fmla="*/ 318 w 341"/>
              <a:gd name="T9" fmla="*/ 176 h 347"/>
              <a:gd name="T10" fmla="*/ 299 w 341"/>
              <a:gd name="T11" fmla="*/ 214 h 347"/>
              <a:gd name="T12" fmla="*/ 296 w 341"/>
              <a:gd name="T13" fmla="*/ 250 h 347"/>
              <a:gd name="T14" fmla="*/ 301 w 341"/>
              <a:gd name="T15" fmla="*/ 257 h 347"/>
              <a:gd name="T16" fmla="*/ 315 w 341"/>
              <a:gd name="T17" fmla="*/ 311 h 347"/>
              <a:gd name="T18" fmla="*/ 341 w 341"/>
              <a:gd name="T19" fmla="*/ 347 h 347"/>
              <a:gd name="T20" fmla="*/ 7 w 341"/>
              <a:gd name="T21" fmla="*/ 311 h 347"/>
              <a:gd name="T22" fmla="*/ 137 w 341"/>
              <a:gd name="T23" fmla="*/ 311 h 347"/>
              <a:gd name="T24" fmla="*/ 211 w 341"/>
              <a:gd name="T25" fmla="*/ 296 h 347"/>
              <a:gd name="T26" fmla="*/ 134 w 341"/>
              <a:gd name="T27" fmla="*/ 290 h 347"/>
              <a:gd name="T28" fmla="*/ 133 w 341"/>
              <a:gd name="T29" fmla="*/ 296 h 347"/>
              <a:gd name="T30" fmla="*/ 142 w 341"/>
              <a:gd name="T31" fmla="*/ 167 h 347"/>
              <a:gd name="T32" fmla="*/ 141 w 341"/>
              <a:gd name="T33" fmla="*/ 144 h 347"/>
              <a:gd name="T34" fmla="*/ 150 w 341"/>
              <a:gd name="T35" fmla="*/ 125 h 347"/>
              <a:gd name="T36" fmla="*/ 48 w 341"/>
              <a:gd name="T37" fmla="*/ 129 h 347"/>
              <a:gd name="T38" fmla="*/ 46 w 341"/>
              <a:gd name="T39" fmla="*/ 295 h 347"/>
              <a:gd name="T40" fmla="*/ 48 w 341"/>
              <a:gd name="T41" fmla="*/ 311 h 347"/>
              <a:gd name="T42" fmla="*/ 101 w 341"/>
              <a:gd name="T43" fmla="*/ 296 h 347"/>
              <a:gd name="T44" fmla="*/ 142 w 341"/>
              <a:gd name="T45" fmla="*/ 167 h 347"/>
              <a:gd name="T46" fmla="*/ 237 w 341"/>
              <a:gd name="T47" fmla="*/ 296 h 347"/>
              <a:gd name="T48" fmla="*/ 246 w 341"/>
              <a:gd name="T49" fmla="*/ 311 h 347"/>
              <a:gd name="T50" fmla="*/ 257 w 341"/>
              <a:gd name="T51" fmla="*/ 257 h 347"/>
              <a:gd name="T52" fmla="*/ 271 w 341"/>
              <a:gd name="T53" fmla="*/ 250 h 347"/>
              <a:gd name="T54" fmla="*/ 276 w 341"/>
              <a:gd name="T55" fmla="*/ 214 h 347"/>
              <a:gd name="T56" fmla="*/ 273 w 341"/>
              <a:gd name="T57" fmla="*/ 196 h 347"/>
              <a:gd name="T58" fmla="*/ 202 w 341"/>
              <a:gd name="T59" fmla="*/ 167 h 347"/>
              <a:gd name="T60" fmla="*/ 100 w 341"/>
              <a:gd name="T61" fmla="*/ 18 h 347"/>
              <a:gd name="T62" fmla="*/ 82 w 341"/>
              <a:gd name="T63" fmla="*/ 31 h 347"/>
              <a:gd name="T64" fmla="*/ 100 w 341"/>
              <a:gd name="T65" fmla="*/ 18 h 347"/>
              <a:gd name="T66" fmla="*/ 63 w 341"/>
              <a:gd name="T67" fmla="*/ 58 h 347"/>
              <a:gd name="T68" fmla="*/ 90 w 341"/>
              <a:gd name="T69" fmla="*/ 47 h 347"/>
              <a:gd name="T70" fmla="*/ 58 w 341"/>
              <a:gd name="T71" fmla="*/ 67 h 347"/>
              <a:gd name="T72" fmla="*/ 45 w 341"/>
              <a:gd name="T73" fmla="*/ 111 h 347"/>
              <a:gd name="T74" fmla="*/ 58 w 341"/>
              <a:gd name="T75" fmla="*/ 67 h 347"/>
              <a:gd name="T76" fmla="*/ 143 w 341"/>
              <a:gd name="T77" fmla="*/ 231 h 347"/>
              <a:gd name="T78" fmla="*/ 203 w 341"/>
              <a:gd name="T79" fmla="*/ 272 h 347"/>
              <a:gd name="T80" fmla="*/ 195 w 341"/>
              <a:gd name="T81" fmla="*/ 216 h 347"/>
              <a:gd name="T82" fmla="*/ 155 w 341"/>
              <a:gd name="T83" fmla="*/ 216 h 347"/>
              <a:gd name="T84" fmla="*/ 209 w 341"/>
              <a:gd name="T85" fmla="*/ 265 h 347"/>
              <a:gd name="T86" fmla="*/ 153 w 341"/>
              <a:gd name="T87" fmla="*/ 227 h 347"/>
              <a:gd name="T88" fmla="*/ 157 w 341"/>
              <a:gd name="T89" fmla="*/ 183 h 347"/>
              <a:gd name="T90" fmla="*/ 177 w 341"/>
              <a:gd name="T91" fmla="*/ 183 h 3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41" h="347">
                <a:moveTo>
                  <a:pt x="26" y="311"/>
                </a:moveTo>
                <a:cubicBezTo>
                  <a:pt x="26" y="295"/>
                  <a:pt x="26" y="295"/>
                  <a:pt x="26" y="295"/>
                </a:cubicBezTo>
                <a:cubicBezTo>
                  <a:pt x="28" y="295"/>
                  <a:pt x="28" y="295"/>
                  <a:pt x="28" y="295"/>
                </a:cubicBezTo>
                <a:cubicBezTo>
                  <a:pt x="28" y="106"/>
                  <a:pt x="28" y="106"/>
                  <a:pt x="28" y="106"/>
                </a:cubicBezTo>
                <a:cubicBezTo>
                  <a:pt x="29" y="106"/>
                  <a:pt x="29" y="106"/>
                  <a:pt x="29" y="106"/>
                </a:cubicBezTo>
                <a:cubicBezTo>
                  <a:pt x="39" y="65"/>
                  <a:pt x="59" y="31"/>
                  <a:pt x="91" y="3"/>
                </a:cubicBezTo>
                <a:cubicBezTo>
                  <a:pt x="95" y="0"/>
                  <a:pt x="95" y="0"/>
                  <a:pt x="95" y="0"/>
                </a:cubicBezTo>
                <a:cubicBezTo>
                  <a:pt x="115" y="11"/>
                  <a:pt x="115" y="11"/>
                  <a:pt x="115" y="11"/>
                </a:cubicBezTo>
                <a:cubicBezTo>
                  <a:pt x="109" y="56"/>
                  <a:pt x="109" y="56"/>
                  <a:pt x="109" y="56"/>
                </a:cubicBezTo>
                <a:cubicBezTo>
                  <a:pt x="318" y="176"/>
                  <a:pt x="318" y="176"/>
                  <a:pt x="318" y="176"/>
                </a:cubicBezTo>
                <a:cubicBezTo>
                  <a:pt x="299" y="209"/>
                  <a:pt x="299" y="209"/>
                  <a:pt x="299" y="209"/>
                </a:cubicBezTo>
                <a:cubicBezTo>
                  <a:pt x="299" y="214"/>
                  <a:pt x="299" y="214"/>
                  <a:pt x="299" y="214"/>
                </a:cubicBezTo>
                <a:cubicBezTo>
                  <a:pt x="296" y="214"/>
                  <a:pt x="296" y="214"/>
                  <a:pt x="296" y="214"/>
                </a:cubicBezTo>
                <a:cubicBezTo>
                  <a:pt x="296" y="250"/>
                  <a:pt x="296" y="250"/>
                  <a:pt x="296" y="250"/>
                </a:cubicBezTo>
                <a:cubicBezTo>
                  <a:pt x="301" y="250"/>
                  <a:pt x="301" y="250"/>
                  <a:pt x="301" y="250"/>
                </a:cubicBezTo>
                <a:cubicBezTo>
                  <a:pt x="301" y="257"/>
                  <a:pt x="301" y="257"/>
                  <a:pt x="301" y="257"/>
                </a:cubicBezTo>
                <a:cubicBezTo>
                  <a:pt x="315" y="257"/>
                  <a:pt x="315" y="257"/>
                  <a:pt x="315" y="257"/>
                </a:cubicBezTo>
                <a:cubicBezTo>
                  <a:pt x="315" y="311"/>
                  <a:pt x="315" y="311"/>
                  <a:pt x="315" y="311"/>
                </a:cubicBezTo>
                <a:cubicBezTo>
                  <a:pt x="334" y="311"/>
                  <a:pt x="334" y="311"/>
                  <a:pt x="334" y="311"/>
                </a:cubicBezTo>
                <a:cubicBezTo>
                  <a:pt x="341" y="347"/>
                  <a:pt x="341" y="347"/>
                  <a:pt x="341" y="347"/>
                </a:cubicBezTo>
                <a:cubicBezTo>
                  <a:pt x="0" y="347"/>
                  <a:pt x="0" y="347"/>
                  <a:pt x="0" y="347"/>
                </a:cubicBezTo>
                <a:cubicBezTo>
                  <a:pt x="7" y="311"/>
                  <a:pt x="7" y="311"/>
                  <a:pt x="7" y="311"/>
                </a:cubicBezTo>
                <a:cubicBezTo>
                  <a:pt x="26" y="311"/>
                  <a:pt x="26" y="311"/>
                  <a:pt x="26" y="311"/>
                </a:cubicBezTo>
                <a:close/>
                <a:moveTo>
                  <a:pt x="137" y="311"/>
                </a:moveTo>
                <a:cubicBezTo>
                  <a:pt x="207" y="311"/>
                  <a:pt x="207" y="311"/>
                  <a:pt x="207" y="311"/>
                </a:cubicBezTo>
                <a:cubicBezTo>
                  <a:pt x="211" y="296"/>
                  <a:pt x="211" y="296"/>
                  <a:pt x="211" y="296"/>
                </a:cubicBezTo>
                <a:cubicBezTo>
                  <a:pt x="209" y="290"/>
                  <a:pt x="209" y="290"/>
                  <a:pt x="209" y="290"/>
                </a:cubicBezTo>
                <a:cubicBezTo>
                  <a:pt x="134" y="290"/>
                  <a:pt x="134" y="290"/>
                  <a:pt x="134" y="290"/>
                </a:cubicBezTo>
                <a:cubicBezTo>
                  <a:pt x="132" y="296"/>
                  <a:pt x="132" y="296"/>
                  <a:pt x="132" y="296"/>
                </a:cubicBezTo>
                <a:cubicBezTo>
                  <a:pt x="133" y="296"/>
                  <a:pt x="133" y="296"/>
                  <a:pt x="133" y="296"/>
                </a:cubicBezTo>
                <a:cubicBezTo>
                  <a:pt x="137" y="311"/>
                  <a:pt x="137" y="311"/>
                  <a:pt x="137" y="311"/>
                </a:cubicBezTo>
                <a:close/>
                <a:moveTo>
                  <a:pt x="142" y="167"/>
                </a:moveTo>
                <a:cubicBezTo>
                  <a:pt x="141" y="167"/>
                  <a:pt x="141" y="167"/>
                  <a:pt x="141" y="167"/>
                </a:cubicBezTo>
                <a:cubicBezTo>
                  <a:pt x="141" y="144"/>
                  <a:pt x="141" y="144"/>
                  <a:pt x="141" y="144"/>
                </a:cubicBezTo>
                <a:cubicBezTo>
                  <a:pt x="150" y="144"/>
                  <a:pt x="150" y="144"/>
                  <a:pt x="150" y="144"/>
                </a:cubicBezTo>
                <a:cubicBezTo>
                  <a:pt x="150" y="125"/>
                  <a:pt x="150" y="125"/>
                  <a:pt x="150" y="125"/>
                </a:cubicBezTo>
                <a:cubicBezTo>
                  <a:pt x="85" y="87"/>
                  <a:pt x="85" y="87"/>
                  <a:pt x="85" y="87"/>
                </a:cubicBezTo>
                <a:cubicBezTo>
                  <a:pt x="48" y="129"/>
                  <a:pt x="48" y="129"/>
                  <a:pt x="48" y="129"/>
                </a:cubicBezTo>
                <a:cubicBezTo>
                  <a:pt x="46" y="127"/>
                  <a:pt x="46" y="127"/>
                  <a:pt x="46" y="127"/>
                </a:cubicBezTo>
                <a:cubicBezTo>
                  <a:pt x="46" y="295"/>
                  <a:pt x="46" y="295"/>
                  <a:pt x="46" y="295"/>
                </a:cubicBezTo>
                <a:cubicBezTo>
                  <a:pt x="48" y="295"/>
                  <a:pt x="48" y="295"/>
                  <a:pt x="48" y="295"/>
                </a:cubicBezTo>
                <a:cubicBezTo>
                  <a:pt x="48" y="311"/>
                  <a:pt x="48" y="311"/>
                  <a:pt x="48" y="311"/>
                </a:cubicBezTo>
                <a:cubicBezTo>
                  <a:pt x="97" y="311"/>
                  <a:pt x="97" y="311"/>
                  <a:pt x="97" y="311"/>
                </a:cubicBezTo>
                <a:cubicBezTo>
                  <a:pt x="101" y="296"/>
                  <a:pt x="101" y="296"/>
                  <a:pt x="101" y="296"/>
                </a:cubicBezTo>
                <a:cubicBezTo>
                  <a:pt x="106" y="296"/>
                  <a:pt x="106" y="296"/>
                  <a:pt x="106" y="296"/>
                </a:cubicBezTo>
                <a:cubicBezTo>
                  <a:pt x="142" y="167"/>
                  <a:pt x="142" y="167"/>
                  <a:pt x="142" y="167"/>
                </a:cubicBezTo>
                <a:close/>
                <a:moveTo>
                  <a:pt x="200" y="167"/>
                </a:moveTo>
                <a:cubicBezTo>
                  <a:pt x="237" y="296"/>
                  <a:pt x="237" y="296"/>
                  <a:pt x="237" y="296"/>
                </a:cubicBezTo>
                <a:cubicBezTo>
                  <a:pt x="242" y="296"/>
                  <a:pt x="242" y="296"/>
                  <a:pt x="242" y="296"/>
                </a:cubicBezTo>
                <a:cubicBezTo>
                  <a:pt x="246" y="311"/>
                  <a:pt x="246" y="311"/>
                  <a:pt x="246" y="311"/>
                </a:cubicBezTo>
                <a:cubicBezTo>
                  <a:pt x="257" y="311"/>
                  <a:pt x="257" y="311"/>
                  <a:pt x="257" y="311"/>
                </a:cubicBezTo>
                <a:cubicBezTo>
                  <a:pt x="257" y="257"/>
                  <a:pt x="257" y="257"/>
                  <a:pt x="257" y="257"/>
                </a:cubicBezTo>
                <a:cubicBezTo>
                  <a:pt x="271" y="257"/>
                  <a:pt x="271" y="257"/>
                  <a:pt x="271" y="257"/>
                </a:cubicBezTo>
                <a:cubicBezTo>
                  <a:pt x="271" y="250"/>
                  <a:pt x="271" y="250"/>
                  <a:pt x="271" y="250"/>
                </a:cubicBezTo>
                <a:cubicBezTo>
                  <a:pt x="276" y="250"/>
                  <a:pt x="276" y="250"/>
                  <a:pt x="276" y="250"/>
                </a:cubicBezTo>
                <a:cubicBezTo>
                  <a:pt x="276" y="214"/>
                  <a:pt x="276" y="214"/>
                  <a:pt x="276" y="214"/>
                </a:cubicBezTo>
                <a:cubicBezTo>
                  <a:pt x="273" y="214"/>
                  <a:pt x="273" y="214"/>
                  <a:pt x="273" y="214"/>
                </a:cubicBezTo>
                <a:cubicBezTo>
                  <a:pt x="273" y="196"/>
                  <a:pt x="273" y="196"/>
                  <a:pt x="273" y="196"/>
                </a:cubicBezTo>
                <a:cubicBezTo>
                  <a:pt x="202" y="155"/>
                  <a:pt x="202" y="155"/>
                  <a:pt x="202" y="155"/>
                </a:cubicBezTo>
                <a:cubicBezTo>
                  <a:pt x="202" y="167"/>
                  <a:pt x="202" y="167"/>
                  <a:pt x="202" y="167"/>
                </a:cubicBezTo>
                <a:cubicBezTo>
                  <a:pt x="200" y="167"/>
                  <a:pt x="200" y="167"/>
                  <a:pt x="200" y="167"/>
                </a:cubicBezTo>
                <a:close/>
                <a:moveTo>
                  <a:pt x="100" y="18"/>
                </a:moveTo>
                <a:cubicBezTo>
                  <a:pt x="96" y="16"/>
                  <a:pt x="96" y="16"/>
                  <a:pt x="96" y="16"/>
                </a:cubicBezTo>
                <a:cubicBezTo>
                  <a:pt x="91" y="21"/>
                  <a:pt x="86" y="26"/>
                  <a:pt x="82" y="31"/>
                </a:cubicBezTo>
                <a:cubicBezTo>
                  <a:pt x="93" y="37"/>
                  <a:pt x="93" y="37"/>
                  <a:pt x="93" y="37"/>
                </a:cubicBezTo>
                <a:cubicBezTo>
                  <a:pt x="95" y="31"/>
                  <a:pt x="97" y="25"/>
                  <a:pt x="100" y="18"/>
                </a:cubicBezTo>
                <a:close/>
                <a:moveTo>
                  <a:pt x="76" y="39"/>
                </a:moveTo>
                <a:cubicBezTo>
                  <a:pt x="71" y="45"/>
                  <a:pt x="66" y="51"/>
                  <a:pt x="63" y="58"/>
                </a:cubicBezTo>
                <a:cubicBezTo>
                  <a:pt x="82" y="70"/>
                  <a:pt x="82" y="70"/>
                  <a:pt x="82" y="70"/>
                </a:cubicBezTo>
                <a:cubicBezTo>
                  <a:pt x="84" y="62"/>
                  <a:pt x="87" y="54"/>
                  <a:pt x="90" y="47"/>
                </a:cubicBezTo>
                <a:cubicBezTo>
                  <a:pt x="76" y="39"/>
                  <a:pt x="76" y="39"/>
                  <a:pt x="76" y="39"/>
                </a:cubicBezTo>
                <a:close/>
                <a:moveTo>
                  <a:pt x="58" y="67"/>
                </a:moveTo>
                <a:cubicBezTo>
                  <a:pt x="51" y="81"/>
                  <a:pt x="46" y="95"/>
                  <a:pt x="42" y="110"/>
                </a:cubicBezTo>
                <a:cubicBezTo>
                  <a:pt x="45" y="111"/>
                  <a:pt x="45" y="111"/>
                  <a:pt x="45" y="111"/>
                </a:cubicBezTo>
                <a:cubicBezTo>
                  <a:pt x="75" y="77"/>
                  <a:pt x="75" y="77"/>
                  <a:pt x="75" y="77"/>
                </a:cubicBezTo>
                <a:cubicBezTo>
                  <a:pt x="58" y="67"/>
                  <a:pt x="58" y="67"/>
                  <a:pt x="58" y="67"/>
                </a:cubicBezTo>
                <a:close/>
                <a:moveTo>
                  <a:pt x="203" y="272"/>
                </a:moveTo>
                <a:cubicBezTo>
                  <a:pt x="143" y="231"/>
                  <a:pt x="143" y="231"/>
                  <a:pt x="143" y="231"/>
                </a:cubicBezTo>
                <a:cubicBezTo>
                  <a:pt x="132" y="272"/>
                  <a:pt x="132" y="272"/>
                  <a:pt x="132" y="272"/>
                </a:cubicBezTo>
                <a:cubicBezTo>
                  <a:pt x="203" y="272"/>
                  <a:pt x="203" y="272"/>
                  <a:pt x="203" y="272"/>
                </a:cubicBezTo>
                <a:close/>
                <a:moveTo>
                  <a:pt x="155" y="216"/>
                </a:moveTo>
                <a:cubicBezTo>
                  <a:pt x="195" y="216"/>
                  <a:pt x="195" y="216"/>
                  <a:pt x="195" y="216"/>
                </a:cubicBezTo>
                <a:cubicBezTo>
                  <a:pt x="187" y="186"/>
                  <a:pt x="187" y="186"/>
                  <a:pt x="187" y="186"/>
                </a:cubicBezTo>
                <a:cubicBezTo>
                  <a:pt x="155" y="216"/>
                  <a:pt x="155" y="216"/>
                  <a:pt x="155" y="216"/>
                </a:cubicBezTo>
                <a:close/>
                <a:moveTo>
                  <a:pt x="153" y="227"/>
                </a:moveTo>
                <a:cubicBezTo>
                  <a:pt x="209" y="265"/>
                  <a:pt x="209" y="265"/>
                  <a:pt x="209" y="265"/>
                </a:cubicBezTo>
                <a:cubicBezTo>
                  <a:pt x="198" y="227"/>
                  <a:pt x="198" y="227"/>
                  <a:pt x="198" y="227"/>
                </a:cubicBezTo>
                <a:cubicBezTo>
                  <a:pt x="153" y="227"/>
                  <a:pt x="153" y="227"/>
                  <a:pt x="153" y="227"/>
                </a:cubicBezTo>
                <a:close/>
                <a:moveTo>
                  <a:pt x="177" y="183"/>
                </a:moveTo>
                <a:cubicBezTo>
                  <a:pt x="157" y="183"/>
                  <a:pt x="157" y="183"/>
                  <a:pt x="157" y="183"/>
                </a:cubicBezTo>
                <a:cubicBezTo>
                  <a:pt x="150" y="209"/>
                  <a:pt x="150" y="209"/>
                  <a:pt x="150" y="209"/>
                </a:cubicBezTo>
                <a:lnTo>
                  <a:pt x="177" y="183"/>
                </a:lnTo>
                <a:close/>
              </a:path>
            </a:pathLst>
          </a:custGeom>
          <a:solidFill>
            <a:srgbClr val="455D7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0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394A5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1714480" y="1042744"/>
            <a:ext cx="1857388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088" rtl="0" eaLnBrk="1" fontAlgn="auto" latinLnBrk="0" hangingPunct="1">
              <a:lnSpc>
                <a:spcPts val="1200"/>
              </a:lnSpc>
              <a:buClrTx/>
              <a:buSzTx/>
              <a:tabLst/>
              <a:defRPr/>
            </a:pPr>
            <a:endParaRPr kumimoji="0" lang="ru-RU" sz="1400" b="1" i="0" u="none" strike="noStrike" kern="1200" cap="none" spc="0" normalizeH="0" noProof="0" dirty="0" smtClean="0">
              <a:ln>
                <a:noFill/>
              </a:ln>
              <a:solidFill>
                <a:srgbClr val="577187"/>
              </a:solidFill>
              <a:effectLst/>
              <a:uLnTx/>
              <a:uFillTx/>
              <a:latin typeface="Cambria" pitchFamily="18" charset="0"/>
              <a:ea typeface="Verdana" pitchFamily="34" charset="0"/>
              <a:cs typeface="Verdana" pitchFamily="34" charset="0"/>
            </a:endParaRPr>
          </a:p>
          <a:p>
            <a:pPr algn="ctr" defTabSz="914088">
              <a:lnSpc>
                <a:spcPts val="1200"/>
              </a:lnSpc>
              <a:buFont typeface="Arial" pitchFamily="34" charset="0"/>
              <a:buChar char="•"/>
              <a:defRPr/>
            </a:pPr>
            <a:r>
              <a:rPr lang="ru-RU" sz="1400" b="1" dirty="0" smtClean="0">
                <a:solidFill>
                  <a:srgbClr val="577187"/>
                </a:solidFill>
                <a:latin typeface="Cambria" pitchFamily="18" charset="0"/>
                <a:ea typeface="Verdana" pitchFamily="34" charset="0"/>
                <a:cs typeface="Verdana" pitchFamily="34" charset="0"/>
              </a:rPr>
              <a:t>Грузополучатель</a:t>
            </a:r>
          </a:p>
          <a:p>
            <a:pPr algn="ctr" defTabSz="914088">
              <a:lnSpc>
                <a:spcPts val="1200"/>
              </a:lnSpc>
              <a:defRPr/>
            </a:pPr>
            <a:endParaRPr lang="ru-RU" sz="1400" b="1" dirty="0" smtClean="0">
              <a:solidFill>
                <a:srgbClr val="577187"/>
              </a:solidFill>
              <a:latin typeface="Cambria" pitchFamily="18" charset="0"/>
              <a:ea typeface="Verdana" pitchFamily="34" charset="0"/>
              <a:cs typeface="Verdana" pitchFamily="34" charset="0"/>
            </a:endParaRPr>
          </a:p>
          <a:p>
            <a:pPr lvl="0" algn="ctr" defTabSz="914088">
              <a:lnSpc>
                <a:spcPts val="1200"/>
              </a:lnSpc>
              <a:buFont typeface="Arial" pitchFamily="34" charset="0"/>
              <a:buChar char="•"/>
              <a:defRPr/>
            </a:pPr>
            <a:r>
              <a:rPr lang="ru-RU" sz="1400" b="1" dirty="0" smtClean="0">
                <a:solidFill>
                  <a:srgbClr val="577187"/>
                </a:solidFill>
                <a:latin typeface="Cambria" pitchFamily="18" charset="0"/>
                <a:ea typeface="Verdana" pitchFamily="34" charset="0"/>
                <a:cs typeface="Verdana" pitchFamily="34" charset="0"/>
              </a:rPr>
              <a:t>Порт</a:t>
            </a:r>
          </a:p>
          <a:p>
            <a:pPr lvl="0" algn="ctr" defTabSz="914088">
              <a:lnSpc>
                <a:spcPts val="1200"/>
              </a:lnSpc>
              <a:defRPr/>
            </a:pPr>
            <a:endParaRPr lang="ru-RU" sz="1400" b="1" dirty="0" smtClean="0">
              <a:solidFill>
                <a:srgbClr val="577187"/>
              </a:solidFill>
              <a:latin typeface="Cambria" pitchFamily="18" charset="0"/>
              <a:ea typeface="Verdana" pitchFamily="34" charset="0"/>
              <a:cs typeface="Verdana" pitchFamily="34" charset="0"/>
            </a:endParaRPr>
          </a:p>
          <a:p>
            <a:pPr algn="ctr" defTabSz="914088">
              <a:lnSpc>
                <a:spcPts val="1200"/>
              </a:lnSpc>
              <a:buFont typeface="Arial" pitchFamily="34" charset="0"/>
              <a:buChar char="•"/>
              <a:defRPr/>
            </a:pPr>
            <a:r>
              <a:rPr lang="ru-RU" sz="1400" b="1" dirty="0" smtClean="0">
                <a:solidFill>
                  <a:srgbClr val="577187"/>
                </a:solidFill>
                <a:latin typeface="Cambria" pitchFamily="18" charset="0"/>
                <a:ea typeface="Verdana" pitchFamily="34" charset="0"/>
                <a:cs typeface="Verdana" pitchFamily="34" charset="0"/>
              </a:rPr>
              <a:t>Владелец подъездного пути</a:t>
            </a:r>
          </a:p>
          <a:p>
            <a:pPr algn="ctr" defTabSz="914088">
              <a:buFont typeface="Arial" pitchFamily="34" charset="0"/>
              <a:buChar char="•"/>
              <a:defRPr/>
            </a:pPr>
            <a:endParaRPr lang="ru-RU" sz="1400" b="1" dirty="0" smtClean="0">
              <a:solidFill>
                <a:srgbClr val="577187"/>
              </a:solidFill>
              <a:latin typeface="Cambria" pitchFamily="18" charset="0"/>
              <a:ea typeface="Verdana" pitchFamily="34" charset="0"/>
              <a:cs typeface="Verdana" pitchFamily="34" charset="0"/>
            </a:endParaRPr>
          </a:p>
          <a:p>
            <a:pPr marL="0" marR="0" lvl="0" indent="0" algn="ctr" defTabSz="9140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577187"/>
              </a:solidFill>
              <a:effectLst/>
              <a:uLnTx/>
              <a:uFillTx/>
              <a:latin typeface="Cambria" pitchFamily="18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7" name="Freeform 157"/>
          <p:cNvSpPr>
            <a:spLocks noEditPoints="1"/>
          </p:cNvSpPr>
          <p:nvPr/>
        </p:nvSpPr>
        <p:spPr bwMode="auto">
          <a:xfrm>
            <a:off x="6000760" y="2143116"/>
            <a:ext cx="785818" cy="571504"/>
          </a:xfrm>
          <a:custGeom>
            <a:avLst/>
            <a:gdLst>
              <a:gd name="T0" fmla="*/ 10 w 94"/>
              <a:gd name="T1" fmla="*/ 45 h 69"/>
              <a:gd name="T2" fmla="*/ 28 w 94"/>
              <a:gd name="T3" fmla="*/ 45 h 69"/>
              <a:gd name="T4" fmla="*/ 4 w 94"/>
              <a:gd name="T5" fmla="*/ 30 h 69"/>
              <a:gd name="T6" fmla="*/ 65 w 94"/>
              <a:gd name="T7" fmla="*/ 50 h 69"/>
              <a:gd name="T8" fmla="*/ 77 w 94"/>
              <a:gd name="T9" fmla="*/ 52 h 69"/>
              <a:gd name="T10" fmla="*/ 86 w 94"/>
              <a:gd name="T11" fmla="*/ 46 h 69"/>
              <a:gd name="T12" fmla="*/ 94 w 94"/>
              <a:gd name="T13" fmla="*/ 59 h 69"/>
              <a:gd name="T14" fmla="*/ 73 w 94"/>
              <a:gd name="T15" fmla="*/ 69 h 69"/>
              <a:gd name="T16" fmla="*/ 23 w 94"/>
              <a:gd name="T17" fmla="*/ 59 h 69"/>
              <a:gd name="T18" fmla="*/ 3 w 94"/>
              <a:gd name="T19" fmla="*/ 49 h 69"/>
              <a:gd name="T20" fmla="*/ 22 w 94"/>
              <a:gd name="T21" fmla="*/ 49 h 69"/>
              <a:gd name="T22" fmla="*/ 28 w 94"/>
              <a:gd name="T23" fmla="*/ 52 h 69"/>
              <a:gd name="T24" fmla="*/ 45 w 94"/>
              <a:gd name="T25" fmla="*/ 57 h 69"/>
              <a:gd name="T26" fmla="*/ 45 w 94"/>
              <a:gd name="T27" fmla="*/ 49 h 69"/>
              <a:gd name="T28" fmla="*/ 51 w 94"/>
              <a:gd name="T29" fmla="*/ 47 h 69"/>
              <a:gd name="T30" fmla="*/ 51 w 94"/>
              <a:gd name="T31" fmla="*/ 51 h 69"/>
              <a:gd name="T32" fmla="*/ 60 w 94"/>
              <a:gd name="T33" fmla="*/ 47 h 69"/>
              <a:gd name="T34" fmla="*/ 89 w 94"/>
              <a:gd name="T35" fmla="*/ 30 h 69"/>
              <a:gd name="T36" fmla="*/ 70 w 94"/>
              <a:gd name="T37" fmla="*/ 30 h 69"/>
              <a:gd name="T38" fmla="*/ 70 w 94"/>
              <a:gd name="T39" fmla="*/ 33 h 69"/>
              <a:gd name="T40" fmla="*/ 71 w 94"/>
              <a:gd name="T41" fmla="*/ 40 h 69"/>
              <a:gd name="T42" fmla="*/ 72 w 94"/>
              <a:gd name="T43" fmla="*/ 41 h 69"/>
              <a:gd name="T44" fmla="*/ 87 w 94"/>
              <a:gd name="T45" fmla="*/ 41 h 69"/>
              <a:gd name="T46" fmla="*/ 88 w 94"/>
              <a:gd name="T47" fmla="*/ 34 h 69"/>
              <a:gd name="T48" fmla="*/ 89 w 94"/>
              <a:gd name="T49" fmla="*/ 31 h 69"/>
              <a:gd name="T50" fmla="*/ 63 w 94"/>
              <a:gd name="T51" fmla="*/ 24 h 69"/>
              <a:gd name="T52" fmla="*/ 33 w 94"/>
              <a:gd name="T53" fmla="*/ 14 h 69"/>
              <a:gd name="T54" fmla="*/ 36 w 94"/>
              <a:gd name="T55" fmla="*/ 33 h 69"/>
              <a:gd name="T56" fmla="*/ 42 w 94"/>
              <a:gd name="T57" fmla="*/ 43 h 69"/>
              <a:gd name="T58" fmla="*/ 49 w 94"/>
              <a:gd name="T59" fmla="*/ 44 h 69"/>
              <a:gd name="T60" fmla="*/ 55 w 94"/>
              <a:gd name="T61" fmla="*/ 43 h 69"/>
              <a:gd name="T62" fmla="*/ 61 w 94"/>
              <a:gd name="T63" fmla="*/ 33 h 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94" h="69">
                <a:moveTo>
                  <a:pt x="2" y="45"/>
                </a:moveTo>
                <a:cubicBezTo>
                  <a:pt x="10" y="45"/>
                  <a:pt x="10" y="45"/>
                  <a:pt x="10" y="45"/>
                </a:cubicBezTo>
                <a:cubicBezTo>
                  <a:pt x="13" y="48"/>
                  <a:pt x="17" y="48"/>
                  <a:pt x="20" y="45"/>
                </a:cubicBezTo>
                <a:cubicBezTo>
                  <a:pt x="28" y="45"/>
                  <a:pt x="28" y="45"/>
                  <a:pt x="28" y="45"/>
                </a:cubicBezTo>
                <a:cubicBezTo>
                  <a:pt x="27" y="40"/>
                  <a:pt x="26" y="35"/>
                  <a:pt x="26" y="30"/>
                </a:cubicBezTo>
                <a:cubicBezTo>
                  <a:pt x="22" y="19"/>
                  <a:pt x="7" y="20"/>
                  <a:pt x="4" y="30"/>
                </a:cubicBezTo>
                <a:cubicBezTo>
                  <a:pt x="2" y="45"/>
                  <a:pt x="2" y="45"/>
                  <a:pt x="2" y="45"/>
                </a:cubicBezTo>
                <a:close/>
                <a:moveTo>
                  <a:pt x="65" y="50"/>
                </a:moveTo>
                <a:cubicBezTo>
                  <a:pt x="73" y="46"/>
                  <a:pt x="73" y="46"/>
                  <a:pt x="73" y="46"/>
                </a:cubicBezTo>
                <a:cubicBezTo>
                  <a:pt x="77" y="52"/>
                  <a:pt x="77" y="52"/>
                  <a:pt x="77" y="52"/>
                </a:cubicBezTo>
                <a:cubicBezTo>
                  <a:pt x="82" y="52"/>
                  <a:pt x="82" y="52"/>
                  <a:pt x="82" y="52"/>
                </a:cubicBezTo>
                <a:cubicBezTo>
                  <a:pt x="86" y="46"/>
                  <a:pt x="86" y="46"/>
                  <a:pt x="86" y="46"/>
                </a:cubicBezTo>
                <a:cubicBezTo>
                  <a:pt x="94" y="50"/>
                  <a:pt x="94" y="50"/>
                  <a:pt x="94" y="50"/>
                </a:cubicBezTo>
                <a:cubicBezTo>
                  <a:pt x="94" y="59"/>
                  <a:pt x="94" y="59"/>
                  <a:pt x="94" y="59"/>
                </a:cubicBezTo>
                <a:cubicBezTo>
                  <a:pt x="73" y="59"/>
                  <a:pt x="73" y="59"/>
                  <a:pt x="73" y="59"/>
                </a:cubicBezTo>
                <a:cubicBezTo>
                  <a:pt x="73" y="69"/>
                  <a:pt x="73" y="69"/>
                  <a:pt x="73" y="69"/>
                </a:cubicBezTo>
                <a:cubicBezTo>
                  <a:pt x="23" y="69"/>
                  <a:pt x="23" y="69"/>
                  <a:pt x="23" y="69"/>
                </a:cubicBezTo>
                <a:cubicBezTo>
                  <a:pt x="23" y="59"/>
                  <a:pt x="23" y="59"/>
                  <a:pt x="23" y="59"/>
                </a:cubicBezTo>
                <a:cubicBezTo>
                  <a:pt x="0" y="59"/>
                  <a:pt x="0" y="59"/>
                  <a:pt x="0" y="59"/>
                </a:cubicBezTo>
                <a:cubicBezTo>
                  <a:pt x="0" y="55"/>
                  <a:pt x="1" y="52"/>
                  <a:pt x="3" y="49"/>
                </a:cubicBezTo>
                <a:cubicBezTo>
                  <a:pt x="5" y="49"/>
                  <a:pt x="7" y="49"/>
                  <a:pt x="8" y="49"/>
                </a:cubicBezTo>
                <a:cubicBezTo>
                  <a:pt x="13" y="54"/>
                  <a:pt x="17" y="54"/>
                  <a:pt x="22" y="49"/>
                </a:cubicBezTo>
                <a:cubicBezTo>
                  <a:pt x="23" y="49"/>
                  <a:pt x="25" y="49"/>
                  <a:pt x="27" y="49"/>
                </a:cubicBezTo>
                <a:cubicBezTo>
                  <a:pt x="27" y="50"/>
                  <a:pt x="28" y="51"/>
                  <a:pt x="28" y="52"/>
                </a:cubicBezTo>
                <a:cubicBezTo>
                  <a:pt x="37" y="47"/>
                  <a:pt x="37" y="47"/>
                  <a:pt x="37" y="47"/>
                </a:cubicBezTo>
                <a:cubicBezTo>
                  <a:pt x="45" y="57"/>
                  <a:pt x="45" y="57"/>
                  <a:pt x="45" y="57"/>
                </a:cubicBezTo>
                <a:cubicBezTo>
                  <a:pt x="47" y="51"/>
                  <a:pt x="47" y="51"/>
                  <a:pt x="47" y="51"/>
                </a:cubicBezTo>
                <a:cubicBezTo>
                  <a:pt x="45" y="49"/>
                  <a:pt x="45" y="49"/>
                  <a:pt x="45" y="49"/>
                </a:cubicBezTo>
                <a:cubicBezTo>
                  <a:pt x="47" y="47"/>
                  <a:pt x="47" y="47"/>
                  <a:pt x="47" y="47"/>
                </a:cubicBezTo>
                <a:cubicBezTo>
                  <a:pt x="51" y="47"/>
                  <a:pt x="51" y="47"/>
                  <a:pt x="51" y="47"/>
                </a:cubicBezTo>
                <a:cubicBezTo>
                  <a:pt x="52" y="49"/>
                  <a:pt x="52" y="49"/>
                  <a:pt x="52" y="49"/>
                </a:cubicBezTo>
                <a:cubicBezTo>
                  <a:pt x="51" y="51"/>
                  <a:pt x="51" y="51"/>
                  <a:pt x="51" y="51"/>
                </a:cubicBezTo>
                <a:cubicBezTo>
                  <a:pt x="53" y="56"/>
                  <a:pt x="53" y="56"/>
                  <a:pt x="53" y="56"/>
                </a:cubicBezTo>
                <a:cubicBezTo>
                  <a:pt x="60" y="47"/>
                  <a:pt x="60" y="47"/>
                  <a:pt x="60" y="47"/>
                </a:cubicBezTo>
                <a:cubicBezTo>
                  <a:pt x="65" y="50"/>
                  <a:pt x="65" y="50"/>
                  <a:pt x="65" y="50"/>
                </a:cubicBezTo>
                <a:close/>
                <a:moveTo>
                  <a:pt x="89" y="30"/>
                </a:moveTo>
                <a:cubicBezTo>
                  <a:pt x="89" y="24"/>
                  <a:pt x="85" y="21"/>
                  <a:pt x="79" y="20"/>
                </a:cubicBezTo>
                <a:cubicBezTo>
                  <a:pt x="74" y="20"/>
                  <a:pt x="70" y="24"/>
                  <a:pt x="70" y="30"/>
                </a:cubicBezTo>
                <a:cubicBezTo>
                  <a:pt x="70" y="30"/>
                  <a:pt x="70" y="30"/>
                  <a:pt x="70" y="30"/>
                </a:cubicBezTo>
                <a:cubicBezTo>
                  <a:pt x="70" y="31"/>
                  <a:pt x="70" y="32"/>
                  <a:pt x="70" y="33"/>
                </a:cubicBezTo>
                <a:cubicBezTo>
                  <a:pt x="70" y="33"/>
                  <a:pt x="70" y="34"/>
                  <a:pt x="71" y="34"/>
                </a:cubicBezTo>
                <a:cubicBezTo>
                  <a:pt x="71" y="40"/>
                  <a:pt x="71" y="40"/>
                  <a:pt x="71" y="40"/>
                </a:cubicBezTo>
                <a:cubicBezTo>
                  <a:pt x="71" y="41"/>
                  <a:pt x="71" y="41"/>
                  <a:pt x="71" y="41"/>
                </a:cubicBezTo>
                <a:cubicBezTo>
                  <a:pt x="72" y="41"/>
                  <a:pt x="72" y="41"/>
                  <a:pt x="72" y="41"/>
                </a:cubicBezTo>
                <a:cubicBezTo>
                  <a:pt x="77" y="46"/>
                  <a:pt x="81" y="45"/>
                  <a:pt x="87" y="41"/>
                </a:cubicBezTo>
                <a:cubicBezTo>
                  <a:pt x="87" y="41"/>
                  <a:pt x="87" y="41"/>
                  <a:pt x="87" y="41"/>
                </a:cubicBezTo>
                <a:cubicBezTo>
                  <a:pt x="87" y="40"/>
                  <a:pt x="87" y="40"/>
                  <a:pt x="87" y="40"/>
                </a:cubicBezTo>
                <a:cubicBezTo>
                  <a:pt x="88" y="34"/>
                  <a:pt x="88" y="34"/>
                  <a:pt x="88" y="34"/>
                </a:cubicBezTo>
                <a:cubicBezTo>
                  <a:pt x="88" y="34"/>
                  <a:pt x="89" y="33"/>
                  <a:pt x="89" y="33"/>
                </a:cubicBezTo>
                <a:cubicBezTo>
                  <a:pt x="89" y="33"/>
                  <a:pt x="89" y="31"/>
                  <a:pt x="89" y="31"/>
                </a:cubicBezTo>
                <a:cubicBezTo>
                  <a:pt x="89" y="30"/>
                  <a:pt x="89" y="30"/>
                  <a:pt x="89" y="30"/>
                </a:cubicBezTo>
                <a:close/>
                <a:moveTo>
                  <a:pt x="63" y="24"/>
                </a:moveTo>
                <a:cubicBezTo>
                  <a:pt x="66" y="14"/>
                  <a:pt x="66" y="14"/>
                  <a:pt x="66" y="14"/>
                </a:cubicBezTo>
                <a:cubicBezTo>
                  <a:pt x="59" y="13"/>
                  <a:pt x="47" y="0"/>
                  <a:pt x="33" y="14"/>
                </a:cubicBezTo>
                <a:cubicBezTo>
                  <a:pt x="35" y="24"/>
                  <a:pt x="35" y="24"/>
                  <a:pt x="35" y="24"/>
                </a:cubicBezTo>
                <a:cubicBezTo>
                  <a:pt x="35" y="27"/>
                  <a:pt x="35" y="30"/>
                  <a:pt x="36" y="33"/>
                </a:cubicBezTo>
                <a:cubicBezTo>
                  <a:pt x="37" y="37"/>
                  <a:pt x="39" y="40"/>
                  <a:pt x="41" y="43"/>
                </a:cubicBezTo>
                <a:cubicBezTo>
                  <a:pt x="42" y="43"/>
                  <a:pt x="42" y="43"/>
                  <a:pt x="42" y="43"/>
                </a:cubicBezTo>
                <a:cubicBezTo>
                  <a:pt x="42" y="44"/>
                  <a:pt x="42" y="44"/>
                  <a:pt x="42" y="44"/>
                </a:cubicBezTo>
                <a:cubicBezTo>
                  <a:pt x="45" y="44"/>
                  <a:pt x="47" y="44"/>
                  <a:pt x="49" y="44"/>
                </a:cubicBezTo>
                <a:cubicBezTo>
                  <a:pt x="51" y="44"/>
                  <a:pt x="53" y="44"/>
                  <a:pt x="55" y="44"/>
                </a:cubicBezTo>
                <a:cubicBezTo>
                  <a:pt x="55" y="43"/>
                  <a:pt x="55" y="43"/>
                  <a:pt x="55" y="43"/>
                </a:cubicBezTo>
                <a:cubicBezTo>
                  <a:pt x="56" y="43"/>
                  <a:pt x="56" y="43"/>
                  <a:pt x="56" y="43"/>
                </a:cubicBezTo>
                <a:cubicBezTo>
                  <a:pt x="58" y="40"/>
                  <a:pt x="60" y="37"/>
                  <a:pt x="61" y="33"/>
                </a:cubicBezTo>
                <a:cubicBezTo>
                  <a:pt x="62" y="30"/>
                  <a:pt x="63" y="27"/>
                  <a:pt x="63" y="24"/>
                </a:cubicBezTo>
                <a:close/>
              </a:path>
            </a:pathLst>
          </a:custGeom>
          <a:solidFill>
            <a:srgbClr val="455D7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pic>
        <p:nvPicPr>
          <p:cNvPr id="18" name="Рисунок 17"/>
          <p:cNvPicPr>
            <a:picLocks noChangeAspect="1"/>
          </p:cNvPicPr>
          <p:nvPr/>
        </p:nvPicPr>
        <p:blipFill>
          <a:blip r:embed="rId2" cstate="print"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72396" y="2071678"/>
            <a:ext cx="785818" cy="746296"/>
          </a:xfrm>
          <a:prstGeom prst="rect">
            <a:avLst/>
          </a:prstGeom>
        </p:spPr>
      </p:pic>
      <p:sp>
        <p:nvSpPr>
          <p:cNvPr id="19" name="Прямоугольник 18"/>
          <p:cNvSpPr/>
          <p:nvPr/>
        </p:nvSpPr>
        <p:spPr>
          <a:xfrm>
            <a:off x="7358082" y="1285860"/>
            <a:ext cx="1428760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088">
              <a:lnSpc>
                <a:spcPts val="1200"/>
              </a:lnSpc>
              <a:buFont typeface="Arial" pitchFamily="34" charset="0"/>
              <a:buChar char="•"/>
              <a:defRPr/>
            </a:pPr>
            <a:r>
              <a:rPr lang="ru-RU" sz="1400" b="1" dirty="0" smtClean="0">
                <a:solidFill>
                  <a:srgbClr val="577187"/>
                </a:solidFill>
                <a:latin typeface="Cambria" pitchFamily="18" charset="0"/>
                <a:ea typeface="Verdana" pitchFamily="34" charset="0"/>
                <a:cs typeface="Verdana" pitchFamily="34" charset="0"/>
              </a:rPr>
              <a:t>Плательщик</a:t>
            </a:r>
          </a:p>
          <a:p>
            <a:pPr algn="ctr" defTabSz="914088">
              <a:lnSpc>
                <a:spcPts val="1200"/>
              </a:lnSpc>
              <a:defRPr/>
            </a:pPr>
            <a:endParaRPr lang="ru-RU" sz="1400" b="1" dirty="0" smtClean="0">
              <a:solidFill>
                <a:srgbClr val="577187"/>
              </a:solidFill>
              <a:latin typeface="Cambria" pitchFamily="18" charset="0"/>
              <a:ea typeface="Verdana" pitchFamily="34" charset="0"/>
              <a:cs typeface="Verdana" pitchFamily="34" charset="0"/>
            </a:endParaRPr>
          </a:p>
          <a:p>
            <a:pPr lvl="0" algn="ctr" defTabSz="914088">
              <a:lnSpc>
                <a:spcPts val="1200"/>
              </a:lnSpc>
              <a:buFont typeface="Arial" pitchFamily="34" charset="0"/>
              <a:buChar char="•"/>
              <a:defRPr/>
            </a:pPr>
            <a:r>
              <a:rPr lang="ru-RU" sz="1400" b="1" dirty="0" smtClean="0">
                <a:solidFill>
                  <a:srgbClr val="577187"/>
                </a:solidFill>
                <a:latin typeface="Cambria" pitchFamily="18" charset="0"/>
                <a:ea typeface="Verdana" pitchFamily="34" charset="0"/>
                <a:cs typeface="Verdana" pitchFamily="34" charset="0"/>
              </a:rPr>
              <a:t>Экспедитор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5500694" y="1142984"/>
            <a:ext cx="1857388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088" rtl="0" eaLnBrk="1" fontAlgn="auto" latinLnBrk="0" hangingPunct="1">
              <a:lnSpc>
                <a:spcPts val="1200"/>
              </a:lnSpc>
              <a:buClrTx/>
              <a:buSzTx/>
              <a:tabLst/>
              <a:defRPr/>
            </a:pPr>
            <a:endParaRPr kumimoji="0" lang="ru-RU" sz="1400" b="1" i="0" u="none" strike="noStrike" kern="1200" cap="none" spc="0" normalizeH="0" noProof="0" dirty="0" smtClean="0">
              <a:ln>
                <a:noFill/>
              </a:ln>
              <a:solidFill>
                <a:srgbClr val="577187"/>
              </a:solidFill>
              <a:effectLst/>
              <a:uLnTx/>
              <a:uFillTx/>
              <a:latin typeface="Cambria" pitchFamily="18" charset="0"/>
              <a:ea typeface="Verdana" pitchFamily="34" charset="0"/>
              <a:cs typeface="Verdana" pitchFamily="34" charset="0"/>
            </a:endParaRPr>
          </a:p>
          <a:p>
            <a:pPr algn="ctr" defTabSz="914088">
              <a:lnSpc>
                <a:spcPts val="1200"/>
              </a:lnSpc>
              <a:buFont typeface="Arial" pitchFamily="34" charset="0"/>
              <a:buChar char="•"/>
              <a:defRPr/>
            </a:pPr>
            <a:r>
              <a:rPr lang="ru-RU" sz="1400" b="1" dirty="0" smtClean="0">
                <a:solidFill>
                  <a:srgbClr val="577187"/>
                </a:solidFill>
                <a:latin typeface="Cambria" pitchFamily="18" charset="0"/>
                <a:ea typeface="Verdana" pitchFamily="34" charset="0"/>
                <a:cs typeface="Verdana" pitchFamily="34" charset="0"/>
              </a:rPr>
              <a:t>Таможенный брокер</a:t>
            </a:r>
          </a:p>
          <a:p>
            <a:pPr algn="ctr" defTabSz="914088">
              <a:lnSpc>
                <a:spcPts val="1200"/>
              </a:lnSpc>
              <a:defRPr/>
            </a:pPr>
            <a:endParaRPr lang="ru-RU" sz="1400" b="1" dirty="0" smtClean="0">
              <a:solidFill>
                <a:srgbClr val="577187"/>
              </a:solidFill>
              <a:latin typeface="Cambria" pitchFamily="18" charset="0"/>
              <a:ea typeface="Verdana" pitchFamily="34" charset="0"/>
              <a:cs typeface="Verdana" pitchFamily="34" charset="0"/>
            </a:endParaRPr>
          </a:p>
          <a:p>
            <a:pPr lvl="0" algn="ctr" defTabSz="914088">
              <a:lnSpc>
                <a:spcPts val="1200"/>
              </a:lnSpc>
              <a:buFont typeface="Arial" pitchFamily="34" charset="0"/>
              <a:buChar char="•"/>
              <a:defRPr/>
            </a:pPr>
            <a:r>
              <a:rPr lang="ru-RU" sz="1400" b="1" dirty="0" smtClean="0">
                <a:solidFill>
                  <a:srgbClr val="577187"/>
                </a:solidFill>
                <a:latin typeface="Cambria" pitchFamily="18" charset="0"/>
                <a:ea typeface="Verdana" pitchFamily="34" charset="0"/>
                <a:cs typeface="Verdana" pitchFamily="34" charset="0"/>
              </a:rPr>
              <a:t>ВОХР</a:t>
            </a:r>
          </a:p>
          <a:p>
            <a:pPr marL="0" marR="0" lvl="0" indent="0" algn="ctr" defTabSz="9140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577187"/>
              </a:solidFill>
              <a:effectLst/>
              <a:uLnTx/>
              <a:uFillTx/>
              <a:latin typeface="Cambria" pitchFamily="18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142844" y="3786190"/>
            <a:ext cx="2071702" cy="293000"/>
          </a:xfrm>
          <a:prstGeom prst="rect">
            <a:avLst/>
          </a:prstGeom>
          <a:noFill/>
        </p:spPr>
        <p:txBody>
          <a:bodyPr wrap="square" lIns="107287" tIns="53643" rIns="107287" bIns="53643" rtlCol="0">
            <a:spAutoFit/>
          </a:bodyPr>
          <a:lstStyle/>
          <a:p>
            <a:pPr algn="just"/>
            <a:r>
              <a:rPr lang="ru-RU" sz="1200" dirty="0" smtClean="0">
                <a:latin typeface="Century" pitchFamily="18" charset="0"/>
                <a:cs typeface="Times New Roman" pitchFamily="18" charset="0"/>
              </a:rPr>
              <a:t>НАКЛАДНАЯ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142844" y="4071942"/>
            <a:ext cx="2214578" cy="477666"/>
          </a:xfrm>
          <a:prstGeom prst="rect">
            <a:avLst/>
          </a:prstGeom>
          <a:noFill/>
        </p:spPr>
        <p:txBody>
          <a:bodyPr wrap="square" lIns="107287" tIns="53643" rIns="107287" bIns="53643" rtlCol="0">
            <a:spAutoFit/>
          </a:bodyPr>
          <a:lstStyle/>
          <a:p>
            <a:pPr algn="just"/>
            <a:r>
              <a:rPr lang="ru-RU" sz="1200" dirty="0" smtClean="0">
                <a:latin typeface="Century" pitchFamily="18" charset="0"/>
                <a:cs typeface="Times New Roman" pitchFamily="18" charset="0"/>
              </a:rPr>
              <a:t>ЗАЯВКА НА ПЕРЕВОЗКУ ГРУЗОВ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2857488" y="3500438"/>
            <a:ext cx="6143668" cy="662332"/>
          </a:xfrm>
          <a:prstGeom prst="rect">
            <a:avLst/>
          </a:prstGeom>
          <a:noFill/>
        </p:spPr>
        <p:txBody>
          <a:bodyPr wrap="square" lIns="107287" tIns="53643" rIns="107287" bIns="53643" rtlCol="0">
            <a:spAutoFit/>
          </a:bodyPr>
          <a:lstStyle/>
          <a:p>
            <a:pPr algn="just"/>
            <a:r>
              <a:rPr lang="ru-RU" sz="1200" dirty="0" smtClean="0">
                <a:latin typeface="Century" pitchFamily="18" charset="0"/>
                <a:cs typeface="Times New Roman" pitchFamily="18" charset="0"/>
              </a:rPr>
              <a:t>Анализ по эффективности использования парка вагонов, выполнение соглашений по доставке грузов, анализ работы предприятий по предъявлению груза к перевозке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2857488" y="4094342"/>
            <a:ext cx="6286544" cy="477666"/>
          </a:xfrm>
          <a:prstGeom prst="rect">
            <a:avLst/>
          </a:prstGeom>
          <a:noFill/>
        </p:spPr>
        <p:txBody>
          <a:bodyPr wrap="square" lIns="107287" tIns="53643" rIns="107287" bIns="53643" rtlCol="0">
            <a:spAutoFit/>
          </a:bodyPr>
          <a:lstStyle/>
          <a:p>
            <a:pPr algn="just"/>
            <a:r>
              <a:rPr lang="ru-RU" sz="1200" dirty="0" smtClean="0">
                <a:latin typeface="Century" pitchFamily="18" charset="0"/>
                <a:cs typeface="Times New Roman" pitchFamily="18" charset="0"/>
              </a:rPr>
              <a:t>Анализ по согласованию заявок на перевозку грузов, включая разбивки по графику подач, и их выполнении по данным учетных карточек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142844" y="4500570"/>
            <a:ext cx="2071702" cy="477666"/>
          </a:xfrm>
          <a:prstGeom prst="rect">
            <a:avLst/>
          </a:prstGeom>
          <a:noFill/>
        </p:spPr>
        <p:txBody>
          <a:bodyPr wrap="square" lIns="107287" tIns="53643" rIns="107287" bIns="53643" rtlCol="0">
            <a:spAutoFit/>
          </a:bodyPr>
          <a:lstStyle/>
          <a:p>
            <a:pPr algn="just"/>
            <a:r>
              <a:rPr lang="ru-RU" sz="1200" dirty="0" smtClean="0">
                <a:latin typeface="Century" pitchFamily="18" charset="0"/>
                <a:cs typeface="Times New Roman" pitchFamily="18" charset="0"/>
              </a:rPr>
              <a:t>ВЕДОМОСТИ ПОДАЧИ И УБОРКИ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142844" y="4929198"/>
            <a:ext cx="2214578" cy="477666"/>
          </a:xfrm>
          <a:prstGeom prst="rect">
            <a:avLst/>
          </a:prstGeom>
          <a:noFill/>
        </p:spPr>
        <p:txBody>
          <a:bodyPr wrap="square" lIns="107287" tIns="53643" rIns="107287" bIns="53643" rtlCol="0">
            <a:spAutoFit/>
          </a:bodyPr>
          <a:lstStyle/>
          <a:p>
            <a:pPr algn="just"/>
            <a:r>
              <a:rPr lang="ru-RU" sz="1200" dirty="0" smtClean="0">
                <a:latin typeface="Century" pitchFamily="18" charset="0"/>
                <a:cs typeface="Times New Roman" pitchFamily="18" charset="0"/>
              </a:rPr>
              <a:t>НАКОПИТЕЛЬНЫЕ ВЕДОМОСТИ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142844" y="5429264"/>
            <a:ext cx="2857520" cy="293000"/>
          </a:xfrm>
          <a:prstGeom prst="rect">
            <a:avLst/>
          </a:prstGeom>
          <a:noFill/>
        </p:spPr>
        <p:txBody>
          <a:bodyPr wrap="square" lIns="107287" tIns="53643" rIns="107287" bIns="53643" rtlCol="0">
            <a:spAutoFit/>
          </a:bodyPr>
          <a:lstStyle/>
          <a:p>
            <a:r>
              <a:rPr lang="ru-RU" sz="1200" dirty="0" smtClean="0">
                <a:latin typeface="Century" pitchFamily="18" charset="0"/>
                <a:cs typeface="Times New Roman" pitchFamily="18" charset="0"/>
              </a:rPr>
              <a:t>ЗАЯВЛЕНО – ПОГРУЖЕНО</a:t>
            </a:r>
          </a:p>
        </p:txBody>
      </p:sp>
      <p:sp>
        <p:nvSpPr>
          <p:cNvPr id="50" name="Стрелка вправо 49"/>
          <p:cNvSpPr/>
          <p:nvPr/>
        </p:nvSpPr>
        <p:spPr>
          <a:xfrm>
            <a:off x="2428860" y="5429264"/>
            <a:ext cx="428628" cy="285752"/>
          </a:xfrm>
          <a:prstGeom prst="rightArrow">
            <a:avLst/>
          </a:prstGeom>
          <a:gradFill flip="none" rotWithShape="1">
            <a:gsLst>
              <a:gs pos="26000">
                <a:schemeClr val="accent5">
                  <a:lumMod val="20000"/>
                  <a:lumOff val="80000"/>
                  <a:shade val="30000"/>
                  <a:satMod val="115000"/>
                  <a:alpha val="0"/>
                </a:schemeClr>
              </a:gs>
              <a:gs pos="50000">
                <a:schemeClr val="accent5">
                  <a:lumMod val="20000"/>
                  <a:lumOff val="80000"/>
                  <a:shade val="67500"/>
                  <a:satMod val="115000"/>
                </a:schemeClr>
              </a:gs>
              <a:gs pos="100000">
                <a:schemeClr val="accent5">
                  <a:lumMod val="20000"/>
                  <a:lumOff val="80000"/>
                  <a:shade val="100000"/>
                  <a:satMod val="115000"/>
                </a:schemeClr>
              </a:gs>
            </a:gsLst>
            <a:lin ang="27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2857456" y="4500570"/>
            <a:ext cx="6286544" cy="477666"/>
          </a:xfrm>
          <a:prstGeom prst="rect">
            <a:avLst/>
          </a:prstGeom>
          <a:noFill/>
        </p:spPr>
        <p:txBody>
          <a:bodyPr wrap="square" lIns="107287" tIns="53643" rIns="107287" bIns="53643" rtlCol="0">
            <a:spAutoFit/>
          </a:bodyPr>
          <a:lstStyle/>
          <a:p>
            <a:pPr algn="just"/>
            <a:r>
              <a:rPr lang="ru-RU" sz="1200" dirty="0" smtClean="0">
                <a:latin typeface="Century" pitchFamily="18" charset="0"/>
                <a:cs typeface="Times New Roman" pitchFamily="18" charset="0"/>
              </a:rPr>
              <a:t>Анализ начислений за подачу и уборку вагонов, включая время нахождения вагонов на путях </a:t>
            </a:r>
            <a:r>
              <a:rPr lang="ru-RU" sz="1200" dirty="0" err="1" smtClean="0">
                <a:latin typeface="Century" pitchFamily="18" charset="0"/>
                <a:cs typeface="Times New Roman" pitchFamily="18" charset="0"/>
              </a:rPr>
              <a:t>необщего</a:t>
            </a:r>
            <a:r>
              <a:rPr lang="ru-RU" sz="1200" dirty="0" smtClean="0">
                <a:latin typeface="Century" pitchFamily="18" charset="0"/>
                <a:cs typeface="Times New Roman" pitchFamily="18" charset="0"/>
              </a:rPr>
              <a:t> пользования по данным ведомости подачи и уборки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2857488" y="4929198"/>
            <a:ext cx="6286544" cy="293000"/>
          </a:xfrm>
          <a:prstGeom prst="rect">
            <a:avLst/>
          </a:prstGeom>
          <a:noFill/>
        </p:spPr>
        <p:txBody>
          <a:bodyPr wrap="square" lIns="107287" tIns="53643" rIns="107287" bIns="53643" rtlCol="0">
            <a:spAutoFit/>
          </a:bodyPr>
          <a:lstStyle/>
          <a:p>
            <a:pPr algn="just"/>
            <a:r>
              <a:rPr lang="ru-RU" sz="1200" dirty="0" smtClean="0">
                <a:latin typeface="Century" pitchFamily="18" charset="0"/>
                <a:cs typeface="Times New Roman" pitchFamily="18" charset="0"/>
              </a:rPr>
              <a:t>Анализ начислений за дополнительные услуги, оказываемые ОАО «РЖД»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2857520" y="5214950"/>
            <a:ext cx="6286512" cy="723887"/>
          </a:xfrm>
          <a:prstGeom prst="rect">
            <a:avLst/>
          </a:prstGeom>
          <a:noFill/>
        </p:spPr>
        <p:txBody>
          <a:bodyPr wrap="square" lIns="107287" tIns="53643" rIns="107287" bIns="53643" rtlCol="0">
            <a:spAutoFit/>
          </a:bodyPr>
          <a:lstStyle/>
          <a:p>
            <a:pPr algn="just">
              <a:lnSpc>
                <a:spcPts val="1200"/>
              </a:lnSpc>
            </a:pPr>
            <a:r>
              <a:rPr lang="ru-RU" sz="1200" dirty="0" smtClean="0">
                <a:latin typeface="Century" pitchFamily="18" charset="0"/>
                <a:cs typeface="Times New Roman" pitchFamily="18" charset="0"/>
              </a:rPr>
              <a:t>Анализ выполнения заявок на перевозку грузов, анализ работы предприятий по предъявлению груза к перевозке и использовании подвижного состава на основании агрегированных данных перевозочных документов и заявок на перевозку грузов</a:t>
            </a:r>
          </a:p>
        </p:txBody>
      </p:sp>
      <p:sp>
        <p:nvSpPr>
          <p:cNvPr id="54" name="Стрелка вправо 53"/>
          <p:cNvSpPr/>
          <p:nvPr/>
        </p:nvSpPr>
        <p:spPr>
          <a:xfrm>
            <a:off x="2428860" y="3786190"/>
            <a:ext cx="428628" cy="285752"/>
          </a:xfrm>
          <a:prstGeom prst="rightArrow">
            <a:avLst/>
          </a:prstGeom>
          <a:gradFill flip="none" rotWithShape="1">
            <a:gsLst>
              <a:gs pos="26000">
                <a:schemeClr val="accent5">
                  <a:lumMod val="20000"/>
                  <a:lumOff val="80000"/>
                  <a:shade val="30000"/>
                  <a:satMod val="115000"/>
                  <a:alpha val="0"/>
                </a:schemeClr>
              </a:gs>
              <a:gs pos="50000">
                <a:schemeClr val="accent5">
                  <a:lumMod val="20000"/>
                  <a:lumOff val="80000"/>
                  <a:shade val="67500"/>
                  <a:satMod val="115000"/>
                </a:schemeClr>
              </a:gs>
              <a:gs pos="100000">
                <a:schemeClr val="accent5">
                  <a:lumMod val="20000"/>
                  <a:lumOff val="80000"/>
                  <a:shade val="100000"/>
                  <a:satMod val="115000"/>
                </a:schemeClr>
              </a:gs>
            </a:gsLst>
            <a:lin ang="27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55" name="Стрелка вправо 54"/>
          <p:cNvSpPr/>
          <p:nvPr/>
        </p:nvSpPr>
        <p:spPr>
          <a:xfrm>
            <a:off x="2428860" y="4143380"/>
            <a:ext cx="428628" cy="285752"/>
          </a:xfrm>
          <a:prstGeom prst="rightArrow">
            <a:avLst/>
          </a:prstGeom>
          <a:gradFill flip="none" rotWithShape="1">
            <a:gsLst>
              <a:gs pos="26000">
                <a:schemeClr val="accent5">
                  <a:lumMod val="20000"/>
                  <a:lumOff val="80000"/>
                  <a:shade val="30000"/>
                  <a:satMod val="115000"/>
                  <a:alpha val="0"/>
                </a:schemeClr>
              </a:gs>
              <a:gs pos="50000">
                <a:schemeClr val="accent5">
                  <a:lumMod val="20000"/>
                  <a:lumOff val="80000"/>
                  <a:shade val="67500"/>
                  <a:satMod val="115000"/>
                </a:schemeClr>
              </a:gs>
              <a:gs pos="100000">
                <a:schemeClr val="accent5">
                  <a:lumMod val="20000"/>
                  <a:lumOff val="80000"/>
                  <a:shade val="100000"/>
                  <a:satMod val="115000"/>
                </a:schemeClr>
              </a:gs>
            </a:gsLst>
            <a:lin ang="27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56" name="Стрелка вправо 55"/>
          <p:cNvSpPr/>
          <p:nvPr/>
        </p:nvSpPr>
        <p:spPr>
          <a:xfrm>
            <a:off x="2428860" y="4572008"/>
            <a:ext cx="428628" cy="285752"/>
          </a:xfrm>
          <a:prstGeom prst="rightArrow">
            <a:avLst/>
          </a:prstGeom>
          <a:gradFill flip="none" rotWithShape="1">
            <a:gsLst>
              <a:gs pos="26000">
                <a:schemeClr val="accent5">
                  <a:lumMod val="20000"/>
                  <a:lumOff val="80000"/>
                  <a:shade val="30000"/>
                  <a:satMod val="115000"/>
                  <a:alpha val="0"/>
                </a:schemeClr>
              </a:gs>
              <a:gs pos="50000">
                <a:schemeClr val="accent5">
                  <a:lumMod val="20000"/>
                  <a:lumOff val="80000"/>
                  <a:shade val="67500"/>
                  <a:satMod val="115000"/>
                </a:schemeClr>
              </a:gs>
              <a:gs pos="100000">
                <a:schemeClr val="accent5">
                  <a:lumMod val="20000"/>
                  <a:lumOff val="80000"/>
                  <a:shade val="100000"/>
                  <a:satMod val="115000"/>
                </a:schemeClr>
              </a:gs>
            </a:gsLst>
            <a:lin ang="27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57" name="Стрелка вправо 56"/>
          <p:cNvSpPr/>
          <p:nvPr/>
        </p:nvSpPr>
        <p:spPr>
          <a:xfrm>
            <a:off x="2428860" y="5000636"/>
            <a:ext cx="428628" cy="285752"/>
          </a:xfrm>
          <a:prstGeom prst="rightArrow">
            <a:avLst/>
          </a:prstGeom>
          <a:gradFill flip="none" rotWithShape="1">
            <a:gsLst>
              <a:gs pos="26000">
                <a:schemeClr val="accent5">
                  <a:lumMod val="20000"/>
                  <a:lumOff val="80000"/>
                  <a:shade val="30000"/>
                  <a:satMod val="115000"/>
                  <a:alpha val="0"/>
                </a:schemeClr>
              </a:gs>
              <a:gs pos="50000">
                <a:schemeClr val="accent5">
                  <a:lumMod val="20000"/>
                  <a:lumOff val="80000"/>
                  <a:shade val="67500"/>
                  <a:satMod val="115000"/>
                </a:schemeClr>
              </a:gs>
              <a:gs pos="100000">
                <a:schemeClr val="accent5">
                  <a:lumMod val="20000"/>
                  <a:lumOff val="80000"/>
                  <a:shade val="100000"/>
                  <a:satMod val="115000"/>
                </a:schemeClr>
              </a:gs>
            </a:gsLst>
            <a:lin ang="27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0" y="214290"/>
            <a:ext cx="9144000" cy="430887"/>
          </a:xfrm>
        </p:spPr>
        <p:txBody>
          <a:bodyPr/>
          <a:lstStyle/>
          <a:p>
            <a:pPr algn="ctr"/>
            <a:r>
              <a:rPr sz="2800" smtClean="0">
                <a:latin typeface="Cambria" pitchFamily="18" charset="0"/>
              </a:rPr>
              <a:t>Примеры </a:t>
            </a:r>
            <a:r>
              <a:rPr sz="2800" smtClean="0">
                <a:latin typeface="Cambria" pitchFamily="18" charset="0"/>
              </a:rPr>
              <a:t>отчетов и графиков. </a:t>
            </a:r>
            <a:r>
              <a:rPr sz="2800" smtClean="0">
                <a:latin typeface="Cambria" pitchFamily="18" charset="0"/>
              </a:rPr>
              <a:t>Накладная</a:t>
            </a:r>
            <a:endParaRPr lang="ru-RU" sz="2800" dirty="0">
              <a:latin typeface="Cambria" pitchFamily="18" charset="0"/>
            </a:endParaRPr>
          </a:p>
        </p:txBody>
      </p:sp>
      <p:pic>
        <p:nvPicPr>
          <p:cNvPr id="11266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" y="785795"/>
            <a:ext cx="9144000" cy="1643074"/>
          </a:xfrm>
          <a:prstGeom prst="rect">
            <a:avLst/>
          </a:prstGeom>
          <a:noFill/>
          <a:ln w="25400">
            <a:solidFill>
              <a:srgbClr val="0070C0"/>
            </a:solidFill>
            <a:miter lim="800000"/>
            <a:headEnd/>
            <a:tailEnd/>
          </a:ln>
          <a:effectLst/>
        </p:spPr>
      </p:pic>
      <p:pic>
        <p:nvPicPr>
          <p:cNvPr id="11267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42844" y="2428868"/>
            <a:ext cx="8677295" cy="4000528"/>
          </a:xfrm>
          <a:prstGeom prst="rect">
            <a:avLst/>
          </a:prstGeom>
          <a:noFill/>
          <a:ln w="25400">
            <a:solidFill>
              <a:srgbClr val="0070C0"/>
            </a:solidFill>
            <a:miter lim="800000"/>
            <a:headEnd/>
            <a:tailEnd/>
          </a:ln>
          <a:effectLst/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0" y="0"/>
            <a:ext cx="9144000" cy="430887"/>
          </a:xfrm>
        </p:spPr>
        <p:txBody>
          <a:bodyPr/>
          <a:lstStyle/>
          <a:p>
            <a:pPr algn="ctr"/>
            <a:r>
              <a:rPr sz="2800" smtClean="0">
                <a:latin typeface="Cambria" pitchFamily="18" charset="0"/>
              </a:rPr>
              <a:t>Примеры </a:t>
            </a:r>
            <a:r>
              <a:rPr sz="2800" smtClean="0">
                <a:latin typeface="Cambria" pitchFamily="18" charset="0"/>
              </a:rPr>
              <a:t>отчетов и графиков. </a:t>
            </a:r>
            <a:r>
              <a:rPr sz="2800" smtClean="0">
                <a:latin typeface="Cambria" pitchFamily="18" charset="0"/>
              </a:rPr>
              <a:t>Заявка на перевозку</a:t>
            </a:r>
            <a:endParaRPr lang="ru-RU" sz="2800" dirty="0">
              <a:latin typeface="Cambria" pitchFamily="18" charset="0"/>
            </a:endParaRPr>
          </a:p>
        </p:txBody>
      </p:sp>
      <p:pic>
        <p:nvPicPr>
          <p:cNvPr id="12290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857232"/>
            <a:ext cx="9144000" cy="1144474"/>
          </a:xfrm>
          <a:prstGeom prst="rect">
            <a:avLst/>
          </a:prstGeom>
          <a:noFill/>
          <a:ln w="25400">
            <a:solidFill>
              <a:srgbClr val="0070C0"/>
            </a:solidFill>
            <a:miter lim="800000"/>
            <a:headEnd/>
            <a:tailEnd/>
          </a:ln>
          <a:effectLst/>
        </p:spPr>
      </p:pic>
      <p:pic>
        <p:nvPicPr>
          <p:cNvPr id="12291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2000240"/>
            <a:ext cx="9144000" cy="4429156"/>
          </a:xfrm>
          <a:prstGeom prst="rect">
            <a:avLst/>
          </a:prstGeom>
          <a:noFill/>
          <a:ln w="25400">
            <a:solidFill>
              <a:srgbClr val="0070C0"/>
            </a:solidFill>
            <a:miter lim="800000"/>
            <a:headEnd/>
            <a:tailEnd/>
          </a:ln>
          <a:effectLst/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0" y="0"/>
            <a:ext cx="9144000" cy="861774"/>
          </a:xfrm>
        </p:spPr>
        <p:txBody>
          <a:bodyPr/>
          <a:lstStyle/>
          <a:p>
            <a:pPr algn="ctr"/>
            <a:r>
              <a:rPr sz="2800" smtClean="0">
                <a:latin typeface="Cambria" pitchFamily="18" charset="0"/>
              </a:rPr>
              <a:t>Примеры </a:t>
            </a:r>
            <a:r>
              <a:rPr sz="2800" smtClean="0">
                <a:latin typeface="Cambria" pitchFamily="18" charset="0"/>
              </a:rPr>
              <a:t>отчетов и графиков. </a:t>
            </a:r>
            <a:r>
              <a:rPr sz="2800" smtClean="0">
                <a:latin typeface="Cambria" pitchFamily="18" charset="0"/>
              </a:rPr>
              <a:t>Ведомость подачи и уборки вагонов</a:t>
            </a:r>
            <a:endParaRPr lang="ru-RU" sz="2800" dirty="0">
              <a:latin typeface="Cambria" pitchFamily="18" charset="0"/>
            </a:endParaRPr>
          </a:p>
        </p:txBody>
      </p:sp>
      <p:pic>
        <p:nvPicPr>
          <p:cNvPr id="14338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" y="857232"/>
            <a:ext cx="9144000" cy="1677991"/>
          </a:xfrm>
          <a:prstGeom prst="rect">
            <a:avLst/>
          </a:prstGeom>
          <a:noFill/>
          <a:ln w="25400">
            <a:solidFill>
              <a:srgbClr val="0070C0"/>
            </a:solidFill>
            <a:miter lim="800000"/>
            <a:headEnd/>
            <a:tailEnd/>
          </a:ln>
          <a:effectLst/>
        </p:spPr>
      </p:pic>
      <p:pic>
        <p:nvPicPr>
          <p:cNvPr id="14339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000100" y="2571744"/>
            <a:ext cx="6500858" cy="3823730"/>
          </a:xfrm>
          <a:prstGeom prst="rect">
            <a:avLst/>
          </a:prstGeom>
          <a:noFill/>
          <a:ln w="25400">
            <a:solidFill>
              <a:srgbClr val="0070C0"/>
            </a:solidFill>
            <a:miter lim="800000"/>
            <a:headEnd/>
            <a:tailEnd/>
          </a:ln>
          <a:effectLst/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0" y="0"/>
            <a:ext cx="9144000" cy="861774"/>
          </a:xfrm>
        </p:spPr>
        <p:txBody>
          <a:bodyPr/>
          <a:lstStyle/>
          <a:p>
            <a:pPr algn="ctr"/>
            <a:r>
              <a:rPr sz="2800" smtClean="0">
                <a:latin typeface="Cambria" pitchFamily="18" charset="0"/>
              </a:rPr>
              <a:t>Примеры </a:t>
            </a:r>
            <a:r>
              <a:rPr sz="2800" smtClean="0">
                <a:latin typeface="Cambria" pitchFamily="18" charset="0"/>
              </a:rPr>
              <a:t>отчетов и графиков. </a:t>
            </a:r>
            <a:r>
              <a:rPr sz="2800" smtClean="0">
                <a:latin typeface="Cambria" pitchFamily="18" charset="0"/>
              </a:rPr>
              <a:t>Накопительная ведомость</a:t>
            </a:r>
            <a:endParaRPr lang="ru-RU" sz="2800" dirty="0">
              <a:latin typeface="Cambria" pitchFamily="18" charset="0"/>
            </a:endParaRPr>
          </a:p>
        </p:txBody>
      </p:sp>
      <p:pic>
        <p:nvPicPr>
          <p:cNvPr id="13316" name="Picture 4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214414" y="3071810"/>
            <a:ext cx="6215106" cy="3366645"/>
          </a:xfrm>
          <a:prstGeom prst="rect">
            <a:avLst/>
          </a:prstGeom>
          <a:noFill/>
          <a:ln w="25400">
            <a:solidFill>
              <a:srgbClr val="0070C0"/>
            </a:solidFill>
            <a:miter lim="800000"/>
            <a:headEnd/>
            <a:tailEnd/>
          </a:ln>
          <a:effectLst/>
        </p:spPr>
      </p:pic>
      <p:pic>
        <p:nvPicPr>
          <p:cNvPr id="13317" name="Picture 5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" y="857233"/>
            <a:ext cx="9143999" cy="2166934"/>
          </a:xfrm>
          <a:prstGeom prst="rect">
            <a:avLst/>
          </a:prstGeom>
          <a:noFill/>
          <a:ln w="25400">
            <a:solidFill>
              <a:srgbClr val="0070C0"/>
            </a:solidFill>
            <a:miter lim="800000"/>
            <a:headEnd/>
            <a:tailEnd/>
          </a:ln>
          <a:effectLst/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0" y="0"/>
            <a:ext cx="9144000" cy="430887"/>
          </a:xfrm>
        </p:spPr>
        <p:txBody>
          <a:bodyPr/>
          <a:lstStyle/>
          <a:p>
            <a:pPr algn="ctr"/>
            <a:r>
              <a:rPr sz="2800" smtClean="0">
                <a:latin typeface="Cambria" pitchFamily="18" charset="0"/>
              </a:rPr>
              <a:t>Примеры отчетов. Заявлено-погружено</a:t>
            </a:r>
            <a:endParaRPr lang="ru-RU" sz="2800" dirty="0">
              <a:latin typeface="Cambria" pitchFamily="18" charset="0"/>
            </a:endParaRPr>
          </a:p>
        </p:txBody>
      </p:sp>
      <p:pic>
        <p:nvPicPr>
          <p:cNvPr id="11266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928794" y="3071810"/>
            <a:ext cx="5572950" cy="3350406"/>
          </a:xfrm>
          <a:prstGeom prst="rect">
            <a:avLst/>
          </a:prstGeom>
          <a:noFill/>
          <a:ln w="25400">
            <a:solidFill>
              <a:srgbClr val="0070C0"/>
            </a:solidFill>
            <a:miter lim="800000"/>
            <a:headEnd/>
            <a:tailEnd/>
          </a:ln>
          <a:effectLst/>
        </p:spPr>
      </p:pic>
      <p:pic>
        <p:nvPicPr>
          <p:cNvPr id="11268" name="Picture 4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" y="857233"/>
            <a:ext cx="9156624" cy="2214578"/>
          </a:xfrm>
          <a:prstGeom prst="rect">
            <a:avLst/>
          </a:prstGeom>
          <a:noFill/>
          <a:ln w="25400">
            <a:solidFill>
              <a:srgbClr val="0070C0"/>
            </a:solidFill>
            <a:miter lim="800000"/>
            <a:headEnd/>
            <a:tailEnd/>
          </a:ln>
          <a:effectLst/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0" y="212031"/>
            <a:ext cx="9144000" cy="430887"/>
          </a:xfrm>
        </p:spPr>
        <p:txBody>
          <a:bodyPr/>
          <a:lstStyle/>
          <a:p>
            <a:pPr algn="ctr"/>
            <a:r>
              <a:rPr sz="2800" smtClean="0">
                <a:solidFill>
                  <a:schemeClr val="accent6">
                    <a:lumMod val="50000"/>
                  </a:schemeClr>
                </a:solidFill>
                <a:latin typeface="Cambria" pitchFamily="18" charset="0"/>
              </a:rPr>
              <a:t>Порядок подключения услуги</a:t>
            </a:r>
            <a:endParaRPr lang="ru-RU" sz="2800" dirty="0">
              <a:solidFill>
                <a:schemeClr val="accent6">
                  <a:lumMod val="50000"/>
                </a:schemeClr>
              </a:solidFill>
              <a:latin typeface="Cambria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0" y="1424252"/>
            <a:ext cx="9144000" cy="4219326"/>
          </a:xfrm>
          <a:prstGeom prst="rect">
            <a:avLst/>
          </a:prstGeom>
          <a:noFill/>
        </p:spPr>
        <p:txBody>
          <a:bodyPr wrap="square" bIns="18000">
            <a:spAutoFit/>
          </a:bodyPr>
          <a:lstStyle/>
          <a:p>
            <a:pPr marL="457200" marR="0" lvl="0" indent="-457200" algn="l" defTabSz="9140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>
                  <a:lumMod val="10000"/>
                </a:schemeClr>
              </a:buClr>
              <a:buSzPct val="100000"/>
              <a:buAutoNum type="arabicPeriod"/>
              <a:tabLst/>
              <a:defRPr/>
            </a:pPr>
            <a:r>
              <a:rPr lang="ru-RU" b="1" dirty="0" smtClean="0">
                <a:solidFill>
                  <a:srgbClr val="577187"/>
                </a:solidFill>
                <a:latin typeface="Cambria" pitchFamily="18" charset="0"/>
              </a:rPr>
              <a:t>Для подключения услуги необходимо подать заявки на оказание услуг для открытия полномочия/(-</a:t>
            </a:r>
            <a:r>
              <a:rPr lang="ru-RU" b="1" dirty="0" err="1" smtClean="0">
                <a:solidFill>
                  <a:srgbClr val="577187"/>
                </a:solidFill>
                <a:latin typeface="Cambria" pitchFamily="18" charset="0"/>
              </a:rPr>
              <a:t>ий</a:t>
            </a:r>
            <a:r>
              <a:rPr lang="ru-RU" b="1" dirty="0" smtClean="0">
                <a:solidFill>
                  <a:srgbClr val="577187"/>
                </a:solidFill>
                <a:latin typeface="Cambria" pitchFamily="18" charset="0"/>
              </a:rPr>
              <a:t>) организации и ответственным сотрудникам: </a:t>
            </a:r>
          </a:p>
          <a:p>
            <a:pPr marL="457200" marR="0" lvl="0" indent="-457200" algn="l" defTabSz="9140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>
                  <a:lumMod val="10000"/>
                </a:schemeClr>
              </a:buClr>
              <a:buSzPct val="100000"/>
              <a:tabLst/>
              <a:defRPr/>
            </a:pPr>
            <a:r>
              <a:rPr lang="ru-RU" b="1" dirty="0" smtClean="0">
                <a:solidFill>
                  <a:srgbClr val="577187"/>
                </a:solidFill>
                <a:latin typeface="Cambria" pitchFamily="18" charset="0"/>
              </a:rPr>
              <a:t>	«Произвольные отчёты – накладная (режим*месяц)»;</a:t>
            </a:r>
          </a:p>
          <a:p>
            <a:pPr marL="457200" lvl="0" indent="-457200" defTabSz="914088">
              <a:buClr>
                <a:schemeClr val="accent2">
                  <a:lumMod val="10000"/>
                </a:schemeClr>
              </a:buClr>
              <a:buSzPct val="100000"/>
              <a:defRPr/>
            </a:pPr>
            <a:r>
              <a:rPr lang="ru-RU" b="1" dirty="0" smtClean="0">
                <a:solidFill>
                  <a:srgbClr val="577187"/>
                </a:solidFill>
                <a:latin typeface="Cambria" pitchFamily="18" charset="0"/>
              </a:rPr>
              <a:t> 	«Произвольные отчёты – заявка на перевозку грузов (режим*месяц)»; </a:t>
            </a:r>
          </a:p>
          <a:p>
            <a:pPr marL="457200" lvl="0" indent="-457200" defTabSz="914088">
              <a:buClr>
                <a:schemeClr val="accent2">
                  <a:lumMod val="10000"/>
                </a:schemeClr>
              </a:buClr>
              <a:buSzPct val="100000"/>
              <a:defRPr/>
            </a:pPr>
            <a:r>
              <a:rPr lang="ru-RU" b="1" dirty="0" smtClean="0">
                <a:solidFill>
                  <a:srgbClr val="577187"/>
                </a:solidFill>
                <a:latin typeface="Cambria" pitchFamily="18" charset="0"/>
              </a:rPr>
              <a:t>	«Произвольные отчёты – ведомости подачи и уборки (режим*месяц)»; </a:t>
            </a:r>
          </a:p>
          <a:p>
            <a:pPr marL="457200" lvl="0" indent="-457200" defTabSz="914088">
              <a:buClr>
                <a:schemeClr val="accent2">
                  <a:lumMod val="10000"/>
                </a:schemeClr>
              </a:buClr>
              <a:buSzPct val="100000"/>
              <a:defRPr/>
            </a:pPr>
            <a:r>
              <a:rPr lang="ru-RU" b="1" dirty="0" smtClean="0">
                <a:solidFill>
                  <a:srgbClr val="577187"/>
                </a:solidFill>
                <a:latin typeface="Cambria" pitchFamily="18" charset="0"/>
              </a:rPr>
              <a:t>	«Произвольные отчёты – накопительные ведомости (режим*месяц)»; </a:t>
            </a:r>
          </a:p>
          <a:p>
            <a:pPr marL="457200" lvl="0" indent="-457200" defTabSz="914088">
              <a:buClr>
                <a:schemeClr val="accent2">
                  <a:lumMod val="10000"/>
                </a:schemeClr>
              </a:buClr>
              <a:buSzPct val="100000"/>
              <a:defRPr/>
            </a:pPr>
            <a:r>
              <a:rPr lang="ru-RU" b="1" dirty="0" smtClean="0">
                <a:solidFill>
                  <a:srgbClr val="577187"/>
                </a:solidFill>
                <a:latin typeface="Cambria" pitchFamily="18" charset="0"/>
              </a:rPr>
              <a:t>	«Произвольные отчёты – заявлено-погружено (режим*месяц)»</a:t>
            </a:r>
          </a:p>
          <a:p>
            <a:pPr marL="457200" lvl="0" indent="-457200" defTabSz="914088">
              <a:buClr>
                <a:schemeClr val="accent2">
                  <a:lumMod val="10000"/>
                </a:schemeClr>
              </a:buClr>
              <a:buSzPct val="100000"/>
              <a:defRPr/>
            </a:pPr>
            <a:r>
              <a:rPr lang="ru-RU" b="1" dirty="0" smtClean="0">
                <a:solidFill>
                  <a:srgbClr val="577187"/>
                </a:solidFill>
                <a:latin typeface="Cambria" pitchFamily="18" charset="0"/>
              </a:rPr>
              <a:t>	в договоре Оферты ЭОД </a:t>
            </a:r>
            <a:r>
              <a:rPr lang="ru-RU" dirty="0" smtClean="0">
                <a:solidFill>
                  <a:srgbClr val="577187"/>
                </a:solidFill>
                <a:latin typeface="Cambria" pitchFamily="18" charset="0"/>
              </a:rPr>
              <a:t>. При необходимости подключения услуги по всем 5 режимам, необходимо выбрать только полномочие </a:t>
            </a:r>
            <a:r>
              <a:rPr lang="ru-RU" b="1" dirty="0" smtClean="0">
                <a:solidFill>
                  <a:srgbClr val="577187"/>
                </a:solidFill>
                <a:latin typeface="Cambria" pitchFamily="18" charset="0"/>
              </a:rPr>
              <a:t>«Произвольные отчёты – пакетный режим (пакет*месяц)»  </a:t>
            </a:r>
            <a:r>
              <a:rPr lang="ru-RU" dirty="0" smtClean="0">
                <a:solidFill>
                  <a:srgbClr val="577187"/>
                </a:solidFill>
                <a:latin typeface="Cambria" pitchFamily="18" charset="0"/>
              </a:rPr>
              <a:t>для предоставления скидки.</a:t>
            </a:r>
          </a:p>
          <a:p>
            <a:pPr marL="457200" lvl="0" indent="-457200" defTabSz="914088">
              <a:buClr>
                <a:schemeClr val="accent2">
                  <a:lumMod val="10000"/>
                </a:schemeClr>
              </a:buClr>
              <a:buSzPct val="100000"/>
              <a:defRPr/>
            </a:pPr>
            <a:endParaRPr lang="ru-RU" b="1" dirty="0" smtClean="0">
              <a:solidFill>
                <a:srgbClr val="577187"/>
              </a:solidFill>
              <a:latin typeface="Cambria" pitchFamily="18" charset="0"/>
            </a:endParaRPr>
          </a:p>
          <a:p>
            <a:pPr marL="457200" lvl="0" indent="-457200" defTabSz="914088">
              <a:buClr>
                <a:schemeClr val="accent2">
                  <a:lumMod val="10000"/>
                </a:schemeClr>
              </a:buClr>
              <a:buSzPct val="100000"/>
              <a:buAutoNum type="arabicPeriod" startAt="2"/>
              <a:defRPr/>
            </a:pPr>
            <a:r>
              <a:rPr lang="ru-RU" b="1" dirty="0" smtClean="0">
                <a:solidFill>
                  <a:srgbClr val="577187"/>
                </a:solidFill>
                <a:latin typeface="Cambria" pitchFamily="18" charset="0"/>
              </a:rPr>
              <a:t>После подписания заявок на оказание услуг клиенту становится доступен новый режим «Справки/Аналитика/Произвольные отчеты».</a:t>
            </a:r>
          </a:p>
          <a:p>
            <a:pPr marL="457200" lvl="0" indent="-457200" defTabSz="914088">
              <a:buClr>
                <a:schemeClr val="accent2">
                  <a:lumMod val="10000"/>
                </a:schemeClr>
              </a:buClr>
              <a:buSzPct val="100000"/>
              <a:buAutoNum type="arabicPeriod" startAt="2"/>
              <a:defRPr/>
            </a:pPr>
            <a:endParaRPr lang="ru-RU" b="1" dirty="0" smtClean="0">
              <a:solidFill>
                <a:srgbClr val="577187"/>
              </a:solidFill>
              <a:latin typeface="Cambria" pitchFamily="18" charset="0"/>
            </a:endParaRPr>
          </a:p>
          <a:p>
            <a:pPr marL="457200" lvl="0" indent="-457200" defTabSz="914088">
              <a:buClr>
                <a:schemeClr val="accent2">
                  <a:lumMod val="10000"/>
                </a:schemeClr>
              </a:buClr>
              <a:buSzPct val="100000"/>
              <a:buAutoNum type="arabicPeriod" startAt="2"/>
              <a:defRPr/>
            </a:pPr>
            <a:r>
              <a:rPr lang="ru-RU" b="1" dirty="0" smtClean="0">
                <a:solidFill>
                  <a:srgbClr val="577187"/>
                </a:solidFill>
                <a:latin typeface="Cambria" pitchFamily="18" charset="0"/>
              </a:rPr>
              <a:t>Правила пользования режимом описаны в руководстве пользователя.</a:t>
            </a:r>
            <a:endParaRPr lang="ru-RU" dirty="0" smtClean="0">
              <a:solidFill>
                <a:srgbClr val="577187"/>
              </a:solidFill>
              <a:latin typeface="Cambria" pitchFamily="18" charset="0"/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РЖД">
  <a:themeElements>
    <a:clrScheme name="Firm Format 1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EAEAEA"/>
      </a:accent1>
      <a:accent2>
        <a:srgbClr val="D0D0D0"/>
      </a:accent2>
      <a:accent3>
        <a:srgbClr val="909090"/>
      </a:accent3>
      <a:accent4>
        <a:srgbClr val="606060"/>
      </a:accent4>
      <a:accent5>
        <a:srgbClr val="FF6600"/>
      </a:accent5>
      <a:accent6>
        <a:srgbClr val="808080"/>
      </a:accent6>
      <a:hlink>
        <a:srgbClr val="909090"/>
      </a:hlink>
      <a:folHlink>
        <a:srgbClr val="6060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Тема РЖД">
  <a:themeElements>
    <a:clrScheme name="Моя основная">
      <a:dk1>
        <a:srgbClr val="394A58"/>
      </a:dk1>
      <a:lt1>
        <a:srgbClr val="FFFFFF"/>
      </a:lt1>
      <a:dk2>
        <a:srgbClr val="394A58"/>
      </a:dk2>
      <a:lt2>
        <a:srgbClr val="FFFFFF"/>
      </a:lt2>
      <a:accent1>
        <a:srgbClr val="EAEAEA"/>
      </a:accent1>
      <a:accent2>
        <a:srgbClr val="D0D0D0"/>
      </a:accent2>
      <a:accent3>
        <a:srgbClr val="909090"/>
      </a:accent3>
      <a:accent4>
        <a:srgbClr val="606060"/>
      </a:accent4>
      <a:accent5>
        <a:srgbClr val="C00000"/>
      </a:accent5>
      <a:accent6>
        <a:srgbClr val="394A58"/>
      </a:accent6>
      <a:hlink>
        <a:srgbClr val="909090"/>
      </a:hlink>
      <a:folHlink>
        <a:srgbClr val="6060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Тема РЖД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ема РЖД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ема РЖД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emplate>Тема РЖД</Template>
  <TotalTime>1373</TotalTime>
  <Words>250</Words>
  <PresentationFormat>Экран (4:3)</PresentationFormat>
  <Paragraphs>56</Paragraphs>
  <Slides>8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11" baseType="lpstr">
      <vt:lpstr>Тема РЖД</vt:lpstr>
      <vt:lpstr>1_Тема РЖД</vt:lpstr>
      <vt:lpstr>think-cell Slide</vt:lpstr>
      <vt:lpstr>Слайд 1</vt:lpstr>
      <vt:lpstr>Слайд 2</vt:lpstr>
      <vt:lpstr>Примеры отчетов и графиков. Накладная</vt:lpstr>
      <vt:lpstr>Примеры отчетов и графиков. Заявка на перевозку</vt:lpstr>
      <vt:lpstr>Примеры отчетов и графиков. Ведомость подачи и уборки вагонов</vt:lpstr>
      <vt:lpstr>Примеры отчетов и графиков. Накопительная ведомость</vt:lpstr>
      <vt:lpstr>Примеры отчетов. Заявлено-погружено</vt:lpstr>
      <vt:lpstr>Порядок подключения услуги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Пороженская Светлана Евгеньевна</dc:creator>
  <cp:lastModifiedBy>Пороженская Светлана Евгеньевна</cp:lastModifiedBy>
  <cp:revision>131</cp:revision>
  <dcterms:created xsi:type="dcterms:W3CDTF">2018-10-16T11:24:38Z</dcterms:created>
  <dcterms:modified xsi:type="dcterms:W3CDTF">2019-06-25T12:18:40Z</dcterms:modified>
</cp:coreProperties>
</file>